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8" r:id="rId1"/>
  </p:sldMasterIdLst>
  <p:notesMasterIdLst>
    <p:notesMasterId r:id="rId12"/>
  </p:notesMasterIdLst>
  <p:handoutMasterIdLst>
    <p:handoutMasterId r:id="rId13"/>
  </p:handoutMasterIdLst>
  <p:sldIdLst>
    <p:sldId id="256" r:id="rId2"/>
    <p:sldId id="550" r:id="rId3"/>
    <p:sldId id="277" r:id="rId4"/>
    <p:sldId id="552" r:id="rId5"/>
    <p:sldId id="553" r:id="rId6"/>
    <p:sldId id="554" r:id="rId7"/>
    <p:sldId id="551" r:id="rId8"/>
    <p:sldId id="280" r:id="rId9"/>
    <p:sldId id="555" r:id="rId10"/>
    <p:sldId id="274" r:id="rId11"/>
  </p:sldIdLst>
  <p:sldSz cx="20104100" cy="12566650"/>
  <p:notesSz cx="9928225" cy="6797675"/>
  <p:embeddedFontLst>
    <p:embeddedFont>
      <p:font typeface="Tahoma" panose="020B0604030504040204" pitchFamily="34" charset="0"/>
      <p:regular r:id="rId14"/>
      <p:bold r:id="rId15"/>
    </p:embeddedFont>
    <p:embeddedFont>
      <p:font typeface="Calisto MT" panose="020B0604020202020204" charset="0"/>
      <p:regular r:id="rId16"/>
      <p:bold r:id="rId17"/>
      <p:italic r:id="rId18"/>
      <p:boldItalic r:id="rId19"/>
    </p:embeddedFont>
    <p:embeddedFont>
      <p:font typeface="Trebuchet MS" panose="020B0603020202020204" pitchFamily="34" charset="0"/>
      <p:regular r:id="rId20"/>
      <p:bold r:id="rId21"/>
      <p:italic r:id="rId22"/>
      <p:boldItalic r:id="rId23"/>
    </p:embeddedFont>
    <p:embeddedFont>
      <p:font typeface="Wingdings 3" panose="05040102010807070707" pitchFamily="18" charset="2"/>
      <p:regular r:id="rId24"/>
    </p:embeddedFont>
    <p:embeddedFont>
      <p:font typeface="Calibri" panose="020F0502020204030204" pitchFamily="34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8" userDrawn="1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35C"/>
    <a:srgbClr val="EA7824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Estilo Mé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2479" autoAdjust="0"/>
  </p:normalViewPr>
  <p:slideViewPr>
    <p:cSldViewPr>
      <p:cViewPr varScale="1">
        <p:scale>
          <a:sx n="47" d="100"/>
          <a:sy n="47" d="100"/>
        </p:scale>
        <p:origin x="1020" y="60"/>
      </p:cViewPr>
      <p:guideLst>
        <p:guide orient="horz" pos="1078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3713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88C097-EFE0-4F20-92DE-F5668C2F5EB2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3713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6E1713-E952-4C57-B6F3-8925E2D8F87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267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440" cy="340055"/>
          </a:xfrm>
          <a:prstGeom prst="rect">
            <a:avLst/>
          </a:prstGeom>
        </p:spPr>
        <p:txBody>
          <a:bodyPr vert="horz" lIns="46808" tIns="23404" rIns="46808" bIns="23404" rtlCol="0"/>
          <a:lstStyle>
            <a:lvl1pPr algn="l">
              <a:defRPr sz="6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623433" y="0"/>
            <a:ext cx="4302440" cy="340055"/>
          </a:xfrm>
          <a:prstGeom prst="rect">
            <a:avLst/>
          </a:prstGeom>
        </p:spPr>
        <p:txBody>
          <a:bodyPr vert="horz" lIns="46808" tIns="23404" rIns="46808" bIns="23404" rtlCol="0"/>
          <a:lstStyle>
            <a:lvl1pPr algn="r">
              <a:defRPr sz="600"/>
            </a:lvl1pPr>
          </a:lstStyle>
          <a:p>
            <a:fld id="{12A31A9B-077A-43F6-BC48-95B74121B7B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808" tIns="23404" rIns="46808" bIns="23404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vert="horz" lIns="46808" tIns="23404" rIns="46808" bIns="23404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456761"/>
            <a:ext cx="4302440" cy="340055"/>
          </a:xfrm>
          <a:prstGeom prst="rect">
            <a:avLst/>
          </a:prstGeom>
        </p:spPr>
        <p:txBody>
          <a:bodyPr vert="horz" lIns="46808" tIns="23404" rIns="46808" bIns="23404" rtlCol="0" anchor="b"/>
          <a:lstStyle>
            <a:lvl1pPr algn="l">
              <a:defRPr sz="6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623433" y="6456761"/>
            <a:ext cx="4302440" cy="340055"/>
          </a:xfrm>
          <a:prstGeom prst="rect">
            <a:avLst/>
          </a:prstGeom>
        </p:spPr>
        <p:txBody>
          <a:bodyPr vert="horz" lIns="46808" tIns="23404" rIns="46808" bIns="23404" rtlCol="0" anchor="b"/>
          <a:lstStyle>
            <a:lvl1pPr algn="r">
              <a:defRPr sz="600"/>
            </a:lvl1pPr>
          </a:lstStyle>
          <a:p>
            <a:fld id="{119E5E00-ABDA-465C-ADC1-93839D5CF5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299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" name="Google Shape;92;p1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" name="Google Shape;93;p1:notes"/>
          <p:cNvSpPr txBox="1">
            <a:spLocks noGrp="1"/>
          </p:cNvSpPr>
          <p:nvPr>
            <p:ph type="sldNum" idx="12"/>
          </p:nvPr>
        </p:nvSpPr>
        <p:spPr>
          <a:xfrm>
            <a:off x="5623433" y="6456761"/>
            <a:ext cx="4302440" cy="34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800" tIns="23400" rIns="46800" bIns="234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1182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26565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72976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720891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585069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05359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13191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1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818352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509588"/>
            <a:ext cx="4076700" cy="2549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" name="Google Shape;92;p1:notes"/>
          <p:cNvSpPr txBox="1">
            <a:spLocks noGrp="1"/>
          </p:cNvSpPr>
          <p:nvPr>
            <p:ph type="body" idx="1"/>
          </p:nvPr>
        </p:nvSpPr>
        <p:spPr>
          <a:xfrm>
            <a:off x="992509" y="3228810"/>
            <a:ext cx="7943207" cy="3058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800" tIns="23400" rIns="46800" bIns="23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" name="Google Shape;93;p1:notes"/>
          <p:cNvSpPr txBox="1">
            <a:spLocks noGrp="1"/>
          </p:cNvSpPr>
          <p:nvPr>
            <p:ph type="sldNum" idx="12"/>
          </p:nvPr>
        </p:nvSpPr>
        <p:spPr>
          <a:xfrm>
            <a:off x="5623433" y="6456761"/>
            <a:ext cx="4302440" cy="34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800" tIns="23400" rIns="46800" bIns="234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703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="" xmlns:a16="http://schemas.microsoft.com/office/drawing/2014/main" id="{6795D4FB-71D7-43B2-9BDA-4CEB488EB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8257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Slide do think-cell" r:id="rId4" imgW="359" imgH="360" progId="TCLayout.ActiveDocument.1">
                  <p:embed/>
                </p:oleObj>
              </mc:Choice>
              <mc:Fallback>
                <p:oleObj name="Slide do think-cell" r:id="rId4" imgW="359" imgH="36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="" xmlns:a16="http://schemas.microsoft.com/office/drawing/2014/main" id="{6795D4FB-71D7-43B2-9BDA-4CEB488EB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 userDrawn="1"/>
        </p:nvGrpSpPr>
        <p:grpSpPr>
          <a:xfrm>
            <a:off x="0" y="1"/>
            <a:ext cx="20104100" cy="12566650"/>
            <a:chOff x="0" y="0"/>
            <a:chExt cx="12192000" cy="6858000"/>
          </a:xfrm>
        </p:grpSpPr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bg2">
                <a:lumMod val="25000"/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002060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rgbClr val="002060">
                <a:alpha val="8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20" name="Imagem 19">
            <a:extLst>
              <a:ext uri="{FF2B5EF4-FFF2-40B4-BE49-F238E27FC236}">
                <a16:creationId xmlns="" xmlns:a16="http://schemas.microsoft.com/office/drawing/2014/main" id="{F6B9CA7B-2E73-41EE-8F6E-A2A948FEF2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205450" y="10626725"/>
            <a:ext cx="1570969" cy="16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59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897" y="1117035"/>
            <a:ext cx="14175547" cy="6236782"/>
          </a:xfrm>
        </p:spPr>
        <p:txBody>
          <a:bodyPr anchor="ctr">
            <a:normAutofit/>
          </a:bodyPr>
          <a:lstStyle>
            <a:lvl1pPr algn="l">
              <a:defRPr sz="7256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7" y="8191594"/>
            <a:ext cx="14175547" cy="2878642"/>
          </a:xfrm>
        </p:spPr>
        <p:txBody>
          <a:bodyPr anchor="ctr">
            <a:normAutofit/>
          </a:bodyPr>
          <a:lstStyle>
            <a:lvl1pPr marL="0" indent="0" algn="l">
              <a:buNone/>
              <a:defRPr sz="296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53923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8729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5731" y="1117035"/>
            <a:ext cx="13346890" cy="5538635"/>
          </a:xfrm>
        </p:spPr>
        <p:txBody>
          <a:bodyPr anchor="ctr">
            <a:normAutofit/>
          </a:bodyPr>
          <a:lstStyle>
            <a:lvl1pPr algn="l">
              <a:defRPr sz="7256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252706" y="6655670"/>
            <a:ext cx="11912939" cy="698147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63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53923" indent="0">
              <a:buFontTx/>
              <a:buNone/>
              <a:defRPr/>
            </a:lvl2pPr>
            <a:lvl3pPr marL="1507846" indent="0">
              <a:buFontTx/>
              <a:buNone/>
              <a:defRPr/>
            </a:lvl3pPr>
            <a:lvl4pPr marL="2261768" indent="0">
              <a:buFontTx/>
              <a:buNone/>
              <a:defRPr/>
            </a:lvl4pPr>
            <a:lvl5pPr marL="3015691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7" y="8191594"/>
            <a:ext cx="14175547" cy="2878642"/>
          </a:xfrm>
        </p:spPr>
        <p:txBody>
          <a:bodyPr anchor="ctr">
            <a:normAutofit/>
          </a:bodyPr>
          <a:lstStyle>
            <a:lvl1pPr marL="0" indent="0" algn="l">
              <a:buNone/>
              <a:defRPr sz="296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53923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  <p:sp>
        <p:nvSpPr>
          <p:cNvPr id="20" name="TextBox 19"/>
          <p:cNvSpPr txBox="1"/>
          <p:nvPr/>
        </p:nvSpPr>
        <p:spPr>
          <a:xfrm>
            <a:off x="893521" y="1448294"/>
            <a:ext cx="1005205" cy="1071548"/>
          </a:xfrm>
          <a:prstGeom prst="rect">
            <a:avLst/>
          </a:prstGeom>
        </p:spPr>
        <p:txBody>
          <a:bodyPr vert="horz" lIns="150781" tIns="75390" rIns="150781" bIns="75390" rtlCol="0" anchor="ctr">
            <a:noAutofit/>
          </a:bodyPr>
          <a:lstStyle/>
          <a:p>
            <a:pPr lvl="0"/>
            <a:r>
              <a:rPr lang="en-US" sz="13192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664205" y="5289347"/>
            <a:ext cx="1005205" cy="1071548"/>
          </a:xfrm>
          <a:prstGeom prst="rect">
            <a:avLst/>
          </a:prstGeom>
        </p:spPr>
        <p:txBody>
          <a:bodyPr vert="horz" lIns="150781" tIns="75390" rIns="150781" bIns="75390" rtlCol="0" anchor="ctr">
            <a:noAutofit/>
          </a:bodyPr>
          <a:lstStyle/>
          <a:p>
            <a:pPr lvl="0"/>
            <a:r>
              <a:rPr lang="en-US" sz="13192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2968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97006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897" y="3540189"/>
            <a:ext cx="14175547" cy="4755940"/>
          </a:xfrm>
        </p:spPr>
        <p:txBody>
          <a:bodyPr anchor="b">
            <a:normAutofit/>
          </a:bodyPr>
          <a:lstStyle>
            <a:lvl1pPr algn="l">
              <a:defRPr sz="7256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7" y="8296129"/>
            <a:ext cx="14175547" cy="2774107"/>
          </a:xfrm>
        </p:spPr>
        <p:txBody>
          <a:bodyPr anchor="t">
            <a:normAutofit/>
          </a:bodyPr>
          <a:lstStyle>
            <a:lvl1pPr marL="0" indent="0" algn="l">
              <a:buNone/>
              <a:defRPr sz="296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53923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56230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5731" y="1117035"/>
            <a:ext cx="13346890" cy="5538635"/>
          </a:xfrm>
        </p:spPr>
        <p:txBody>
          <a:bodyPr anchor="ctr">
            <a:normAutofit/>
          </a:bodyPr>
          <a:lstStyle>
            <a:lvl1pPr algn="l">
              <a:defRPr sz="7256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16893" y="7353817"/>
            <a:ext cx="14175549" cy="94231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395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53923" indent="0">
              <a:buFontTx/>
              <a:buNone/>
              <a:defRPr/>
            </a:lvl2pPr>
            <a:lvl3pPr marL="1507846" indent="0">
              <a:buFontTx/>
              <a:buNone/>
              <a:defRPr/>
            </a:lvl3pPr>
            <a:lvl4pPr marL="2261768" indent="0">
              <a:buFontTx/>
              <a:buNone/>
              <a:defRPr/>
            </a:lvl4pPr>
            <a:lvl5pPr marL="3015691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7" y="8296129"/>
            <a:ext cx="14175547" cy="2774107"/>
          </a:xfrm>
        </p:spPr>
        <p:txBody>
          <a:bodyPr anchor="t">
            <a:normAutofit/>
          </a:bodyPr>
          <a:lstStyle>
            <a:lvl1pPr marL="0" indent="0" algn="l">
              <a:buNone/>
              <a:defRPr sz="296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53923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  <p:sp>
        <p:nvSpPr>
          <p:cNvPr id="24" name="TextBox 23"/>
          <p:cNvSpPr txBox="1"/>
          <p:nvPr/>
        </p:nvSpPr>
        <p:spPr>
          <a:xfrm>
            <a:off x="893521" y="1448294"/>
            <a:ext cx="1005205" cy="1071548"/>
          </a:xfrm>
          <a:prstGeom prst="rect">
            <a:avLst/>
          </a:prstGeom>
        </p:spPr>
        <p:txBody>
          <a:bodyPr vert="horz" lIns="150781" tIns="75390" rIns="150781" bIns="75390" rtlCol="0" anchor="ctr">
            <a:noAutofit/>
          </a:bodyPr>
          <a:lstStyle/>
          <a:p>
            <a:pPr lvl="0"/>
            <a:r>
              <a:rPr lang="en-US" sz="13192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664205" y="5289347"/>
            <a:ext cx="1005205" cy="1071548"/>
          </a:xfrm>
          <a:prstGeom prst="rect">
            <a:avLst/>
          </a:prstGeom>
        </p:spPr>
        <p:txBody>
          <a:bodyPr vert="horz" lIns="150781" tIns="75390" rIns="150781" bIns="75390" rtlCol="0" anchor="ctr">
            <a:noAutofit/>
          </a:bodyPr>
          <a:lstStyle/>
          <a:p>
            <a:pPr lvl="0"/>
            <a:r>
              <a:rPr lang="en-US" sz="13192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405302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0855" y="1117035"/>
            <a:ext cx="14161589" cy="5538635"/>
          </a:xfrm>
        </p:spPr>
        <p:txBody>
          <a:bodyPr anchor="ctr">
            <a:normAutofit/>
          </a:bodyPr>
          <a:lstStyle>
            <a:lvl1pPr algn="l">
              <a:defRPr sz="7256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16893" y="7353817"/>
            <a:ext cx="14175549" cy="94231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3958">
                <a:solidFill>
                  <a:schemeClr val="accent1"/>
                </a:solidFill>
              </a:defRPr>
            </a:lvl1pPr>
            <a:lvl2pPr marL="753923" indent="0">
              <a:buFontTx/>
              <a:buNone/>
              <a:defRPr/>
            </a:lvl2pPr>
            <a:lvl3pPr marL="1507846" indent="0">
              <a:buFontTx/>
              <a:buNone/>
              <a:defRPr/>
            </a:lvl3pPr>
            <a:lvl4pPr marL="2261768" indent="0">
              <a:buFontTx/>
              <a:buNone/>
              <a:defRPr/>
            </a:lvl4pPr>
            <a:lvl5pPr marL="3015691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7" y="8296129"/>
            <a:ext cx="14175547" cy="2774107"/>
          </a:xfrm>
        </p:spPr>
        <p:txBody>
          <a:bodyPr anchor="t">
            <a:normAutofit/>
          </a:bodyPr>
          <a:lstStyle>
            <a:lvl1pPr marL="0" indent="0" algn="l">
              <a:buNone/>
              <a:defRPr sz="296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53923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9724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04312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138362" y="1117034"/>
            <a:ext cx="2151467" cy="9622798"/>
          </a:xfrm>
        </p:spPr>
        <p:txBody>
          <a:bodyPr vert="eaVert" anchor="ctr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6897" y="1117035"/>
            <a:ext cx="11641893" cy="9622796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0155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0" i="1">
                <a:solidFill>
                  <a:srgbClr val="26235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7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26877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2"/>
          <p:cNvSpPr txBox="1">
            <a:spLocks noGrp="1"/>
          </p:cNvSpPr>
          <p:nvPr>
            <p:ph type="ctrTitle"/>
          </p:nvPr>
        </p:nvSpPr>
        <p:spPr>
          <a:xfrm>
            <a:off x="1507807" y="3895661"/>
            <a:ext cx="17088487" cy="2638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2"/>
          <p:cNvSpPr txBox="1">
            <a:spLocks noGrp="1"/>
          </p:cNvSpPr>
          <p:nvPr>
            <p:ph type="subTitle" idx="1"/>
          </p:nvPr>
        </p:nvSpPr>
        <p:spPr>
          <a:xfrm>
            <a:off x="3015615" y="7037324"/>
            <a:ext cx="14072870" cy="3141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2"/>
          <p:cNvSpPr txBox="1">
            <a:spLocks noGrp="1"/>
          </p:cNvSpPr>
          <p:nvPr>
            <p:ph type="ftr" idx="11"/>
          </p:nvPr>
        </p:nvSpPr>
        <p:spPr>
          <a:xfrm>
            <a:off x="6835394" y="11686985"/>
            <a:ext cx="6433312" cy="628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2"/>
          <p:cNvSpPr txBox="1">
            <a:spLocks noGrp="1"/>
          </p:cNvSpPr>
          <p:nvPr>
            <p:ph type="dt" idx="10"/>
          </p:nvPr>
        </p:nvSpPr>
        <p:spPr>
          <a:xfrm>
            <a:off x="1005205" y="11686985"/>
            <a:ext cx="4623943" cy="628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2"/>
          <p:cNvSpPr txBox="1">
            <a:spLocks noGrp="1"/>
          </p:cNvSpPr>
          <p:nvPr>
            <p:ph type="sldNum" idx="12"/>
          </p:nvPr>
        </p:nvSpPr>
        <p:spPr>
          <a:xfrm>
            <a:off x="14474953" y="11686985"/>
            <a:ext cx="4623943" cy="628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45405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9/2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2112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5936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8592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897" y="4949089"/>
            <a:ext cx="14175547" cy="3347041"/>
          </a:xfrm>
        </p:spPr>
        <p:txBody>
          <a:bodyPr anchor="b"/>
          <a:lstStyle>
            <a:lvl1pPr algn="l">
              <a:defRPr sz="6596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7" y="8296129"/>
            <a:ext cx="14175547" cy="1576603"/>
          </a:xfrm>
        </p:spPr>
        <p:txBody>
          <a:bodyPr anchor="t"/>
          <a:lstStyle>
            <a:lvl1pPr marL="0" indent="0" algn="l">
              <a:buNone/>
              <a:defRPr sz="32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53923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3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0783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6897" y="3959079"/>
            <a:ext cx="6899299" cy="7111155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3148" y="3959080"/>
            <a:ext cx="6899298" cy="7111157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6404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4276" y="3959801"/>
            <a:ext cx="6901918" cy="1055947"/>
          </a:xfrm>
        </p:spPr>
        <p:txBody>
          <a:bodyPr anchor="b">
            <a:noAutofit/>
          </a:bodyPr>
          <a:lstStyle>
            <a:lvl1pPr marL="0" indent="0">
              <a:buNone/>
              <a:defRPr sz="3958" b="0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4276" y="5015749"/>
            <a:ext cx="6901918" cy="6054488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90531" y="3959801"/>
            <a:ext cx="6901910" cy="1055947"/>
          </a:xfrm>
        </p:spPr>
        <p:txBody>
          <a:bodyPr anchor="b">
            <a:noAutofit/>
          </a:bodyPr>
          <a:lstStyle>
            <a:lvl1pPr marL="0" indent="0">
              <a:buNone/>
              <a:defRPr sz="3958" b="0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90534" y="5015749"/>
            <a:ext cx="6901908" cy="6054488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262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896" y="1117035"/>
            <a:ext cx="14175547" cy="2420244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60315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7178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896" y="2746053"/>
            <a:ext cx="6355956" cy="2342671"/>
          </a:xfrm>
        </p:spPr>
        <p:txBody>
          <a:bodyPr anchor="b">
            <a:normAutofit/>
          </a:bodyPr>
          <a:lstStyle>
            <a:lvl1pPr>
              <a:defRPr sz="3298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9803" y="943552"/>
            <a:ext cx="7442641" cy="10126684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6896" y="5088723"/>
            <a:ext cx="6355956" cy="4735763"/>
          </a:xfrm>
        </p:spPr>
        <p:txBody>
          <a:bodyPr>
            <a:normAutofit/>
          </a:bodyPr>
          <a:lstStyle>
            <a:lvl1pPr marL="0" indent="0">
              <a:buNone/>
              <a:defRPr sz="2309"/>
            </a:lvl1pPr>
            <a:lvl2pPr marL="753697" indent="0">
              <a:buNone/>
              <a:defRPr sz="2309"/>
            </a:lvl2pPr>
            <a:lvl3pPr marL="1507394" indent="0">
              <a:buNone/>
              <a:defRPr sz="1979"/>
            </a:lvl3pPr>
            <a:lvl4pPr marL="2261091" indent="0">
              <a:buNone/>
              <a:defRPr sz="1649"/>
            </a:lvl4pPr>
            <a:lvl5pPr marL="3014786" indent="0">
              <a:buNone/>
              <a:defRPr sz="1649"/>
            </a:lvl5pPr>
            <a:lvl6pPr marL="3768483" indent="0">
              <a:buNone/>
              <a:defRPr sz="1649"/>
            </a:lvl6pPr>
            <a:lvl7pPr marL="4522180" indent="0">
              <a:buNone/>
              <a:defRPr sz="1649"/>
            </a:lvl7pPr>
            <a:lvl8pPr marL="5275877" indent="0">
              <a:buNone/>
              <a:defRPr sz="1649"/>
            </a:lvl8pPr>
            <a:lvl9pPr marL="6029573" indent="0">
              <a:buNone/>
              <a:defRPr sz="1649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2296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896" y="8796655"/>
            <a:ext cx="14175546" cy="1038495"/>
          </a:xfrm>
        </p:spPr>
        <p:txBody>
          <a:bodyPr anchor="b">
            <a:normAutofit/>
          </a:bodyPr>
          <a:lstStyle>
            <a:lvl1pPr algn="l">
              <a:defRPr sz="3958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16896" y="1117036"/>
            <a:ext cx="14175547" cy="7046922"/>
          </a:xfrm>
        </p:spPr>
        <p:txBody>
          <a:bodyPr anchor="t">
            <a:normAutofit/>
          </a:bodyPr>
          <a:lstStyle>
            <a:lvl1pPr marL="0" indent="0" algn="ctr">
              <a:buNone/>
              <a:defRPr sz="2638"/>
            </a:lvl1pPr>
            <a:lvl2pPr marL="753923" indent="0">
              <a:buNone/>
              <a:defRPr sz="2638"/>
            </a:lvl2pPr>
            <a:lvl3pPr marL="1507846" indent="0">
              <a:buNone/>
              <a:defRPr sz="2638"/>
            </a:lvl3pPr>
            <a:lvl4pPr marL="2261768" indent="0">
              <a:buNone/>
              <a:defRPr sz="2638"/>
            </a:lvl4pPr>
            <a:lvl5pPr marL="3015691" indent="0">
              <a:buNone/>
              <a:defRPr sz="2638"/>
            </a:lvl5pPr>
            <a:lvl6pPr marL="3769614" indent="0">
              <a:buNone/>
              <a:defRPr sz="2638"/>
            </a:lvl6pPr>
            <a:lvl7pPr marL="4523537" indent="0">
              <a:buNone/>
              <a:defRPr sz="2638"/>
            </a:lvl7pPr>
            <a:lvl8pPr marL="5277460" indent="0">
              <a:buNone/>
              <a:defRPr sz="2638"/>
            </a:lvl8pPr>
            <a:lvl9pPr marL="6031382" indent="0">
              <a:buNone/>
              <a:defRPr sz="2638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6896" y="9835150"/>
            <a:ext cx="14175546" cy="1235087"/>
          </a:xfrm>
        </p:spPr>
        <p:txBody>
          <a:bodyPr>
            <a:normAutofit/>
          </a:bodyPr>
          <a:lstStyle>
            <a:lvl1pPr marL="0" indent="0">
              <a:buNone/>
              <a:defRPr sz="1979"/>
            </a:lvl1pPr>
            <a:lvl2pPr marL="753923" indent="0">
              <a:buNone/>
              <a:defRPr sz="1979"/>
            </a:lvl2pPr>
            <a:lvl3pPr marL="1507846" indent="0">
              <a:buNone/>
              <a:defRPr sz="1649"/>
            </a:lvl3pPr>
            <a:lvl4pPr marL="2261768" indent="0">
              <a:buNone/>
              <a:defRPr sz="1484"/>
            </a:lvl4pPr>
            <a:lvl5pPr marL="3015691" indent="0">
              <a:buNone/>
              <a:defRPr sz="1484"/>
            </a:lvl5pPr>
            <a:lvl6pPr marL="3769614" indent="0">
              <a:buNone/>
              <a:defRPr sz="1484"/>
            </a:lvl6pPr>
            <a:lvl7pPr marL="4523537" indent="0">
              <a:buNone/>
              <a:defRPr sz="1484"/>
            </a:lvl7pPr>
            <a:lvl8pPr marL="5277460" indent="0">
              <a:buNone/>
              <a:defRPr sz="1484"/>
            </a:lvl8pPr>
            <a:lvl9pPr marL="6031382" indent="0">
              <a:buNone/>
              <a:defRPr sz="1484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20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6896" y="1117035"/>
            <a:ext cx="14175547" cy="24202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896" y="3959080"/>
            <a:ext cx="14175547" cy="711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880965" y="11070237"/>
            <a:ext cx="1503749" cy="6690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895" y="11070237"/>
            <a:ext cx="10384500" cy="6690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65646" y="11070237"/>
            <a:ext cx="1126798" cy="6690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84">
                <a:solidFill>
                  <a:schemeClr val="accent1"/>
                </a:solidFill>
              </a:defRPr>
            </a:lvl1pPr>
          </a:lstStyle>
          <a:p>
            <a:fld id="{B6F15528-21DE-4FAA-801E-634DDDAF4B2B}" type="slidenum">
              <a:rPr lang="pt-BR" smtClean="0"/>
              <a:t>‹nº›</a:t>
            </a:fld>
            <a:endParaRPr lang="pt-BR"/>
          </a:p>
        </p:txBody>
      </p:sp>
      <p:graphicFrame>
        <p:nvGraphicFramePr>
          <p:cNvPr id="18" name="Objeto 17" hidden="1">
            <a:extLst>
              <a:ext uri="{FF2B5EF4-FFF2-40B4-BE49-F238E27FC236}">
                <a16:creationId xmlns="" xmlns:a16="http://schemas.microsoft.com/office/drawing/2014/main" id="{48873D95-5EAB-4EC6-95EA-8B733F5175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0284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Slide do think-cell" r:id="rId23" imgW="359" imgH="360" progId="TCLayout.ActiveDocument.1">
                  <p:embed/>
                </p:oleObj>
              </mc:Choice>
              <mc:Fallback>
                <p:oleObj name="Slide do think-cell" r:id="rId23" imgW="359" imgH="360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="" xmlns:a16="http://schemas.microsoft.com/office/drawing/2014/main" id="{48873D95-5EAB-4EC6-95EA-8B733F5175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43727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8" r:id="rId18"/>
    <p:sldLayoutId id="2147483690" r:id="rId19"/>
  </p:sldLayoutIdLst>
  <p:txStyles>
    <p:titleStyle>
      <a:lvl1pPr algn="l" defTabSz="753923" rtl="0" eaLnBrk="1" latinLnBrk="0" hangingPunct="1">
        <a:spcBef>
          <a:spcPct val="0"/>
        </a:spcBef>
        <a:buNone/>
        <a:defRPr sz="5936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565442" indent="-565442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96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225125" indent="-471202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63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884807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30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2638730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97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3392653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97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4146575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97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4900498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97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5654421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97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6408344" indent="-376961" algn="l" defTabSz="753923" rtl="0" eaLnBrk="1" latinLnBrk="0" hangingPunct="1">
        <a:spcBef>
          <a:spcPts val="1649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97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753923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oogle Shape;95;p1"/>
          <p:cNvGrpSpPr/>
          <p:nvPr/>
        </p:nvGrpSpPr>
        <p:grpSpPr>
          <a:xfrm>
            <a:off x="2" y="0"/>
            <a:ext cx="20104456" cy="12565510"/>
            <a:chOff x="2" y="0"/>
            <a:chExt cx="20104456" cy="12565510"/>
          </a:xfrm>
        </p:grpSpPr>
        <p:sp>
          <p:nvSpPr>
            <p:cNvPr id="96" name="Google Shape;96;p1"/>
            <p:cNvSpPr/>
            <p:nvPr/>
          </p:nvSpPr>
          <p:spPr>
            <a:xfrm>
              <a:off x="6033868" y="9382939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97;p1"/>
            <p:cNvSpPr/>
            <p:nvPr/>
          </p:nvSpPr>
          <p:spPr>
            <a:xfrm>
              <a:off x="6033858" y="9440675"/>
              <a:ext cx="3264535" cy="3124835"/>
            </a:xfrm>
            <a:custGeom>
              <a:avLst/>
              <a:gdLst/>
              <a:ahLst/>
              <a:cxnLst/>
              <a:rect l="l" t="t" r="r" b="b"/>
              <a:pathLst>
                <a:path w="3264534" h="3124834" extrusionOk="0">
                  <a:moveTo>
                    <a:pt x="1982536" y="3105758"/>
                  </a:moveTo>
                  <a:lnTo>
                    <a:pt x="1982355" y="3112376"/>
                  </a:lnTo>
                  <a:lnTo>
                    <a:pt x="1982151" y="3118386"/>
                  </a:lnTo>
                  <a:lnTo>
                    <a:pt x="1981918" y="3124386"/>
                  </a:lnTo>
                  <a:lnTo>
                    <a:pt x="2005101" y="3124386"/>
                  </a:lnTo>
                  <a:lnTo>
                    <a:pt x="2005348" y="3118187"/>
                  </a:lnTo>
                  <a:lnTo>
                    <a:pt x="2005540" y="3111978"/>
                  </a:lnTo>
                  <a:lnTo>
                    <a:pt x="2005687" y="3106366"/>
                  </a:lnTo>
                  <a:lnTo>
                    <a:pt x="1982536" y="3105758"/>
                  </a:lnTo>
                  <a:close/>
                </a:path>
                <a:path w="3264534" h="3124834" extrusionOk="0">
                  <a:moveTo>
                    <a:pt x="23151" y="3046891"/>
                  </a:moveTo>
                  <a:lnTo>
                    <a:pt x="20" y="3046891"/>
                  </a:lnTo>
                  <a:lnTo>
                    <a:pt x="20" y="3077864"/>
                  </a:lnTo>
                  <a:lnTo>
                    <a:pt x="167" y="3093256"/>
                  </a:lnTo>
                  <a:lnTo>
                    <a:pt x="23339" y="3092879"/>
                  </a:lnTo>
                  <a:lnTo>
                    <a:pt x="23153" y="3077864"/>
                  </a:lnTo>
                  <a:lnTo>
                    <a:pt x="23151" y="3046891"/>
                  </a:lnTo>
                  <a:close/>
                </a:path>
                <a:path w="3264534" h="3124834" extrusionOk="0">
                  <a:moveTo>
                    <a:pt x="2006158" y="3013730"/>
                  </a:moveTo>
                  <a:lnTo>
                    <a:pt x="1982986" y="3013730"/>
                  </a:lnTo>
                  <a:lnTo>
                    <a:pt x="1982986" y="3059885"/>
                  </a:lnTo>
                  <a:lnTo>
                    <a:pt x="2006158" y="3059885"/>
                  </a:lnTo>
                  <a:lnTo>
                    <a:pt x="2006158" y="3013730"/>
                  </a:lnTo>
                  <a:close/>
                </a:path>
                <a:path w="3264534" h="3124834" extrusionOk="0">
                  <a:moveTo>
                    <a:pt x="23151" y="2954559"/>
                  </a:moveTo>
                  <a:lnTo>
                    <a:pt x="0" y="2954559"/>
                  </a:lnTo>
                  <a:lnTo>
                    <a:pt x="0" y="3000746"/>
                  </a:lnTo>
                  <a:lnTo>
                    <a:pt x="23151" y="3000746"/>
                  </a:lnTo>
                  <a:lnTo>
                    <a:pt x="23151" y="2954559"/>
                  </a:lnTo>
                  <a:close/>
                </a:path>
                <a:path w="3264534" h="3124834" extrusionOk="0">
                  <a:moveTo>
                    <a:pt x="2006158" y="2921387"/>
                  </a:moveTo>
                  <a:lnTo>
                    <a:pt x="1982986" y="2921387"/>
                  </a:lnTo>
                  <a:lnTo>
                    <a:pt x="1982986" y="2967574"/>
                  </a:lnTo>
                  <a:lnTo>
                    <a:pt x="2006158" y="2967574"/>
                  </a:lnTo>
                  <a:lnTo>
                    <a:pt x="2006158" y="2921387"/>
                  </a:lnTo>
                  <a:close/>
                </a:path>
                <a:path w="3264534" h="3124834" extrusionOk="0">
                  <a:moveTo>
                    <a:pt x="23151" y="2862216"/>
                  </a:moveTo>
                  <a:lnTo>
                    <a:pt x="0" y="2862216"/>
                  </a:lnTo>
                  <a:lnTo>
                    <a:pt x="0" y="2908372"/>
                  </a:lnTo>
                  <a:lnTo>
                    <a:pt x="23151" y="2908372"/>
                  </a:lnTo>
                  <a:lnTo>
                    <a:pt x="23151" y="2862216"/>
                  </a:lnTo>
                  <a:close/>
                </a:path>
                <a:path w="3264534" h="3124834" extrusionOk="0">
                  <a:moveTo>
                    <a:pt x="2006158" y="2829055"/>
                  </a:moveTo>
                  <a:lnTo>
                    <a:pt x="1982986" y="2829055"/>
                  </a:lnTo>
                  <a:lnTo>
                    <a:pt x="1982986" y="2875221"/>
                  </a:lnTo>
                  <a:lnTo>
                    <a:pt x="2006158" y="2875221"/>
                  </a:lnTo>
                  <a:lnTo>
                    <a:pt x="2006158" y="2829055"/>
                  </a:lnTo>
                  <a:close/>
                </a:path>
                <a:path w="3264534" h="3124834" extrusionOk="0">
                  <a:moveTo>
                    <a:pt x="23151" y="2769894"/>
                  </a:moveTo>
                  <a:lnTo>
                    <a:pt x="0" y="2769894"/>
                  </a:lnTo>
                  <a:lnTo>
                    <a:pt x="0" y="2816060"/>
                  </a:lnTo>
                  <a:lnTo>
                    <a:pt x="23151" y="2816060"/>
                  </a:lnTo>
                  <a:lnTo>
                    <a:pt x="23151" y="2769894"/>
                  </a:lnTo>
                  <a:close/>
                </a:path>
                <a:path w="3264534" h="3124834" extrusionOk="0">
                  <a:moveTo>
                    <a:pt x="2006158" y="2736733"/>
                  </a:moveTo>
                  <a:lnTo>
                    <a:pt x="1982986" y="2736733"/>
                  </a:lnTo>
                  <a:lnTo>
                    <a:pt x="1982986" y="2782910"/>
                  </a:lnTo>
                  <a:lnTo>
                    <a:pt x="2006158" y="2782910"/>
                  </a:lnTo>
                  <a:lnTo>
                    <a:pt x="2006158" y="2736733"/>
                  </a:lnTo>
                  <a:close/>
                </a:path>
                <a:path w="3264534" h="3124834" extrusionOk="0">
                  <a:moveTo>
                    <a:pt x="23151" y="2677572"/>
                  </a:moveTo>
                  <a:lnTo>
                    <a:pt x="0" y="2677572"/>
                  </a:lnTo>
                  <a:lnTo>
                    <a:pt x="0" y="2723739"/>
                  </a:lnTo>
                  <a:lnTo>
                    <a:pt x="23151" y="2723739"/>
                  </a:lnTo>
                  <a:lnTo>
                    <a:pt x="23151" y="2677572"/>
                  </a:lnTo>
                  <a:close/>
                </a:path>
                <a:path w="3264534" h="3124834" extrusionOk="0">
                  <a:moveTo>
                    <a:pt x="2006158" y="2644390"/>
                  </a:moveTo>
                  <a:lnTo>
                    <a:pt x="1982986" y="2644390"/>
                  </a:lnTo>
                  <a:lnTo>
                    <a:pt x="1982986" y="2690588"/>
                  </a:lnTo>
                  <a:lnTo>
                    <a:pt x="2006158" y="2690588"/>
                  </a:lnTo>
                  <a:lnTo>
                    <a:pt x="2006158" y="2644390"/>
                  </a:lnTo>
                  <a:close/>
                </a:path>
                <a:path w="3264534" h="3124834" extrusionOk="0">
                  <a:moveTo>
                    <a:pt x="23151" y="2585219"/>
                  </a:moveTo>
                  <a:lnTo>
                    <a:pt x="0" y="2585219"/>
                  </a:lnTo>
                  <a:lnTo>
                    <a:pt x="0" y="2631427"/>
                  </a:lnTo>
                  <a:lnTo>
                    <a:pt x="23151" y="2631427"/>
                  </a:lnTo>
                  <a:lnTo>
                    <a:pt x="23151" y="2585219"/>
                  </a:lnTo>
                  <a:close/>
                </a:path>
                <a:path w="3264534" h="3124834" extrusionOk="0">
                  <a:moveTo>
                    <a:pt x="2006158" y="2552068"/>
                  </a:moveTo>
                  <a:lnTo>
                    <a:pt x="1982986" y="2552068"/>
                  </a:lnTo>
                  <a:lnTo>
                    <a:pt x="1982986" y="2598245"/>
                  </a:lnTo>
                  <a:lnTo>
                    <a:pt x="2006158" y="2598245"/>
                  </a:lnTo>
                  <a:lnTo>
                    <a:pt x="2006158" y="2552068"/>
                  </a:lnTo>
                  <a:close/>
                </a:path>
                <a:path w="3264534" h="3124834" extrusionOk="0">
                  <a:moveTo>
                    <a:pt x="23151" y="2492897"/>
                  </a:moveTo>
                  <a:lnTo>
                    <a:pt x="0" y="2492897"/>
                  </a:lnTo>
                  <a:lnTo>
                    <a:pt x="0" y="2539074"/>
                  </a:lnTo>
                  <a:lnTo>
                    <a:pt x="23151" y="2539074"/>
                  </a:lnTo>
                  <a:lnTo>
                    <a:pt x="23151" y="2492897"/>
                  </a:lnTo>
                  <a:close/>
                </a:path>
                <a:path w="3264534" h="3124834" extrusionOk="0">
                  <a:moveTo>
                    <a:pt x="2006158" y="2459747"/>
                  </a:moveTo>
                  <a:lnTo>
                    <a:pt x="1982986" y="2459747"/>
                  </a:lnTo>
                  <a:lnTo>
                    <a:pt x="1982986" y="2505934"/>
                  </a:lnTo>
                  <a:lnTo>
                    <a:pt x="2006158" y="2505934"/>
                  </a:lnTo>
                  <a:lnTo>
                    <a:pt x="2006158" y="2459747"/>
                  </a:lnTo>
                  <a:close/>
                </a:path>
                <a:path w="3264534" h="3124834" extrusionOk="0">
                  <a:moveTo>
                    <a:pt x="23151" y="2400576"/>
                  </a:moveTo>
                  <a:lnTo>
                    <a:pt x="0" y="2400576"/>
                  </a:lnTo>
                  <a:lnTo>
                    <a:pt x="0" y="2446752"/>
                  </a:lnTo>
                  <a:lnTo>
                    <a:pt x="23151" y="2446752"/>
                  </a:lnTo>
                  <a:lnTo>
                    <a:pt x="23151" y="2400576"/>
                  </a:lnTo>
                  <a:close/>
                </a:path>
                <a:path w="3264534" h="3124834" extrusionOk="0">
                  <a:moveTo>
                    <a:pt x="2006158" y="2367425"/>
                  </a:moveTo>
                  <a:lnTo>
                    <a:pt x="1982986" y="2367425"/>
                  </a:lnTo>
                  <a:lnTo>
                    <a:pt x="1982986" y="2413580"/>
                  </a:lnTo>
                  <a:lnTo>
                    <a:pt x="2006158" y="2413580"/>
                  </a:lnTo>
                  <a:lnTo>
                    <a:pt x="2006158" y="2367425"/>
                  </a:lnTo>
                  <a:close/>
                </a:path>
                <a:path w="3264534" h="3124834" extrusionOk="0">
                  <a:moveTo>
                    <a:pt x="23151" y="2308243"/>
                  </a:moveTo>
                  <a:lnTo>
                    <a:pt x="0" y="2308243"/>
                  </a:lnTo>
                  <a:lnTo>
                    <a:pt x="0" y="2354409"/>
                  </a:lnTo>
                  <a:lnTo>
                    <a:pt x="23151" y="2354409"/>
                  </a:lnTo>
                  <a:lnTo>
                    <a:pt x="23151" y="2308243"/>
                  </a:lnTo>
                  <a:close/>
                </a:path>
                <a:path w="3264534" h="3124834" extrusionOk="0">
                  <a:moveTo>
                    <a:pt x="2006158" y="2275082"/>
                  </a:moveTo>
                  <a:lnTo>
                    <a:pt x="1982986" y="2275082"/>
                  </a:lnTo>
                  <a:lnTo>
                    <a:pt x="1982986" y="2321269"/>
                  </a:lnTo>
                  <a:lnTo>
                    <a:pt x="2006158" y="2321269"/>
                  </a:lnTo>
                  <a:lnTo>
                    <a:pt x="2006158" y="2275082"/>
                  </a:lnTo>
                  <a:close/>
                </a:path>
                <a:path w="3264534" h="3124834" extrusionOk="0">
                  <a:moveTo>
                    <a:pt x="23151" y="2215922"/>
                  </a:moveTo>
                  <a:lnTo>
                    <a:pt x="0" y="2215922"/>
                  </a:lnTo>
                  <a:lnTo>
                    <a:pt x="0" y="2262067"/>
                  </a:lnTo>
                  <a:lnTo>
                    <a:pt x="23151" y="2262067"/>
                  </a:lnTo>
                  <a:lnTo>
                    <a:pt x="23151" y="2215922"/>
                  </a:lnTo>
                  <a:close/>
                </a:path>
                <a:path w="3264534" h="3124834" extrusionOk="0">
                  <a:moveTo>
                    <a:pt x="2006158" y="2182760"/>
                  </a:moveTo>
                  <a:lnTo>
                    <a:pt x="1982986" y="2182760"/>
                  </a:lnTo>
                  <a:lnTo>
                    <a:pt x="1982986" y="2228916"/>
                  </a:lnTo>
                  <a:lnTo>
                    <a:pt x="2006158" y="2228916"/>
                  </a:lnTo>
                  <a:lnTo>
                    <a:pt x="2006158" y="2182760"/>
                  </a:lnTo>
                  <a:close/>
                </a:path>
                <a:path w="3264534" h="3124834" extrusionOk="0">
                  <a:moveTo>
                    <a:pt x="23151" y="2123600"/>
                  </a:moveTo>
                  <a:lnTo>
                    <a:pt x="0" y="2123600"/>
                  </a:lnTo>
                  <a:lnTo>
                    <a:pt x="0" y="2169755"/>
                  </a:lnTo>
                  <a:lnTo>
                    <a:pt x="23151" y="2169755"/>
                  </a:lnTo>
                  <a:lnTo>
                    <a:pt x="23151" y="2123600"/>
                  </a:lnTo>
                  <a:close/>
                </a:path>
                <a:path w="3264534" h="3124834" extrusionOk="0">
                  <a:moveTo>
                    <a:pt x="2006158" y="2090459"/>
                  </a:moveTo>
                  <a:lnTo>
                    <a:pt x="1982986" y="2090459"/>
                  </a:lnTo>
                  <a:lnTo>
                    <a:pt x="1982986" y="2136605"/>
                  </a:lnTo>
                  <a:lnTo>
                    <a:pt x="2006158" y="2136605"/>
                  </a:lnTo>
                  <a:lnTo>
                    <a:pt x="2006158" y="2090459"/>
                  </a:lnTo>
                  <a:close/>
                </a:path>
                <a:path w="3264534" h="3124834" extrusionOk="0">
                  <a:moveTo>
                    <a:pt x="23151" y="2031236"/>
                  </a:moveTo>
                  <a:lnTo>
                    <a:pt x="0" y="2031236"/>
                  </a:lnTo>
                  <a:lnTo>
                    <a:pt x="0" y="2077434"/>
                  </a:lnTo>
                  <a:lnTo>
                    <a:pt x="23151" y="2077434"/>
                  </a:lnTo>
                  <a:lnTo>
                    <a:pt x="23151" y="2031236"/>
                  </a:lnTo>
                  <a:close/>
                </a:path>
                <a:path w="3264534" h="3124834" extrusionOk="0">
                  <a:moveTo>
                    <a:pt x="2006158" y="1998075"/>
                  </a:moveTo>
                  <a:lnTo>
                    <a:pt x="1982986" y="1998075"/>
                  </a:lnTo>
                  <a:lnTo>
                    <a:pt x="1982986" y="2044251"/>
                  </a:lnTo>
                  <a:lnTo>
                    <a:pt x="2006158" y="2044251"/>
                  </a:lnTo>
                  <a:lnTo>
                    <a:pt x="2006158" y="1998075"/>
                  </a:lnTo>
                  <a:close/>
                </a:path>
                <a:path w="3264534" h="3124834" extrusionOk="0">
                  <a:moveTo>
                    <a:pt x="23151" y="1938925"/>
                  </a:moveTo>
                  <a:lnTo>
                    <a:pt x="0" y="1938925"/>
                  </a:lnTo>
                  <a:lnTo>
                    <a:pt x="0" y="1985091"/>
                  </a:lnTo>
                  <a:lnTo>
                    <a:pt x="23151" y="1985091"/>
                  </a:lnTo>
                  <a:lnTo>
                    <a:pt x="23151" y="1938925"/>
                  </a:lnTo>
                  <a:close/>
                </a:path>
                <a:path w="3264534" h="3124834" extrusionOk="0">
                  <a:moveTo>
                    <a:pt x="2006158" y="1905763"/>
                  </a:moveTo>
                  <a:lnTo>
                    <a:pt x="1982986" y="1905763"/>
                  </a:lnTo>
                  <a:lnTo>
                    <a:pt x="1982986" y="1951930"/>
                  </a:lnTo>
                  <a:lnTo>
                    <a:pt x="2006158" y="1951930"/>
                  </a:lnTo>
                  <a:lnTo>
                    <a:pt x="2006158" y="1905763"/>
                  </a:lnTo>
                  <a:close/>
                </a:path>
                <a:path w="3264534" h="3124834" extrusionOk="0">
                  <a:moveTo>
                    <a:pt x="23151" y="1846592"/>
                  </a:moveTo>
                  <a:lnTo>
                    <a:pt x="0" y="1846592"/>
                  </a:lnTo>
                  <a:lnTo>
                    <a:pt x="0" y="1892769"/>
                  </a:lnTo>
                  <a:lnTo>
                    <a:pt x="23151" y="1892769"/>
                  </a:lnTo>
                  <a:lnTo>
                    <a:pt x="23151" y="1846592"/>
                  </a:lnTo>
                  <a:close/>
                </a:path>
                <a:path w="3264534" h="3124834" extrusionOk="0">
                  <a:moveTo>
                    <a:pt x="2006158" y="1813442"/>
                  </a:moveTo>
                  <a:lnTo>
                    <a:pt x="1982986" y="1813442"/>
                  </a:lnTo>
                  <a:lnTo>
                    <a:pt x="1982986" y="1859618"/>
                  </a:lnTo>
                  <a:lnTo>
                    <a:pt x="2006158" y="1859618"/>
                  </a:lnTo>
                  <a:lnTo>
                    <a:pt x="2006158" y="1813442"/>
                  </a:lnTo>
                  <a:close/>
                </a:path>
                <a:path w="3264534" h="3124834" extrusionOk="0">
                  <a:moveTo>
                    <a:pt x="23151" y="1754281"/>
                  </a:moveTo>
                  <a:lnTo>
                    <a:pt x="0" y="1754281"/>
                  </a:lnTo>
                  <a:lnTo>
                    <a:pt x="0" y="1800447"/>
                  </a:lnTo>
                  <a:lnTo>
                    <a:pt x="23151" y="1800447"/>
                  </a:lnTo>
                  <a:lnTo>
                    <a:pt x="23151" y="1754281"/>
                  </a:lnTo>
                  <a:close/>
                </a:path>
                <a:path w="3264534" h="3124834" extrusionOk="0">
                  <a:moveTo>
                    <a:pt x="2006158" y="1721099"/>
                  </a:moveTo>
                  <a:lnTo>
                    <a:pt x="1982986" y="1721099"/>
                  </a:lnTo>
                  <a:lnTo>
                    <a:pt x="1982986" y="1767286"/>
                  </a:lnTo>
                  <a:lnTo>
                    <a:pt x="2006158" y="1767286"/>
                  </a:lnTo>
                  <a:lnTo>
                    <a:pt x="2006158" y="1721099"/>
                  </a:lnTo>
                  <a:close/>
                </a:path>
                <a:path w="3264534" h="3124834" extrusionOk="0">
                  <a:moveTo>
                    <a:pt x="23151" y="1661928"/>
                  </a:moveTo>
                  <a:lnTo>
                    <a:pt x="0" y="1661928"/>
                  </a:lnTo>
                  <a:lnTo>
                    <a:pt x="0" y="1708105"/>
                  </a:lnTo>
                  <a:lnTo>
                    <a:pt x="23151" y="1708105"/>
                  </a:lnTo>
                  <a:lnTo>
                    <a:pt x="23151" y="1661928"/>
                  </a:lnTo>
                  <a:close/>
                </a:path>
                <a:path w="3264534" h="3124834" extrusionOk="0">
                  <a:moveTo>
                    <a:pt x="2006158" y="1628767"/>
                  </a:moveTo>
                  <a:lnTo>
                    <a:pt x="1982986" y="1628767"/>
                  </a:lnTo>
                  <a:lnTo>
                    <a:pt x="1982986" y="1674922"/>
                  </a:lnTo>
                  <a:lnTo>
                    <a:pt x="2006158" y="1674922"/>
                  </a:lnTo>
                  <a:lnTo>
                    <a:pt x="2006158" y="1628767"/>
                  </a:lnTo>
                  <a:close/>
                </a:path>
                <a:path w="3264534" h="3124834" extrusionOk="0">
                  <a:moveTo>
                    <a:pt x="23151" y="1569606"/>
                  </a:moveTo>
                  <a:lnTo>
                    <a:pt x="0" y="1569606"/>
                  </a:lnTo>
                  <a:lnTo>
                    <a:pt x="0" y="1615751"/>
                  </a:lnTo>
                  <a:lnTo>
                    <a:pt x="23151" y="1615751"/>
                  </a:lnTo>
                  <a:lnTo>
                    <a:pt x="23151" y="1569606"/>
                  </a:lnTo>
                  <a:close/>
                </a:path>
                <a:path w="3264534" h="3124834" extrusionOk="0">
                  <a:moveTo>
                    <a:pt x="1983080" y="1536288"/>
                  </a:moveTo>
                  <a:lnTo>
                    <a:pt x="1982986" y="1582611"/>
                  </a:lnTo>
                  <a:lnTo>
                    <a:pt x="2006158" y="1582611"/>
                  </a:lnTo>
                  <a:lnTo>
                    <a:pt x="2006253" y="1536623"/>
                  </a:lnTo>
                  <a:lnTo>
                    <a:pt x="1983080" y="1536288"/>
                  </a:lnTo>
                  <a:close/>
                </a:path>
                <a:path w="3264534" h="3124834" extrusionOk="0">
                  <a:moveTo>
                    <a:pt x="23151" y="1477263"/>
                  </a:moveTo>
                  <a:lnTo>
                    <a:pt x="0" y="1477263"/>
                  </a:lnTo>
                  <a:lnTo>
                    <a:pt x="0" y="1523440"/>
                  </a:lnTo>
                  <a:lnTo>
                    <a:pt x="23151" y="1523440"/>
                  </a:lnTo>
                  <a:lnTo>
                    <a:pt x="23151" y="1477263"/>
                  </a:lnTo>
                  <a:close/>
                </a:path>
                <a:path w="3264534" h="3124834" extrusionOk="0">
                  <a:moveTo>
                    <a:pt x="1987510" y="1443285"/>
                  </a:moveTo>
                  <a:lnTo>
                    <a:pt x="1986586" y="1454848"/>
                  </a:lnTo>
                  <a:lnTo>
                    <a:pt x="1985777" y="1466447"/>
                  </a:lnTo>
                  <a:lnTo>
                    <a:pt x="1985077" y="1478086"/>
                  </a:lnTo>
                  <a:lnTo>
                    <a:pt x="1984484" y="1489766"/>
                  </a:lnTo>
                  <a:lnTo>
                    <a:pt x="2007603" y="1490844"/>
                  </a:lnTo>
                  <a:lnTo>
                    <a:pt x="2008181" y="1479370"/>
                  </a:lnTo>
                  <a:lnTo>
                    <a:pt x="2008874" y="1467939"/>
                  </a:lnTo>
                  <a:lnTo>
                    <a:pt x="2009675" y="1456547"/>
                  </a:lnTo>
                  <a:lnTo>
                    <a:pt x="2010577" y="1445191"/>
                  </a:lnTo>
                  <a:lnTo>
                    <a:pt x="1987510" y="1443285"/>
                  </a:lnTo>
                  <a:close/>
                </a:path>
                <a:path w="3264534" h="3124834" extrusionOk="0">
                  <a:moveTo>
                    <a:pt x="23151" y="1384942"/>
                  </a:moveTo>
                  <a:lnTo>
                    <a:pt x="0" y="1384942"/>
                  </a:lnTo>
                  <a:lnTo>
                    <a:pt x="0" y="1431129"/>
                  </a:lnTo>
                  <a:lnTo>
                    <a:pt x="23151" y="1431129"/>
                  </a:lnTo>
                  <a:lnTo>
                    <a:pt x="23151" y="1384942"/>
                  </a:lnTo>
                  <a:close/>
                </a:path>
                <a:path w="3264534" h="3124834" extrusionOk="0">
                  <a:moveTo>
                    <a:pt x="1998682" y="1350754"/>
                  </a:moveTo>
                  <a:lnTo>
                    <a:pt x="1996931" y="1362228"/>
                  </a:lnTo>
                  <a:lnTo>
                    <a:pt x="1995267" y="1373740"/>
                  </a:lnTo>
                  <a:lnTo>
                    <a:pt x="1993704" y="1385304"/>
                  </a:lnTo>
                  <a:lnTo>
                    <a:pt x="1992253" y="1396931"/>
                  </a:lnTo>
                  <a:lnTo>
                    <a:pt x="2015247" y="1399695"/>
                  </a:lnTo>
                  <a:lnTo>
                    <a:pt x="2016677" y="1388291"/>
                  </a:lnTo>
                  <a:lnTo>
                    <a:pt x="2018213" y="1376937"/>
                  </a:lnTo>
                  <a:lnTo>
                    <a:pt x="2019847" y="1365637"/>
                  </a:lnTo>
                  <a:lnTo>
                    <a:pt x="2021571" y="1354398"/>
                  </a:lnTo>
                  <a:lnTo>
                    <a:pt x="1998682" y="1350754"/>
                  </a:lnTo>
                  <a:close/>
                </a:path>
                <a:path w="3264534" h="3124834" extrusionOk="0">
                  <a:moveTo>
                    <a:pt x="23151" y="1292578"/>
                  </a:moveTo>
                  <a:lnTo>
                    <a:pt x="0" y="1292578"/>
                  </a:lnTo>
                  <a:lnTo>
                    <a:pt x="0" y="1338775"/>
                  </a:lnTo>
                  <a:lnTo>
                    <a:pt x="23151" y="1338775"/>
                  </a:lnTo>
                  <a:lnTo>
                    <a:pt x="23151" y="1292578"/>
                  </a:lnTo>
                  <a:close/>
                </a:path>
                <a:path w="3264534" h="3124834" extrusionOk="0">
                  <a:moveTo>
                    <a:pt x="2016818" y="1259364"/>
                  </a:moveTo>
                  <a:lnTo>
                    <a:pt x="2014161" y="1270648"/>
                  </a:lnTo>
                  <a:lnTo>
                    <a:pt x="2011620" y="1282006"/>
                  </a:lnTo>
                  <a:lnTo>
                    <a:pt x="2009192" y="1293433"/>
                  </a:lnTo>
                  <a:lnTo>
                    <a:pt x="2006870" y="1304923"/>
                  </a:lnTo>
                  <a:lnTo>
                    <a:pt x="2029571" y="1309405"/>
                  </a:lnTo>
                  <a:lnTo>
                    <a:pt x="2031867" y="1298148"/>
                  </a:lnTo>
                  <a:lnTo>
                    <a:pt x="2034262" y="1286952"/>
                  </a:lnTo>
                  <a:lnTo>
                    <a:pt x="2036760" y="1275824"/>
                  </a:lnTo>
                  <a:lnTo>
                    <a:pt x="2039361" y="1264767"/>
                  </a:lnTo>
                  <a:lnTo>
                    <a:pt x="2016818" y="1259364"/>
                  </a:lnTo>
                  <a:close/>
                </a:path>
                <a:path w="3264534" h="3124834" extrusionOk="0">
                  <a:moveTo>
                    <a:pt x="23151" y="1200277"/>
                  </a:moveTo>
                  <a:lnTo>
                    <a:pt x="0" y="1200277"/>
                  </a:lnTo>
                  <a:lnTo>
                    <a:pt x="0" y="1246464"/>
                  </a:lnTo>
                  <a:lnTo>
                    <a:pt x="23151" y="1246464"/>
                  </a:lnTo>
                  <a:lnTo>
                    <a:pt x="23151" y="1200277"/>
                  </a:lnTo>
                  <a:close/>
                </a:path>
                <a:path w="3264534" h="3124834" extrusionOk="0">
                  <a:moveTo>
                    <a:pt x="2042011" y="1169597"/>
                  </a:moveTo>
                  <a:lnTo>
                    <a:pt x="2038478" y="1180650"/>
                  </a:lnTo>
                  <a:lnTo>
                    <a:pt x="2035053" y="1191775"/>
                  </a:lnTo>
                  <a:lnTo>
                    <a:pt x="2031730" y="1202978"/>
                  </a:lnTo>
                  <a:lnTo>
                    <a:pt x="2028503" y="1214266"/>
                  </a:lnTo>
                  <a:lnTo>
                    <a:pt x="2050796" y="1220496"/>
                  </a:lnTo>
                  <a:lnTo>
                    <a:pt x="2053968" y="1209455"/>
                  </a:lnTo>
                  <a:lnTo>
                    <a:pt x="2057224" y="1198490"/>
                  </a:lnTo>
                  <a:lnTo>
                    <a:pt x="2060571" y="1187603"/>
                  </a:lnTo>
                  <a:lnTo>
                    <a:pt x="2064020" y="1176791"/>
                  </a:lnTo>
                  <a:lnTo>
                    <a:pt x="2042011" y="1169597"/>
                  </a:lnTo>
                  <a:close/>
                </a:path>
                <a:path w="3264534" h="3124834" extrusionOk="0">
                  <a:moveTo>
                    <a:pt x="23151" y="1107966"/>
                  </a:moveTo>
                  <a:lnTo>
                    <a:pt x="0" y="1107966"/>
                  </a:lnTo>
                  <a:lnTo>
                    <a:pt x="0" y="1154142"/>
                  </a:lnTo>
                  <a:lnTo>
                    <a:pt x="23151" y="1154142"/>
                  </a:lnTo>
                  <a:lnTo>
                    <a:pt x="23151" y="1107966"/>
                  </a:lnTo>
                  <a:close/>
                </a:path>
                <a:path w="3264534" h="3124834" extrusionOk="0">
                  <a:moveTo>
                    <a:pt x="2074502" y="1082166"/>
                  </a:moveTo>
                  <a:lnTo>
                    <a:pt x="2070062" y="1092865"/>
                  </a:lnTo>
                  <a:lnTo>
                    <a:pt x="2065713" y="1103664"/>
                  </a:lnTo>
                  <a:lnTo>
                    <a:pt x="2061460" y="1114558"/>
                  </a:lnTo>
                  <a:lnTo>
                    <a:pt x="2057309" y="1125546"/>
                  </a:lnTo>
                  <a:lnTo>
                    <a:pt x="2079015" y="1133598"/>
                  </a:lnTo>
                  <a:lnTo>
                    <a:pt x="2083075" y="1122852"/>
                  </a:lnTo>
                  <a:lnTo>
                    <a:pt x="2087247" y="1112196"/>
                  </a:lnTo>
                  <a:lnTo>
                    <a:pt x="2091510" y="1101634"/>
                  </a:lnTo>
                  <a:lnTo>
                    <a:pt x="2095841" y="1091170"/>
                  </a:lnTo>
                  <a:lnTo>
                    <a:pt x="2074502" y="1082166"/>
                  </a:lnTo>
                  <a:close/>
                </a:path>
                <a:path w="3264534" h="3124834" extrusionOk="0">
                  <a:moveTo>
                    <a:pt x="23151" y="1015613"/>
                  </a:moveTo>
                  <a:lnTo>
                    <a:pt x="0" y="1015613"/>
                  </a:lnTo>
                  <a:lnTo>
                    <a:pt x="0" y="1061789"/>
                  </a:lnTo>
                  <a:lnTo>
                    <a:pt x="23151" y="1061789"/>
                  </a:lnTo>
                  <a:lnTo>
                    <a:pt x="23151" y="1015613"/>
                  </a:lnTo>
                  <a:close/>
                </a:path>
                <a:path w="3264534" h="3124834" extrusionOk="0">
                  <a:moveTo>
                    <a:pt x="2114658" y="997843"/>
                  </a:moveTo>
                  <a:lnTo>
                    <a:pt x="2109228" y="1008099"/>
                  </a:lnTo>
                  <a:lnTo>
                    <a:pt x="2103903" y="1018478"/>
                  </a:lnTo>
                  <a:lnTo>
                    <a:pt x="2098686" y="1028976"/>
                  </a:lnTo>
                  <a:lnTo>
                    <a:pt x="2093580" y="1039591"/>
                  </a:lnTo>
                  <a:lnTo>
                    <a:pt x="2114532" y="1049475"/>
                  </a:lnTo>
                  <a:lnTo>
                    <a:pt x="2119504" y="1039142"/>
                  </a:lnTo>
                  <a:lnTo>
                    <a:pt x="2124577" y="1028917"/>
                  </a:lnTo>
                  <a:lnTo>
                    <a:pt x="2129759" y="1018797"/>
                  </a:lnTo>
                  <a:lnTo>
                    <a:pt x="2135055" y="1008775"/>
                  </a:lnTo>
                  <a:lnTo>
                    <a:pt x="2114658" y="997843"/>
                  </a:lnTo>
                  <a:close/>
                </a:path>
                <a:path w="3264534" h="3124834" extrusionOk="0">
                  <a:moveTo>
                    <a:pt x="23151" y="923301"/>
                  </a:moveTo>
                  <a:lnTo>
                    <a:pt x="0" y="923301"/>
                  </a:lnTo>
                  <a:lnTo>
                    <a:pt x="0" y="969478"/>
                  </a:lnTo>
                  <a:lnTo>
                    <a:pt x="23151" y="969478"/>
                  </a:lnTo>
                  <a:lnTo>
                    <a:pt x="23151" y="923301"/>
                  </a:lnTo>
                  <a:close/>
                </a:path>
                <a:path w="3264534" h="3124834" extrusionOk="0">
                  <a:moveTo>
                    <a:pt x="2162520" y="917647"/>
                  </a:moveTo>
                  <a:lnTo>
                    <a:pt x="2156127" y="927345"/>
                  </a:lnTo>
                  <a:lnTo>
                    <a:pt x="2149852" y="937166"/>
                  </a:lnTo>
                  <a:lnTo>
                    <a:pt x="2143680" y="947107"/>
                  </a:lnTo>
                  <a:lnTo>
                    <a:pt x="2137599" y="957164"/>
                  </a:lnTo>
                  <a:lnTo>
                    <a:pt x="2157452" y="969049"/>
                  </a:lnTo>
                  <a:lnTo>
                    <a:pt x="2163397" y="959231"/>
                  </a:lnTo>
                  <a:lnTo>
                    <a:pt x="2169435" y="949544"/>
                  </a:lnTo>
                  <a:lnTo>
                    <a:pt x="2175565" y="939970"/>
                  </a:lnTo>
                  <a:lnTo>
                    <a:pt x="2181786" y="930495"/>
                  </a:lnTo>
                  <a:lnTo>
                    <a:pt x="2162520" y="917647"/>
                  </a:lnTo>
                  <a:close/>
                </a:path>
                <a:path w="3264534" h="3124834" extrusionOk="0">
                  <a:moveTo>
                    <a:pt x="2218560" y="842791"/>
                  </a:moveTo>
                  <a:lnTo>
                    <a:pt x="2211183" y="851733"/>
                  </a:lnTo>
                  <a:lnTo>
                    <a:pt x="2203881" y="860828"/>
                  </a:lnTo>
                  <a:lnTo>
                    <a:pt x="2196660" y="870074"/>
                  </a:lnTo>
                  <a:lnTo>
                    <a:pt x="2189524" y="879470"/>
                  </a:lnTo>
                  <a:lnTo>
                    <a:pt x="2208089" y="893323"/>
                  </a:lnTo>
                  <a:lnTo>
                    <a:pt x="2215020" y="884198"/>
                  </a:lnTo>
                  <a:lnTo>
                    <a:pt x="2222046" y="875212"/>
                  </a:lnTo>
                  <a:lnTo>
                    <a:pt x="2229156" y="866367"/>
                  </a:lnTo>
                  <a:lnTo>
                    <a:pt x="2236340" y="857659"/>
                  </a:lnTo>
                  <a:lnTo>
                    <a:pt x="2218560" y="842791"/>
                  </a:lnTo>
                  <a:close/>
                </a:path>
                <a:path w="3264534" h="3124834" extrusionOk="0">
                  <a:moveTo>
                    <a:pt x="23151" y="830958"/>
                  </a:moveTo>
                  <a:lnTo>
                    <a:pt x="0" y="830958"/>
                  </a:lnTo>
                  <a:lnTo>
                    <a:pt x="0" y="877125"/>
                  </a:lnTo>
                  <a:lnTo>
                    <a:pt x="23151" y="877125"/>
                  </a:lnTo>
                  <a:lnTo>
                    <a:pt x="23151" y="830958"/>
                  </a:lnTo>
                  <a:close/>
                </a:path>
                <a:path w="3264534" h="3124834" extrusionOk="0">
                  <a:moveTo>
                    <a:pt x="2282977" y="774803"/>
                  </a:moveTo>
                  <a:lnTo>
                    <a:pt x="2274542" y="782803"/>
                  </a:lnTo>
                  <a:lnTo>
                    <a:pt x="2266186" y="790964"/>
                  </a:lnTo>
                  <a:lnTo>
                    <a:pt x="2257914" y="799295"/>
                  </a:lnTo>
                  <a:lnTo>
                    <a:pt x="2249732" y="807807"/>
                  </a:lnTo>
                  <a:lnTo>
                    <a:pt x="2266548" y="823713"/>
                  </a:lnTo>
                  <a:lnTo>
                    <a:pt x="2274477" y="815483"/>
                  </a:lnTo>
                  <a:lnTo>
                    <a:pt x="2282502" y="807400"/>
                  </a:lnTo>
                  <a:lnTo>
                    <a:pt x="2290616" y="799468"/>
                  </a:lnTo>
                  <a:lnTo>
                    <a:pt x="2298809" y="791693"/>
                  </a:lnTo>
                  <a:lnTo>
                    <a:pt x="2282977" y="774803"/>
                  </a:lnTo>
                  <a:close/>
                </a:path>
                <a:path w="3264534" h="3124834" extrusionOk="0">
                  <a:moveTo>
                    <a:pt x="23151" y="738647"/>
                  </a:moveTo>
                  <a:lnTo>
                    <a:pt x="0" y="738647"/>
                  </a:lnTo>
                  <a:lnTo>
                    <a:pt x="0" y="784813"/>
                  </a:lnTo>
                  <a:lnTo>
                    <a:pt x="23151" y="784813"/>
                  </a:lnTo>
                  <a:lnTo>
                    <a:pt x="23151" y="738647"/>
                  </a:lnTo>
                  <a:close/>
                </a:path>
                <a:path w="3264534" h="3124834" extrusionOk="0">
                  <a:moveTo>
                    <a:pt x="2355844" y="715695"/>
                  </a:moveTo>
                  <a:lnTo>
                    <a:pt x="2346365" y="722470"/>
                  </a:lnTo>
                  <a:lnTo>
                    <a:pt x="2336941" y="729460"/>
                  </a:lnTo>
                  <a:lnTo>
                    <a:pt x="2327608" y="736641"/>
                  </a:lnTo>
                  <a:lnTo>
                    <a:pt x="2318400" y="743987"/>
                  </a:lnTo>
                  <a:lnTo>
                    <a:pt x="2333017" y="761955"/>
                  </a:lnTo>
                  <a:lnTo>
                    <a:pt x="2341899" y="754883"/>
                  </a:lnTo>
                  <a:lnTo>
                    <a:pt x="2350893" y="747960"/>
                  </a:lnTo>
                  <a:lnTo>
                    <a:pt x="2359983" y="741207"/>
                  </a:lnTo>
                  <a:lnTo>
                    <a:pt x="2369152" y="734647"/>
                  </a:lnTo>
                  <a:lnTo>
                    <a:pt x="2355844" y="715695"/>
                  </a:lnTo>
                  <a:close/>
                </a:path>
                <a:path w="3264534" h="3124834" extrusionOk="0">
                  <a:moveTo>
                    <a:pt x="2436773" y="667801"/>
                  </a:moveTo>
                  <a:lnTo>
                    <a:pt x="2426359" y="673027"/>
                  </a:lnTo>
                  <a:lnTo>
                    <a:pt x="2415965" y="678505"/>
                  </a:lnTo>
                  <a:lnTo>
                    <a:pt x="2405631" y="684222"/>
                  </a:lnTo>
                  <a:lnTo>
                    <a:pt x="2395393" y="690167"/>
                  </a:lnTo>
                  <a:lnTo>
                    <a:pt x="2407204" y="710072"/>
                  </a:lnTo>
                  <a:lnTo>
                    <a:pt x="2417047" y="704368"/>
                  </a:lnTo>
                  <a:lnTo>
                    <a:pt x="2426961" y="698879"/>
                  </a:lnTo>
                  <a:lnTo>
                    <a:pt x="2436920" y="693625"/>
                  </a:lnTo>
                  <a:lnTo>
                    <a:pt x="2446899" y="688628"/>
                  </a:lnTo>
                  <a:lnTo>
                    <a:pt x="2436773" y="667801"/>
                  </a:lnTo>
                  <a:close/>
                </a:path>
                <a:path w="3264534" h="3124834" extrusionOk="0">
                  <a:moveTo>
                    <a:pt x="23151" y="646273"/>
                  </a:moveTo>
                  <a:lnTo>
                    <a:pt x="0" y="646273"/>
                  </a:lnTo>
                  <a:lnTo>
                    <a:pt x="0" y="692460"/>
                  </a:lnTo>
                  <a:lnTo>
                    <a:pt x="23151" y="692460"/>
                  </a:lnTo>
                  <a:lnTo>
                    <a:pt x="23151" y="646273"/>
                  </a:lnTo>
                  <a:close/>
                </a:path>
                <a:path w="3264534" h="3124834" extrusionOk="0">
                  <a:moveTo>
                    <a:pt x="2524666" y="633917"/>
                  </a:moveTo>
                  <a:lnTo>
                    <a:pt x="2513507" y="637246"/>
                  </a:lnTo>
                  <a:lnTo>
                    <a:pt x="2502302" y="640873"/>
                  </a:lnTo>
                  <a:lnTo>
                    <a:pt x="2491098" y="644778"/>
                  </a:lnTo>
                  <a:lnTo>
                    <a:pt x="2479945" y="648943"/>
                  </a:lnTo>
                  <a:lnTo>
                    <a:pt x="2488311" y="670565"/>
                  </a:lnTo>
                  <a:lnTo>
                    <a:pt x="2498980" y="666569"/>
                  </a:lnTo>
                  <a:lnTo>
                    <a:pt x="2509674" y="662831"/>
                  </a:lnTo>
                  <a:lnTo>
                    <a:pt x="2520373" y="659359"/>
                  </a:lnTo>
                  <a:lnTo>
                    <a:pt x="2531053" y="656158"/>
                  </a:lnTo>
                  <a:lnTo>
                    <a:pt x="2524666" y="633917"/>
                  </a:lnTo>
                  <a:close/>
                </a:path>
                <a:path w="3264534" h="3124834" extrusionOk="0">
                  <a:moveTo>
                    <a:pt x="2617124" y="616222"/>
                  </a:moveTo>
                  <a:lnTo>
                    <a:pt x="2605432" y="617489"/>
                  </a:lnTo>
                  <a:lnTo>
                    <a:pt x="2593737" y="619029"/>
                  </a:lnTo>
                  <a:lnTo>
                    <a:pt x="2582082" y="620838"/>
                  </a:lnTo>
                  <a:lnTo>
                    <a:pt x="2570508" y="622912"/>
                  </a:lnTo>
                  <a:lnTo>
                    <a:pt x="2574832" y="645676"/>
                  </a:lnTo>
                  <a:lnTo>
                    <a:pt x="2585899" y="643693"/>
                  </a:lnTo>
                  <a:lnTo>
                    <a:pt x="2597038" y="641964"/>
                  </a:lnTo>
                  <a:lnTo>
                    <a:pt x="2608213" y="640487"/>
                  </a:lnTo>
                  <a:lnTo>
                    <a:pt x="2619386" y="639258"/>
                  </a:lnTo>
                  <a:lnTo>
                    <a:pt x="2617124" y="616222"/>
                  </a:lnTo>
                  <a:close/>
                </a:path>
                <a:path w="3264534" h="3124834" extrusionOk="0">
                  <a:moveTo>
                    <a:pt x="3264497" y="613887"/>
                  </a:moveTo>
                  <a:lnTo>
                    <a:pt x="3218341" y="613887"/>
                  </a:lnTo>
                  <a:lnTo>
                    <a:pt x="3218341" y="637048"/>
                  </a:lnTo>
                  <a:lnTo>
                    <a:pt x="3264497" y="637048"/>
                  </a:lnTo>
                  <a:lnTo>
                    <a:pt x="3264497" y="613887"/>
                  </a:lnTo>
                  <a:close/>
                </a:path>
                <a:path w="3264534" h="3124834" extrusionOk="0">
                  <a:moveTo>
                    <a:pt x="3172175" y="613887"/>
                  </a:moveTo>
                  <a:lnTo>
                    <a:pt x="3125999" y="613887"/>
                  </a:lnTo>
                  <a:lnTo>
                    <a:pt x="3125999" y="637048"/>
                  </a:lnTo>
                  <a:lnTo>
                    <a:pt x="3172175" y="637048"/>
                  </a:lnTo>
                  <a:lnTo>
                    <a:pt x="3172175" y="613887"/>
                  </a:lnTo>
                  <a:close/>
                </a:path>
                <a:path w="3264534" h="3124834" extrusionOk="0">
                  <a:moveTo>
                    <a:pt x="3079811" y="613887"/>
                  </a:moveTo>
                  <a:lnTo>
                    <a:pt x="3033645" y="613887"/>
                  </a:lnTo>
                  <a:lnTo>
                    <a:pt x="3033645" y="637048"/>
                  </a:lnTo>
                  <a:lnTo>
                    <a:pt x="3079811" y="637048"/>
                  </a:lnTo>
                  <a:lnTo>
                    <a:pt x="3079811" y="613887"/>
                  </a:lnTo>
                  <a:close/>
                </a:path>
                <a:path w="3264534" h="3124834" extrusionOk="0">
                  <a:moveTo>
                    <a:pt x="2987500" y="613887"/>
                  </a:moveTo>
                  <a:lnTo>
                    <a:pt x="2941313" y="613887"/>
                  </a:lnTo>
                  <a:lnTo>
                    <a:pt x="2941313" y="637048"/>
                  </a:lnTo>
                  <a:lnTo>
                    <a:pt x="2987500" y="637048"/>
                  </a:lnTo>
                  <a:lnTo>
                    <a:pt x="2987500" y="613887"/>
                  </a:lnTo>
                  <a:close/>
                </a:path>
                <a:path w="3264534" h="3124834" extrusionOk="0">
                  <a:moveTo>
                    <a:pt x="2895189" y="613887"/>
                  </a:moveTo>
                  <a:lnTo>
                    <a:pt x="2848991" y="613887"/>
                  </a:lnTo>
                  <a:lnTo>
                    <a:pt x="2848991" y="637048"/>
                  </a:lnTo>
                  <a:lnTo>
                    <a:pt x="2895189" y="637048"/>
                  </a:lnTo>
                  <a:lnTo>
                    <a:pt x="2895189" y="613887"/>
                  </a:lnTo>
                  <a:close/>
                </a:path>
                <a:path w="3264534" h="3124834" extrusionOk="0">
                  <a:moveTo>
                    <a:pt x="2802857" y="613887"/>
                  </a:moveTo>
                  <a:lnTo>
                    <a:pt x="2756680" y="613887"/>
                  </a:lnTo>
                  <a:lnTo>
                    <a:pt x="2756680" y="637048"/>
                  </a:lnTo>
                  <a:lnTo>
                    <a:pt x="2802857" y="637048"/>
                  </a:lnTo>
                  <a:lnTo>
                    <a:pt x="2802857" y="613887"/>
                  </a:lnTo>
                  <a:close/>
                </a:path>
                <a:path w="3264534" h="3124834" extrusionOk="0">
                  <a:moveTo>
                    <a:pt x="2710482" y="613887"/>
                  </a:moveTo>
                  <a:lnTo>
                    <a:pt x="2664337" y="613887"/>
                  </a:lnTo>
                  <a:lnTo>
                    <a:pt x="2665615" y="637048"/>
                  </a:lnTo>
                  <a:lnTo>
                    <a:pt x="2710482" y="637048"/>
                  </a:lnTo>
                  <a:lnTo>
                    <a:pt x="2710482" y="613887"/>
                  </a:lnTo>
                  <a:close/>
                </a:path>
                <a:path w="3264534" h="3124834" extrusionOk="0">
                  <a:moveTo>
                    <a:pt x="23151" y="553962"/>
                  </a:moveTo>
                  <a:lnTo>
                    <a:pt x="0" y="553962"/>
                  </a:lnTo>
                  <a:lnTo>
                    <a:pt x="0" y="600149"/>
                  </a:lnTo>
                  <a:lnTo>
                    <a:pt x="23151" y="600149"/>
                  </a:lnTo>
                  <a:lnTo>
                    <a:pt x="23151" y="553962"/>
                  </a:lnTo>
                  <a:close/>
                </a:path>
                <a:path w="3264534" h="3124834" extrusionOk="0">
                  <a:moveTo>
                    <a:pt x="23151" y="461619"/>
                  </a:moveTo>
                  <a:lnTo>
                    <a:pt x="0" y="461619"/>
                  </a:lnTo>
                  <a:lnTo>
                    <a:pt x="0" y="507837"/>
                  </a:lnTo>
                  <a:lnTo>
                    <a:pt x="23151" y="507837"/>
                  </a:lnTo>
                  <a:lnTo>
                    <a:pt x="23151" y="461619"/>
                  </a:lnTo>
                  <a:close/>
                </a:path>
                <a:path w="3264534" h="3124834" extrusionOk="0">
                  <a:moveTo>
                    <a:pt x="23151" y="369308"/>
                  </a:moveTo>
                  <a:lnTo>
                    <a:pt x="0" y="369308"/>
                  </a:lnTo>
                  <a:lnTo>
                    <a:pt x="0" y="415495"/>
                  </a:lnTo>
                  <a:lnTo>
                    <a:pt x="23151" y="415495"/>
                  </a:lnTo>
                  <a:lnTo>
                    <a:pt x="23151" y="369308"/>
                  </a:lnTo>
                  <a:close/>
                </a:path>
                <a:path w="3264534" h="3124834" extrusionOk="0">
                  <a:moveTo>
                    <a:pt x="23151" y="276996"/>
                  </a:moveTo>
                  <a:lnTo>
                    <a:pt x="0" y="276996"/>
                  </a:lnTo>
                  <a:lnTo>
                    <a:pt x="0" y="323141"/>
                  </a:lnTo>
                  <a:lnTo>
                    <a:pt x="23151" y="323141"/>
                  </a:lnTo>
                  <a:lnTo>
                    <a:pt x="23151" y="276996"/>
                  </a:lnTo>
                  <a:close/>
                </a:path>
                <a:path w="3264534" h="3124834" extrusionOk="0">
                  <a:moveTo>
                    <a:pt x="23151" y="184685"/>
                  </a:moveTo>
                  <a:lnTo>
                    <a:pt x="0" y="184685"/>
                  </a:lnTo>
                  <a:lnTo>
                    <a:pt x="0" y="230830"/>
                  </a:lnTo>
                  <a:lnTo>
                    <a:pt x="23151" y="230830"/>
                  </a:lnTo>
                  <a:lnTo>
                    <a:pt x="23151" y="184685"/>
                  </a:lnTo>
                  <a:close/>
                </a:path>
                <a:path w="3264534" h="3124834" extrusionOk="0">
                  <a:moveTo>
                    <a:pt x="23151" y="92300"/>
                  </a:moveTo>
                  <a:lnTo>
                    <a:pt x="0" y="92300"/>
                  </a:lnTo>
                  <a:lnTo>
                    <a:pt x="0" y="138477"/>
                  </a:lnTo>
                  <a:lnTo>
                    <a:pt x="23151" y="138477"/>
                  </a:lnTo>
                  <a:lnTo>
                    <a:pt x="23151" y="92300"/>
                  </a:lnTo>
                  <a:close/>
                </a:path>
                <a:path w="3264534" h="3124834" extrusionOk="0">
                  <a:moveTo>
                    <a:pt x="23151" y="0"/>
                  </a:moveTo>
                  <a:lnTo>
                    <a:pt x="0" y="0"/>
                  </a:lnTo>
                  <a:lnTo>
                    <a:pt x="0" y="46166"/>
                  </a:lnTo>
                  <a:lnTo>
                    <a:pt x="23151" y="46166"/>
                  </a:lnTo>
                  <a:lnTo>
                    <a:pt x="23151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98;p1"/>
            <p:cNvSpPr/>
            <p:nvPr/>
          </p:nvSpPr>
          <p:spPr>
            <a:xfrm>
              <a:off x="3419142" y="5062798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4" h="4309109" extrusionOk="0">
                  <a:moveTo>
                    <a:pt x="2036930" y="46333"/>
                  </a:moveTo>
                  <a:lnTo>
                    <a:pt x="1763485" y="46333"/>
                  </a:lnTo>
                  <a:lnTo>
                    <a:pt x="1809485" y="47672"/>
                  </a:lnTo>
                  <a:lnTo>
                    <a:pt x="1854845" y="51643"/>
                  </a:lnTo>
                  <a:lnTo>
                    <a:pt x="1899500" y="58177"/>
                  </a:lnTo>
                  <a:lnTo>
                    <a:pt x="1943387" y="67204"/>
                  </a:lnTo>
                  <a:lnTo>
                    <a:pt x="1986440" y="78654"/>
                  </a:lnTo>
                  <a:lnTo>
                    <a:pt x="2028595" y="92459"/>
                  </a:lnTo>
                  <a:lnTo>
                    <a:pt x="2069788" y="108548"/>
                  </a:lnTo>
                  <a:lnTo>
                    <a:pt x="2109954" y="126853"/>
                  </a:lnTo>
                  <a:lnTo>
                    <a:pt x="2149028" y="147304"/>
                  </a:lnTo>
                  <a:lnTo>
                    <a:pt x="2186947" y="169831"/>
                  </a:lnTo>
                  <a:lnTo>
                    <a:pt x="2223644" y="194366"/>
                  </a:lnTo>
                  <a:lnTo>
                    <a:pt x="2259057" y="220839"/>
                  </a:lnTo>
                  <a:lnTo>
                    <a:pt x="2293120" y="249180"/>
                  </a:lnTo>
                  <a:lnTo>
                    <a:pt x="2325768" y="279320"/>
                  </a:lnTo>
                  <a:lnTo>
                    <a:pt x="2356938" y="311189"/>
                  </a:lnTo>
                  <a:lnTo>
                    <a:pt x="2386565" y="344719"/>
                  </a:lnTo>
                  <a:lnTo>
                    <a:pt x="2414584" y="379839"/>
                  </a:lnTo>
                  <a:lnTo>
                    <a:pt x="2440930" y="416480"/>
                  </a:lnTo>
                  <a:lnTo>
                    <a:pt x="2465540" y="454574"/>
                  </a:lnTo>
                  <a:lnTo>
                    <a:pt x="2488348" y="494050"/>
                  </a:lnTo>
                  <a:lnTo>
                    <a:pt x="2509290" y="534839"/>
                  </a:lnTo>
                  <a:lnTo>
                    <a:pt x="2528302" y="576871"/>
                  </a:lnTo>
                  <a:lnTo>
                    <a:pt x="2545319" y="620078"/>
                  </a:lnTo>
                  <a:lnTo>
                    <a:pt x="2560276" y="664389"/>
                  </a:lnTo>
                  <a:lnTo>
                    <a:pt x="2573109" y="709736"/>
                  </a:lnTo>
                  <a:lnTo>
                    <a:pt x="2583754" y="756049"/>
                  </a:lnTo>
                  <a:lnTo>
                    <a:pt x="2592146" y="803259"/>
                  </a:lnTo>
                  <a:lnTo>
                    <a:pt x="2598219" y="851296"/>
                  </a:lnTo>
                  <a:lnTo>
                    <a:pt x="2601911" y="900090"/>
                  </a:lnTo>
                  <a:lnTo>
                    <a:pt x="2603156" y="949573"/>
                  </a:lnTo>
                  <a:lnTo>
                    <a:pt x="2603156" y="4308559"/>
                  </a:lnTo>
                  <a:lnTo>
                    <a:pt x="2649448" y="4308559"/>
                  </a:lnTo>
                  <a:lnTo>
                    <a:pt x="2649448" y="949573"/>
                  </a:lnTo>
                  <a:lnTo>
                    <a:pt x="2648217" y="899219"/>
                  </a:lnTo>
                  <a:lnTo>
                    <a:pt x="2644567" y="849540"/>
                  </a:lnTo>
                  <a:lnTo>
                    <a:pt x="2638559" y="800604"/>
                  </a:lnTo>
                  <a:lnTo>
                    <a:pt x="2630255" y="752475"/>
                  </a:lnTo>
                  <a:lnTo>
                    <a:pt x="2619717" y="705219"/>
                  </a:lnTo>
                  <a:lnTo>
                    <a:pt x="2607005" y="658904"/>
                  </a:lnTo>
                  <a:lnTo>
                    <a:pt x="2592182" y="613596"/>
                  </a:lnTo>
                  <a:lnTo>
                    <a:pt x="2575310" y="569359"/>
                  </a:lnTo>
                  <a:lnTo>
                    <a:pt x="2556450" y="526261"/>
                  </a:lnTo>
                  <a:lnTo>
                    <a:pt x="2535664" y="484367"/>
                  </a:lnTo>
                  <a:lnTo>
                    <a:pt x="2513014" y="443745"/>
                  </a:lnTo>
                  <a:lnTo>
                    <a:pt x="2488561" y="404459"/>
                  </a:lnTo>
                  <a:lnTo>
                    <a:pt x="2462366" y="366576"/>
                  </a:lnTo>
                  <a:lnTo>
                    <a:pt x="2434493" y="330162"/>
                  </a:lnTo>
                  <a:lnTo>
                    <a:pt x="2405002" y="295284"/>
                  </a:lnTo>
                  <a:lnTo>
                    <a:pt x="2373955" y="262007"/>
                  </a:lnTo>
                  <a:lnTo>
                    <a:pt x="2341413" y="230398"/>
                  </a:lnTo>
                  <a:lnTo>
                    <a:pt x="2307440" y="200522"/>
                  </a:lnTo>
                  <a:lnTo>
                    <a:pt x="2272095" y="172446"/>
                  </a:lnTo>
                  <a:lnTo>
                    <a:pt x="2235441" y="146237"/>
                  </a:lnTo>
                  <a:lnTo>
                    <a:pt x="2197539" y="121959"/>
                  </a:lnTo>
                  <a:lnTo>
                    <a:pt x="2158452" y="99679"/>
                  </a:lnTo>
                  <a:lnTo>
                    <a:pt x="2118241" y="79464"/>
                  </a:lnTo>
                  <a:lnTo>
                    <a:pt x="2076967" y="61380"/>
                  </a:lnTo>
                  <a:lnTo>
                    <a:pt x="2036930" y="46333"/>
                  </a:lnTo>
                  <a:close/>
                </a:path>
                <a:path w="2649854" h="4309109" extrusionOk="0">
                  <a:moveTo>
                    <a:pt x="1763485" y="0"/>
                  </a:moveTo>
                  <a:lnTo>
                    <a:pt x="1709657" y="1732"/>
                  </a:lnTo>
                  <a:lnTo>
                    <a:pt x="1656672" y="6862"/>
                  </a:lnTo>
                  <a:lnTo>
                    <a:pt x="1604621" y="15290"/>
                  </a:lnTo>
                  <a:lnTo>
                    <a:pt x="1553597" y="26918"/>
                  </a:lnTo>
                  <a:lnTo>
                    <a:pt x="1503694" y="41644"/>
                  </a:lnTo>
                  <a:lnTo>
                    <a:pt x="1455001" y="59369"/>
                  </a:lnTo>
                  <a:lnTo>
                    <a:pt x="1407614" y="79995"/>
                  </a:lnTo>
                  <a:lnTo>
                    <a:pt x="1361623" y="103420"/>
                  </a:lnTo>
                  <a:lnTo>
                    <a:pt x="1361623" y="156644"/>
                  </a:lnTo>
                  <a:lnTo>
                    <a:pt x="1407213" y="131717"/>
                  </a:lnTo>
                  <a:lnTo>
                    <a:pt x="1454340" y="109745"/>
                  </a:lnTo>
                  <a:lnTo>
                    <a:pt x="1502899" y="90842"/>
                  </a:lnTo>
                  <a:lnTo>
                    <a:pt x="1552785" y="75122"/>
                  </a:lnTo>
                  <a:lnTo>
                    <a:pt x="1603891" y="62697"/>
                  </a:lnTo>
                  <a:lnTo>
                    <a:pt x="1656114" y="53682"/>
                  </a:lnTo>
                  <a:lnTo>
                    <a:pt x="1709347" y="48189"/>
                  </a:lnTo>
                  <a:lnTo>
                    <a:pt x="1763485" y="46333"/>
                  </a:lnTo>
                  <a:lnTo>
                    <a:pt x="2036930" y="46333"/>
                  </a:lnTo>
                  <a:lnTo>
                    <a:pt x="2034693" y="45492"/>
                  </a:lnTo>
                  <a:lnTo>
                    <a:pt x="1991479" y="31867"/>
                  </a:lnTo>
                  <a:lnTo>
                    <a:pt x="1947388" y="20571"/>
                  </a:lnTo>
                  <a:lnTo>
                    <a:pt x="1902482" y="11670"/>
                  </a:lnTo>
                  <a:lnTo>
                    <a:pt x="1856821" y="5231"/>
                  </a:lnTo>
                  <a:lnTo>
                    <a:pt x="1810468" y="1318"/>
                  </a:lnTo>
                  <a:lnTo>
                    <a:pt x="1763485" y="0"/>
                  </a:lnTo>
                  <a:close/>
                </a:path>
                <a:path w="2649854" h="4309109" extrusionOk="0">
                  <a:moveTo>
                    <a:pt x="1315321" y="130676"/>
                  </a:moveTo>
                  <a:lnTo>
                    <a:pt x="1276709" y="156494"/>
                  </a:lnTo>
                  <a:lnTo>
                    <a:pt x="1239451" y="184340"/>
                  </a:lnTo>
                  <a:lnTo>
                    <a:pt x="1203614" y="214142"/>
                  </a:lnTo>
                  <a:lnTo>
                    <a:pt x="1169266" y="245826"/>
                  </a:lnTo>
                  <a:lnTo>
                    <a:pt x="1136475" y="279320"/>
                  </a:lnTo>
                  <a:lnTo>
                    <a:pt x="1105308" y="314552"/>
                  </a:lnTo>
                  <a:lnTo>
                    <a:pt x="1075834" y="351448"/>
                  </a:lnTo>
                  <a:lnTo>
                    <a:pt x="1048119" y="389937"/>
                  </a:lnTo>
                  <a:lnTo>
                    <a:pt x="1022232" y="429946"/>
                  </a:lnTo>
                  <a:lnTo>
                    <a:pt x="998241" y="471401"/>
                  </a:lnTo>
                  <a:lnTo>
                    <a:pt x="976214" y="514232"/>
                  </a:lnTo>
                  <a:lnTo>
                    <a:pt x="956217" y="558363"/>
                  </a:lnTo>
                  <a:lnTo>
                    <a:pt x="938319" y="603725"/>
                  </a:lnTo>
                  <a:lnTo>
                    <a:pt x="922587" y="650243"/>
                  </a:lnTo>
                  <a:lnTo>
                    <a:pt x="909090" y="697844"/>
                  </a:lnTo>
                  <a:lnTo>
                    <a:pt x="897895" y="746458"/>
                  </a:lnTo>
                  <a:lnTo>
                    <a:pt x="889070" y="796010"/>
                  </a:lnTo>
                  <a:lnTo>
                    <a:pt x="882682" y="846428"/>
                  </a:lnTo>
                  <a:lnTo>
                    <a:pt x="878800" y="897640"/>
                  </a:lnTo>
                  <a:lnTo>
                    <a:pt x="877491" y="949573"/>
                  </a:lnTo>
                  <a:lnTo>
                    <a:pt x="877491" y="1765485"/>
                  </a:lnTo>
                  <a:lnTo>
                    <a:pt x="876099" y="1810400"/>
                  </a:lnTo>
                  <a:lnTo>
                    <a:pt x="871974" y="1854666"/>
                  </a:lnTo>
                  <a:lnTo>
                    <a:pt x="865190" y="1898217"/>
                  </a:lnTo>
                  <a:lnTo>
                    <a:pt x="855821" y="1940983"/>
                  </a:lnTo>
                  <a:lnTo>
                    <a:pt x="843942" y="1982899"/>
                  </a:lnTo>
                  <a:lnTo>
                    <a:pt x="829629" y="2023896"/>
                  </a:lnTo>
                  <a:lnTo>
                    <a:pt x="812954" y="2063907"/>
                  </a:lnTo>
                  <a:lnTo>
                    <a:pt x="793994" y="2102864"/>
                  </a:lnTo>
                  <a:lnTo>
                    <a:pt x="772823" y="2140701"/>
                  </a:lnTo>
                  <a:lnTo>
                    <a:pt x="749516" y="2177350"/>
                  </a:lnTo>
                  <a:lnTo>
                    <a:pt x="724146" y="2212743"/>
                  </a:lnTo>
                  <a:lnTo>
                    <a:pt x="696789" y="2246813"/>
                  </a:lnTo>
                  <a:lnTo>
                    <a:pt x="667520" y="2279492"/>
                  </a:lnTo>
                  <a:lnTo>
                    <a:pt x="636412" y="2310713"/>
                  </a:lnTo>
                  <a:lnTo>
                    <a:pt x="603542" y="2340409"/>
                  </a:lnTo>
                  <a:lnTo>
                    <a:pt x="568982" y="2368512"/>
                  </a:lnTo>
                  <a:lnTo>
                    <a:pt x="532809" y="2394954"/>
                  </a:lnTo>
                  <a:lnTo>
                    <a:pt x="495096" y="2419669"/>
                  </a:lnTo>
                  <a:lnTo>
                    <a:pt x="455918" y="2442588"/>
                  </a:lnTo>
                  <a:lnTo>
                    <a:pt x="415350" y="2463645"/>
                  </a:lnTo>
                  <a:lnTo>
                    <a:pt x="373467" y="2482771"/>
                  </a:lnTo>
                  <a:lnTo>
                    <a:pt x="330343" y="2499900"/>
                  </a:lnTo>
                  <a:lnTo>
                    <a:pt x="286052" y="2514964"/>
                  </a:lnTo>
                  <a:lnTo>
                    <a:pt x="240670" y="2527895"/>
                  </a:lnTo>
                  <a:lnTo>
                    <a:pt x="194271" y="2538627"/>
                  </a:lnTo>
                  <a:lnTo>
                    <a:pt x="146930" y="2547091"/>
                  </a:lnTo>
                  <a:lnTo>
                    <a:pt x="98721" y="2553220"/>
                  </a:lnTo>
                  <a:lnTo>
                    <a:pt x="49720" y="2556947"/>
                  </a:lnTo>
                  <a:lnTo>
                    <a:pt x="0" y="2558204"/>
                  </a:lnTo>
                  <a:lnTo>
                    <a:pt x="0" y="2604538"/>
                  </a:lnTo>
                  <a:lnTo>
                    <a:pt x="50612" y="2603294"/>
                  </a:lnTo>
                  <a:lnTo>
                    <a:pt x="100520" y="2599605"/>
                  </a:lnTo>
                  <a:lnTo>
                    <a:pt x="149652" y="2593536"/>
                  </a:lnTo>
                  <a:lnTo>
                    <a:pt x="197939" y="2585151"/>
                  </a:lnTo>
                  <a:lnTo>
                    <a:pt x="245307" y="2574515"/>
                  </a:lnTo>
                  <a:lnTo>
                    <a:pt x="291688" y="2561691"/>
                  </a:lnTo>
                  <a:lnTo>
                    <a:pt x="337009" y="2546746"/>
                  </a:lnTo>
                  <a:lnTo>
                    <a:pt x="381201" y="2529742"/>
                  </a:lnTo>
                  <a:lnTo>
                    <a:pt x="424190" y="2510745"/>
                  </a:lnTo>
                  <a:lnTo>
                    <a:pt x="465908" y="2489818"/>
                  </a:lnTo>
                  <a:lnTo>
                    <a:pt x="506283" y="2467027"/>
                  </a:lnTo>
                  <a:lnTo>
                    <a:pt x="545243" y="2442436"/>
                  </a:lnTo>
                  <a:lnTo>
                    <a:pt x="582718" y="2416110"/>
                  </a:lnTo>
                  <a:lnTo>
                    <a:pt x="618638" y="2388112"/>
                  </a:lnTo>
                  <a:lnTo>
                    <a:pt x="652930" y="2358508"/>
                  </a:lnTo>
                  <a:lnTo>
                    <a:pt x="685524" y="2327361"/>
                  </a:lnTo>
                  <a:lnTo>
                    <a:pt x="716349" y="2294737"/>
                  </a:lnTo>
                  <a:lnTo>
                    <a:pt x="745334" y="2260699"/>
                  </a:lnTo>
                  <a:lnTo>
                    <a:pt x="772409" y="2225313"/>
                  </a:lnTo>
                  <a:lnTo>
                    <a:pt x="797501" y="2188642"/>
                  </a:lnTo>
                  <a:lnTo>
                    <a:pt x="820540" y="2150752"/>
                  </a:lnTo>
                  <a:lnTo>
                    <a:pt x="841456" y="2111706"/>
                  </a:lnTo>
                  <a:lnTo>
                    <a:pt x="860177" y="2071569"/>
                  </a:lnTo>
                  <a:lnTo>
                    <a:pt x="876631" y="2030406"/>
                  </a:lnTo>
                  <a:lnTo>
                    <a:pt x="890749" y="1988282"/>
                  </a:lnTo>
                  <a:lnTo>
                    <a:pt x="902460" y="1945259"/>
                  </a:lnTo>
                  <a:lnTo>
                    <a:pt x="911691" y="1901404"/>
                  </a:lnTo>
                  <a:lnTo>
                    <a:pt x="918373" y="1856780"/>
                  </a:lnTo>
                  <a:lnTo>
                    <a:pt x="922434" y="1811452"/>
                  </a:lnTo>
                  <a:lnTo>
                    <a:pt x="923804" y="1765485"/>
                  </a:lnTo>
                  <a:lnTo>
                    <a:pt x="923804" y="949573"/>
                  </a:lnTo>
                  <a:lnTo>
                    <a:pt x="925239" y="896458"/>
                  </a:lnTo>
                  <a:lnTo>
                    <a:pt x="929490" y="844144"/>
                  </a:lnTo>
                  <a:lnTo>
                    <a:pt x="936478" y="792714"/>
                  </a:lnTo>
                  <a:lnTo>
                    <a:pt x="946123" y="742256"/>
                  </a:lnTo>
                  <a:lnTo>
                    <a:pt x="958345" y="692856"/>
                  </a:lnTo>
                  <a:lnTo>
                    <a:pt x="973063" y="644598"/>
                  </a:lnTo>
                  <a:lnTo>
                    <a:pt x="990198" y="597571"/>
                  </a:lnTo>
                  <a:lnTo>
                    <a:pt x="1009670" y="551859"/>
                  </a:lnTo>
                  <a:lnTo>
                    <a:pt x="1031399" y="507548"/>
                  </a:lnTo>
                  <a:lnTo>
                    <a:pt x="1055304" y="464725"/>
                  </a:lnTo>
                  <a:lnTo>
                    <a:pt x="1081307" y="423476"/>
                  </a:lnTo>
                  <a:lnTo>
                    <a:pt x="1109326" y="383886"/>
                  </a:lnTo>
                  <a:lnTo>
                    <a:pt x="1139283" y="346042"/>
                  </a:lnTo>
                  <a:lnTo>
                    <a:pt x="1171096" y="310029"/>
                  </a:lnTo>
                  <a:lnTo>
                    <a:pt x="1204687" y="275934"/>
                  </a:lnTo>
                  <a:lnTo>
                    <a:pt x="1239974" y="243842"/>
                  </a:lnTo>
                  <a:lnTo>
                    <a:pt x="1276879" y="213841"/>
                  </a:lnTo>
                  <a:lnTo>
                    <a:pt x="1315321" y="186015"/>
                  </a:lnTo>
                  <a:lnTo>
                    <a:pt x="1315321" y="130676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99;p1"/>
            <p:cNvSpPr/>
            <p:nvPr/>
          </p:nvSpPr>
          <p:spPr>
            <a:xfrm>
              <a:off x="841817" y="8124553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72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100;p1"/>
            <p:cNvSpPr/>
            <p:nvPr/>
          </p:nvSpPr>
          <p:spPr>
            <a:xfrm>
              <a:off x="841817" y="3212519"/>
              <a:ext cx="2506345" cy="4854575"/>
            </a:xfrm>
            <a:custGeom>
              <a:avLst/>
              <a:gdLst/>
              <a:ahLst/>
              <a:cxnLst/>
              <a:rect l="l" t="t" r="r" b="b"/>
              <a:pathLst>
                <a:path w="2506345" h="4854575" extrusionOk="0">
                  <a:moveTo>
                    <a:pt x="23172" y="4807780"/>
                  </a:moveTo>
                  <a:lnTo>
                    <a:pt x="0" y="4807780"/>
                  </a:lnTo>
                  <a:lnTo>
                    <a:pt x="0" y="4854134"/>
                  </a:lnTo>
                  <a:lnTo>
                    <a:pt x="23172" y="4854134"/>
                  </a:lnTo>
                  <a:lnTo>
                    <a:pt x="23172" y="4807780"/>
                  </a:lnTo>
                  <a:close/>
                </a:path>
                <a:path w="2506345" h="4854575" extrusionOk="0">
                  <a:moveTo>
                    <a:pt x="23172" y="4715092"/>
                  </a:moveTo>
                  <a:lnTo>
                    <a:pt x="0" y="4715092"/>
                  </a:lnTo>
                  <a:lnTo>
                    <a:pt x="0" y="4761446"/>
                  </a:lnTo>
                  <a:lnTo>
                    <a:pt x="23172" y="4761446"/>
                  </a:lnTo>
                  <a:lnTo>
                    <a:pt x="23172" y="4715092"/>
                  </a:lnTo>
                  <a:close/>
                </a:path>
                <a:path w="2506345" h="4854575" extrusionOk="0">
                  <a:moveTo>
                    <a:pt x="23172" y="4622403"/>
                  </a:moveTo>
                  <a:lnTo>
                    <a:pt x="0" y="4622403"/>
                  </a:lnTo>
                  <a:lnTo>
                    <a:pt x="0" y="4668747"/>
                  </a:lnTo>
                  <a:lnTo>
                    <a:pt x="23172" y="4668747"/>
                  </a:lnTo>
                  <a:lnTo>
                    <a:pt x="23172" y="4622403"/>
                  </a:lnTo>
                  <a:close/>
                </a:path>
                <a:path w="2506345" h="4854575" extrusionOk="0">
                  <a:moveTo>
                    <a:pt x="23172" y="4529725"/>
                  </a:moveTo>
                  <a:lnTo>
                    <a:pt x="0" y="4529725"/>
                  </a:lnTo>
                  <a:lnTo>
                    <a:pt x="0" y="4576059"/>
                  </a:lnTo>
                  <a:lnTo>
                    <a:pt x="23172" y="4576059"/>
                  </a:lnTo>
                  <a:lnTo>
                    <a:pt x="23172" y="4529725"/>
                  </a:lnTo>
                  <a:close/>
                </a:path>
                <a:path w="2506345" h="4854575" extrusionOk="0">
                  <a:moveTo>
                    <a:pt x="23172" y="4437037"/>
                  </a:moveTo>
                  <a:lnTo>
                    <a:pt x="0" y="4437037"/>
                  </a:lnTo>
                  <a:lnTo>
                    <a:pt x="0" y="4483381"/>
                  </a:lnTo>
                  <a:lnTo>
                    <a:pt x="23172" y="4483381"/>
                  </a:lnTo>
                  <a:lnTo>
                    <a:pt x="23172" y="4437037"/>
                  </a:lnTo>
                  <a:close/>
                </a:path>
                <a:path w="2506345" h="4854575" extrusionOk="0">
                  <a:moveTo>
                    <a:pt x="2460836" y="4412294"/>
                  </a:moveTo>
                  <a:lnTo>
                    <a:pt x="2492693" y="4439249"/>
                  </a:lnTo>
                  <a:lnTo>
                    <a:pt x="2504436" y="4440273"/>
                  </a:lnTo>
                  <a:lnTo>
                    <a:pt x="2506300" y="4417205"/>
                  </a:lnTo>
                  <a:lnTo>
                    <a:pt x="2494851" y="4416192"/>
                  </a:lnTo>
                  <a:lnTo>
                    <a:pt x="2483454" y="4415037"/>
                  </a:lnTo>
                  <a:lnTo>
                    <a:pt x="2472114" y="4413738"/>
                  </a:lnTo>
                  <a:lnTo>
                    <a:pt x="2460836" y="4412294"/>
                  </a:lnTo>
                  <a:close/>
                </a:path>
                <a:path w="2506345" h="4854575" extrusionOk="0">
                  <a:moveTo>
                    <a:pt x="2371037" y="4395332"/>
                  </a:moveTo>
                  <a:lnTo>
                    <a:pt x="2399851" y="4425493"/>
                  </a:lnTo>
                  <a:lnTo>
                    <a:pt x="2411403" y="4427760"/>
                  </a:lnTo>
                  <a:lnTo>
                    <a:pt x="2415675" y="4405007"/>
                  </a:lnTo>
                  <a:lnTo>
                    <a:pt x="2404445" y="4402800"/>
                  </a:lnTo>
                  <a:lnTo>
                    <a:pt x="2393262" y="4400460"/>
                  </a:lnTo>
                  <a:lnTo>
                    <a:pt x="2382126" y="4397974"/>
                  </a:lnTo>
                  <a:lnTo>
                    <a:pt x="2371037" y="4395332"/>
                  </a:lnTo>
                  <a:close/>
                </a:path>
                <a:path w="2506345" h="4854575" extrusionOk="0">
                  <a:moveTo>
                    <a:pt x="2283616" y="4368976"/>
                  </a:moveTo>
                  <a:lnTo>
                    <a:pt x="2309035" y="4401997"/>
                  </a:lnTo>
                  <a:lnTo>
                    <a:pt x="2320233" y="4405467"/>
                  </a:lnTo>
                  <a:lnTo>
                    <a:pt x="2326934" y="4383280"/>
                  </a:lnTo>
                  <a:lnTo>
                    <a:pt x="2316015" y="4379905"/>
                  </a:lnTo>
                  <a:lnTo>
                    <a:pt x="2305153" y="4376395"/>
                  </a:lnTo>
                  <a:lnTo>
                    <a:pt x="2294353" y="4372752"/>
                  </a:lnTo>
                  <a:lnTo>
                    <a:pt x="2283616" y="4368976"/>
                  </a:lnTo>
                  <a:close/>
                </a:path>
                <a:path w="2506345" h="4854575" extrusionOk="0">
                  <a:moveTo>
                    <a:pt x="23172" y="4344338"/>
                  </a:moveTo>
                  <a:lnTo>
                    <a:pt x="0" y="4344338"/>
                  </a:lnTo>
                  <a:lnTo>
                    <a:pt x="0" y="4390683"/>
                  </a:lnTo>
                  <a:lnTo>
                    <a:pt x="23172" y="4390683"/>
                  </a:lnTo>
                  <a:lnTo>
                    <a:pt x="23172" y="4344338"/>
                  </a:lnTo>
                  <a:close/>
                </a:path>
                <a:path w="2506345" h="4854575" extrusionOk="0">
                  <a:moveTo>
                    <a:pt x="2199503" y="4333574"/>
                  </a:moveTo>
                  <a:lnTo>
                    <a:pt x="2221366" y="4369128"/>
                  </a:lnTo>
                  <a:lnTo>
                    <a:pt x="2232172" y="4373751"/>
                  </a:lnTo>
                  <a:lnTo>
                    <a:pt x="2241146" y="4352380"/>
                  </a:lnTo>
                  <a:lnTo>
                    <a:pt x="2230599" y="4347887"/>
                  </a:lnTo>
                  <a:lnTo>
                    <a:pt x="2220152" y="4343252"/>
                  </a:lnTo>
                  <a:lnTo>
                    <a:pt x="2209791" y="4338480"/>
                  </a:lnTo>
                  <a:lnTo>
                    <a:pt x="2199503" y="4333574"/>
                  </a:lnTo>
                  <a:close/>
                </a:path>
                <a:path w="2506345" h="4854575" extrusionOk="0">
                  <a:moveTo>
                    <a:pt x="2119443" y="4289586"/>
                  </a:moveTo>
                  <a:lnTo>
                    <a:pt x="2107297" y="4309292"/>
                  </a:lnTo>
                  <a:lnTo>
                    <a:pt x="2117293" y="4315405"/>
                  </a:lnTo>
                  <a:lnTo>
                    <a:pt x="2127373" y="4321384"/>
                  </a:lnTo>
                  <a:lnTo>
                    <a:pt x="2137546" y="4327233"/>
                  </a:lnTo>
                  <a:lnTo>
                    <a:pt x="2147819" y="4332957"/>
                  </a:lnTo>
                  <a:lnTo>
                    <a:pt x="2158939" y="4312643"/>
                  </a:lnTo>
                  <a:lnTo>
                    <a:pt x="2148938" y="4307079"/>
                  </a:lnTo>
                  <a:lnTo>
                    <a:pt x="2139030" y="4301382"/>
                  </a:lnTo>
                  <a:lnTo>
                    <a:pt x="2129203" y="4295551"/>
                  </a:lnTo>
                  <a:lnTo>
                    <a:pt x="2119443" y="4289586"/>
                  </a:lnTo>
                  <a:close/>
                </a:path>
                <a:path w="2506345" h="4854575" extrusionOk="0">
                  <a:moveTo>
                    <a:pt x="23172" y="4251682"/>
                  </a:moveTo>
                  <a:lnTo>
                    <a:pt x="0" y="4251682"/>
                  </a:lnTo>
                  <a:lnTo>
                    <a:pt x="0" y="4297973"/>
                  </a:lnTo>
                  <a:lnTo>
                    <a:pt x="23172" y="4297973"/>
                  </a:lnTo>
                  <a:lnTo>
                    <a:pt x="23172" y="4251682"/>
                  </a:lnTo>
                  <a:close/>
                </a:path>
                <a:path w="2506345" h="4854575" extrusionOk="0">
                  <a:moveTo>
                    <a:pt x="2044356" y="4237546"/>
                  </a:moveTo>
                  <a:lnTo>
                    <a:pt x="2030179" y="4255859"/>
                  </a:lnTo>
                  <a:lnTo>
                    <a:pt x="2039501" y="4262964"/>
                  </a:lnTo>
                  <a:lnTo>
                    <a:pt x="2048921" y="4269952"/>
                  </a:lnTo>
                  <a:lnTo>
                    <a:pt x="2058444" y="4276820"/>
                  </a:lnTo>
                  <a:lnTo>
                    <a:pt x="2068073" y="4283565"/>
                  </a:lnTo>
                  <a:lnTo>
                    <a:pt x="2081224" y="4264540"/>
                  </a:lnTo>
                  <a:lnTo>
                    <a:pt x="2071872" y="4257959"/>
                  </a:lnTo>
                  <a:lnTo>
                    <a:pt x="2062606" y="4251267"/>
                  </a:lnTo>
                  <a:lnTo>
                    <a:pt x="2053431" y="4244463"/>
                  </a:lnTo>
                  <a:lnTo>
                    <a:pt x="2044356" y="4237546"/>
                  </a:lnTo>
                  <a:close/>
                </a:path>
                <a:path w="2506345" h="4854575" extrusionOk="0">
                  <a:moveTo>
                    <a:pt x="1974892" y="4178029"/>
                  </a:moveTo>
                  <a:lnTo>
                    <a:pt x="1958914" y="4194846"/>
                  </a:lnTo>
                  <a:lnTo>
                    <a:pt x="1967480" y="4202876"/>
                  </a:lnTo>
                  <a:lnTo>
                    <a:pt x="1976154" y="4210789"/>
                  </a:lnTo>
                  <a:lnTo>
                    <a:pt x="1984938" y="4218586"/>
                  </a:lnTo>
                  <a:lnTo>
                    <a:pt x="1993834" y="4226269"/>
                  </a:lnTo>
                  <a:lnTo>
                    <a:pt x="2008860" y="4208636"/>
                  </a:lnTo>
                  <a:lnTo>
                    <a:pt x="2000200" y="4201156"/>
                  </a:lnTo>
                  <a:lnTo>
                    <a:pt x="1991652" y="4193560"/>
                  </a:lnTo>
                  <a:lnTo>
                    <a:pt x="1983217" y="4185851"/>
                  </a:lnTo>
                  <a:lnTo>
                    <a:pt x="1974892" y="4178029"/>
                  </a:lnTo>
                  <a:close/>
                </a:path>
                <a:path w="2506345" h="4854575" extrusionOk="0">
                  <a:moveTo>
                    <a:pt x="23172" y="4158962"/>
                  </a:moveTo>
                  <a:lnTo>
                    <a:pt x="0" y="4158962"/>
                  </a:lnTo>
                  <a:lnTo>
                    <a:pt x="0" y="4205285"/>
                  </a:lnTo>
                  <a:lnTo>
                    <a:pt x="23172" y="4205285"/>
                  </a:lnTo>
                  <a:lnTo>
                    <a:pt x="23172" y="4158962"/>
                  </a:lnTo>
                  <a:close/>
                </a:path>
                <a:path w="2506345" h="4854575" extrusionOk="0">
                  <a:moveTo>
                    <a:pt x="1911721" y="4111749"/>
                  </a:moveTo>
                  <a:lnTo>
                    <a:pt x="1894183" y="4126890"/>
                  </a:lnTo>
                  <a:lnTo>
                    <a:pt x="1901903" y="4135735"/>
                  </a:lnTo>
                  <a:lnTo>
                    <a:pt x="1909731" y="4144477"/>
                  </a:lnTo>
                  <a:lnTo>
                    <a:pt x="1917658" y="4153119"/>
                  </a:lnTo>
                  <a:lnTo>
                    <a:pt x="1925679" y="4161663"/>
                  </a:lnTo>
                  <a:lnTo>
                    <a:pt x="1942464" y="4145695"/>
                  </a:lnTo>
                  <a:lnTo>
                    <a:pt x="1934626" y="4137350"/>
                  </a:lnTo>
                  <a:lnTo>
                    <a:pt x="1926892" y="4128914"/>
                  </a:lnTo>
                  <a:lnTo>
                    <a:pt x="1919259" y="4120382"/>
                  </a:lnTo>
                  <a:lnTo>
                    <a:pt x="1911721" y="4111749"/>
                  </a:lnTo>
                  <a:close/>
                </a:path>
                <a:path w="2506345" h="4854575" extrusionOk="0">
                  <a:moveTo>
                    <a:pt x="23172" y="4066284"/>
                  </a:moveTo>
                  <a:lnTo>
                    <a:pt x="0" y="4066284"/>
                  </a:lnTo>
                  <a:lnTo>
                    <a:pt x="0" y="4112607"/>
                  </a:lnTo>
                  <a:lnTo>
                    <a:pt x="23172" y="4112607"/>
                  </a:lnTo>
                  <a:lnTo>
                    <a:pt x="23172" y="4066284"/>
                  </a:lnTo>
                  <a:close/>
                </a:path>
                <a:path w="2506345" h="4854575" extrusionOk="0">
                  <a:moveTo>
                    <a:pt x="1855524" y="4039520"/>
                  </a:moveTo>
                  <a:lnTo>
                    <a:pt x="1836551" y="4052756"/>
                  </a:lnTo>
                  <a:lnTo>
                    <a:pt x="1843354" y="4062349"/>
                  </a:lnTo>
                  <a:lnTo>
                    <a:pt x="1850265" y="4071851"/>
                  </a:lnTo>
                  <a:lnTo>
                    <a:pt x="1857298" y="4081252"/>
                  </a:lnTo>
                  <a:lnTo>
                    <a:pt x="1864466" y="4090545"/>
                  </a:lnTo>
                  <a:lnTo>
                    <a:pt x="1882717" y="4076336"/>
                  </a:lnTo>
                  <a:lnTo>
                    <a:pt x="1875765" y="4067266"/>
                  </a:lnTo>
                  <a:lnTo>
                    <a:pt x="1868909" y="4058105"/>
                  </a:lnTo>
                  <a:lnTo>
                    <a:pt x="1862158" y="4048855"/>
                  </a:lnTo>
                  <a:lnTo>
                    <a:pt x="1855524" y="4039520"/>
                  </a:lnTo>
                  <a:close/>
                </a:path>
                <a:path w="2506345" h="4854575" extrusionOk="0">
                  <a:moveTo>
                    <a:pt x="23172" y="3973617"/>
                  </a:moveTo>
                  <a:lnTo>
                    <a:pt x="0" y="3973617"/>
                  </a:lnTo>
                  <a:lnTo>
                    <a:pt x="0" y="4019919"/>
                  </a:lnTo>
                  <a:lnTo>
                    <a:pt x="23172" y="4019919"/>
                  </a:lnTo>
                  <a:lnTo>
                    <a:pt x="23172" y="3973617"/>
                  </a:lnTo>
                  <a:close/>
                </a:path>
                <a:path w="2506345" h="4854575" extrusionOk="0">
                  <a:moveTo>
                    <a:pt x="1806782" y="3961942"/>
                  </a:moveTo>
                  <a:lnTo>
                    <a:pt x="1786573" y="3973271"/>
                  </a:lnTo>
                  <a:lnTo>
                    <a:pt x="1792389" y="3983492"/>
                  </a:lnTo>
                  <a:lnTo>
                    <a:pt x="1798333" y="3993627"/>
                  </a:lnTo>
                  <a:lnTo>
                    <a:pt x="1804398" y="4003675"/>
                  </a:lnTo>
                  <a:lnTo>
                    <a:pt x="1810573" y="4013636"/>
                  </a:lnTo>
                  <a:lnTo>
                    <a:pt x="1830164" y="4001333"/>
                  </a:lnTo>
                  <a:lnTo>
                    <a:pt x="1824154" y="3991608"/>
                  </a:lnTo>
                  <a:lnTo>
                    <a:pt x="1818245" y="3981798"/>
                  </a:lnTo>
                  <a:lnTo>
                    <a:pt x="1812450" y="3971909"/>
                  </a:lnTo>
                  <a:lnTo>
                    <a:pt x="1806782" y="3961942"/>
                  </a:lnTo>
                  <a:close/>
                </a:path>
                <a:path w="2506345" h="4854575" extrusionOk="0">
                  <a:moveTo>
                    <a:pt x="1765925" y="3879881"/>
                  </a:moveTo>
                  <a:lnTo>
                    <a:pt x="1744721" y="3889138"/>
                  </a:lnTo>
                  <a:lnTo>
                    <a:pt x="1749503" y="3899900"/>
                  </a:lnTo>
                  <a:lnTo>
                    <a:pt x="1754417" y="3910587"/>
                  </a:lnTo>
                  <a:lnTo>
                    <a:pt x="1759557" y="3921398"/>
                  </a:lnTo>
                  <a:lnTo>
                    <a:pt x="1764616" y="3931723"/>
                  </a:lnTo>
                  <a:lnTo>
                    <a:pt x="1785338" y="3921398"/>
                  </a:lnTo>
                  <a:lnTo>
                    <a:pt x="1780320" y="3911123"/>
                  </a:lnTo>
                  <a:lnTo>
                    <a:pt x="1775411" y="3900777"/>
                  </a:lnTo>
                  <a:lnTo>
                    <a:pt x="1770613" y="3890363"/>
                  </a:lnTo>
                  <a:lnTo>
                    <a:pt x="1765925" y="3879881"/>
                  </a:lnTo>
                  <a:close/>
                </a:path>
                <a:path w="2506345" h="4854575" extrusionOk="0">
                  <a:moveTo>
                    <a:pt x="23172" y="3880887"/>
                  </a:moveTo>
                  <a:lnTo>
                    <a:pt x="0" y="3880887"/>
                  </a:lnTo>
                  <a:lnTo>
                    <a:pt x="0" y="3927231"/>
                  </a:lnTo>
                  <a:lnTo>
                    <a:pt x="23172" y="3927231"/>
                  </a:lnTo>
                  <a:lnTo>
                    <a:pt x="23172" y="3880887"/>
                  </a:lnTo>
                  <a:close/>
                </a:path>
                <a:path w="2506345" h="4854575" extrusionOk="0">
                  <a:moveTo>
                    <a:pt x="1733507" y="3794219"/>
                  </a:moveTo>
                  <a:lnTo>
                    <a:pt x="1711487" y="3801360"/>
                  </a:lnTo>
                  <a:lnTo>
                    <a:pt x="1715155" y="3812523"/>
                  </a:lnTo>
                  <a:lnTo>
                    <a:pt x="1718964" y="3823616"/>
                  </a:lnTo>
                  <a:lnTo>
                    <a:pt x="1722909" y="3834638"/>
                  </a:lnTo>
                  <a:lnTo>
                    <a:pt x="1726984" y="3845589"/>
                  </a:lnTo>
                  <a:lnTo>
                    <a:pt x="1748669" y="3837411"/>
                  </a:lnTo>
                  <a:lnTo>
                    <a:pt x="1744679" y="3826706"/>
                  </a:lnTo>
                  <a:lnTo>
                    <a:pt x="1740825" y="3815937"/>
                  </a:lnTo>
                  <a:lnTo>
                    <a:pt x="1737103" y="3805107"/>
                  </a:lnTo>
                  <a:lnTo>
                    <a:pt x="1733507" y="3794219"/>
                  </a:lnTo>
                  <a:close/>
                </a:path>
                <a:path w="2506345" h="4854575" extrusionOk="0">
                  <a:moveTo>
                    <a:pt x="23172" y="3788219"/>
                  </a:moveTo>
                  <a:lnTo>
                    <a:pt x="0" y="3788219"/>
                  </a:lnTo>
                  <a:lnTo>
                    <a:pt x="0" y="3834553"/>
                  </a:lnTo>
                  <a:lnTo>
                    <a:pt x="23172" y="3834553"/>
                  </a:lnTo>
                  <a:lnTo>
                    <a:pt x="23172" y="3788219"/>
                  </a:lnTo>
                  <a:close/>
                </a:path>
                <a:path w="2506345" h="4854575" extrusionOk="0">
                  <a:moveTo>
                    <a:pt x="1709686" y="3705918"/>
                  </a:moveTo>
                  <a:lnTo>
                    <a:pt x="1687048" y="3710808"/>
                  </a:lnTo>
                  <a:lnTo>
                    <a:pt x="1689615" y="3722299"/>
                  </a:lnTo>
                  <a:lnTo>
                    <a:pt x="1692320" y="3733729"/>
                  </a:lnTo>
                  <a:lnTo>
                    <a:pt x="1695158" y="3745096"/>
                  </a:lnTo>
                  <a:lnTo>
                    <a:pt x="1698126" y="3756398"/>
                  </a:lnTo>
                  <a:lnTo>
                    <a:pt x="1720513" y="3750377"/>
                  </a:lnTo>
                  <a:lnTo>
                    <a:pt x="1717603" y="3739333"/>
                  </a:lnTo>
                  <a:lnTo>
                    <a:pt x="1714828" y="3728246"/>
                  </a:lnTo>
                  <a:lnTo>
                    <a:pt x="1712189" y="3717110"/>
                  </a:lnTo>
                  <a:lnTo>
                    <a:pt x="1709686" y="3705918"/>
                  </a:lnTo>
                  <a:close/>
                </a:path>
                <a:path w="2506345" h="4854575" extrusionOk="0">
                  <a:moveTo>
                    <a:pt x="23172" y="3695520"/>
                  </a:moveTo>
                  <a:lnTo>
                    <a:pt x="0" y="3695520"/>
                  </a:lnTo>
                  <a:lnTo>
                    <a:pt x="0" y="3741865"/>
                  </a:lnTo>
                  <a:lnTo>
                    <a:pt x="23172" y="3741865"/>
                  </a:lnTo>
                  <a:lnTo>
                    <a:pt x="23172" y="3695520"/>
                  </a:lnTo>
                  <a:close/>
                </a:path>
                <a:path w="2506345" h="4854575" extrusionOk="0">
                  <a:moveTo>
                    <a:pt x="1694639" y="3615659"/>
                  </a:moveTo>
                  <a:lnTo>
                    <a:pt x="1671634" y="3618340"/>
                  </a:lnTo>
                  <a:lnTo>
                    <a:pt x="1673087" y="3630016"/>
                  </a:lnTo>
                  <a:lnTo>
                    <a:pt x="1674659" y="3641646"/>
                  </a:lnTo>
                  <a:lnTo>
                    <a:pt x="1676363" y="3653236"/>
                  </a:lnTo>
                  <a:lnTo>
                    <a:pt x="1678210" y="3664788"/>
                  </a:lnTo>
                  <a:lnTo>
                    <a:pt x="1701079" y="3660946"/>
                  </a:lnTo>
                  <a:lnTo>
                    <a:pt x="1699267" y="3649689"/>
                  </a:lnTo>
                  <a:lnTo>
                    <a:pt x="1697588" y="3638393"/>
                  </a:lnTo>
                  <a:lnTo>
                    <a:pt x="1696044" y="3627051"/>
                  </a:lnTo>
                  <a:lnTo>
                    <a:pt x="1694639" y="3615659"/>
                  </a:lnTo>
                  <a:close/>
                </a:path>
                <a:path w="2506345" h="4854575" extrusionOk="0">
                  <a:moveTo>
                    <a:pt x="23172" y="3602853"/>
                  </a:moveTo>
                  <a:lnTo>
                    <a:pt x="0" y="3602853"/>
                  </a:lnTo>
                  <a:lnTo>
                    <a:pt x="0" y="3649176"/>
                  </a:lnTo>
                  <a:lnTo>
                    <a:pt x="23172" y="3649176"/>
                  </a:lnTo>
                  <a:lnTo>
                    <a:pt x="23172" y="3602853"/>
                  </a:lnTo>
                  <a:close/>
                </a:path>
                <a:path w="2506345" h="4854575" extrusionOk="0">
                  <a:moveTo>
                    <a:pt x="1688430" y="3524353"/>
                  </a:moveTo>
                  <a:lnTo>
                    <a:pt x="1665279" y="3524803"/>
                  </a:lnTo>
                  <a:lnTo>
                    <a:pt x="1665588" y="3536579"/>
                  </a:lnTo>
                  <a:lnTo>
                    <a:pt x="1666030" y="3548314"/>
                  </a:lnTo>
                  <a:lnTo>
                    <a:pt x="1666610" y="3560008"/>
                  </a:lnTo>
                  <a:lnTo>
                    <a:pt x="1667331" y="3571660"/>
                  </a:lnTo>
                  <a:lnTo>
                    <a:pt x="1690461" y="3570069"/>
                  </a:lnTo>
                  <a:lnTo>
                    <a:pt x="1689734" y="3558695"/>
                  </a:lnTo>
                  <a:lnTo>
                    <a:pt x="1689155" y="3547285"/>
                  </a:lnTo>
                  <a:lnTo>
                    <a:pt x="1688721" y="3535838"/>
                  </a:lnTo>
                  <a:lnTo>
                    <a:pt x="1688430" y="3524353"/>
                  </a:lnTo>
                  <a:close/>
                </a:path>
                <a:path w="2506345" h="4854575" extrusionOk="0">
                  <a:moveTo>
                    <a:pt x="23172" y="3510144"/>
                  </a:moveTo>
                  <a:lnTo>
                    <a:pt x="0" y="3510144"/>
                  </a:lnTo>
                  <a:lnTo>
                    <a:pt x="0" y="3556499"/>
                  </a:lnTo>
                  <a:lnTo>
                    <a:pt x="23172" y="3556499"/>
                  </a:lnTo>
                  <a:lnTo>
                    <a:pt x="23172" y="3510144"/>
                  </a:lnTo>
                  <a:close/>
                </a:path>
                <a:path w="2506345" h="4854575" extrusionOk="0">
                  <a:moveTo>
                    <a:pt x="1688231" y="3431895"/>
                  </a:moveTo>
                  <a:lnTo>
                    <a:pt x="1665059" y="3431895"/>
                  </a:lnTo>
                  <a:lnTo>
                    <a:pt x="1665059" y="3478250"/>
                  </a:lnTo>
                  <a:lnTo>
                    <a:pt x="1688231" y="3478250"/>
                  </a:lnTo>
                  <a:lnTo>
                    <a:pt x="1688231" y="3431895"/>
                  </a:lnTo>
                  <a:close/>
                </a:path>
                <a:path w="2506345" h="4854575" extrusionOk="0">
                  <a:moveTo>
                    <a:pt x="23172" y="3417456"/>
                  </a:moveTo>
                  <a:lnTo>
                    <a:pt x="0" y="3417456"/>
                  </a:lnTo>
                  <a:lnTo>
                    <a:pt x="0" y="3463810"/>
                  </a:lnTo>
                  <a:lnTo>
                    <a:pt x="23172" y="3463810"/>
                  </a:lnTo>
                  <a:lnTo>
                    <a:pt x="23172" y="3417456"/>
                  </a:lnTo>
                  <a:close/>
                </a:path>
                <a:path w="2506345" h="4854575" extrusionOk="0">
                  <a:moveTo>
                    <a:pt x="1688231" y="3339196"/>
                  </a:moveTo>
                  <a:lnTo>
                    <a:pt x="1665059" y="3339196"/>
                  </a:lnTo>
                  <a:lnTo>
                    <a:pt x="1665059" y="3385561"/>
                  </a:lnTo>
                  <a:lnTo>
                    <a:pt x="1688231" y="3385561"/>
                  </a:lnTo>
                  <a:lnTo>
                    <a:pt x="1688231" y="3339196"/>
                  </a:lnTo>
                  <a:close/>
                </a:path>
                <a:path w="2506345" h="4854575" extrusionOk="0">
                  <a:moveTo>
                    <a:pt x="23172" y="3324767"/>
                  </a:moveTo>
                  <a:lnTo>
                    <a:pt x="0" y="3324767"/>
                  </a:lnTo>
                  <a:lnTo>
                    <a:pt x="0" y="3371122"/>
                  </a:lnTo>
                  <a:lnTo>
                    <a:pt x="23172" y="3371122"/>
                  </a:lnTo>
                  <a:lnTo>
                    <a:pt x="23172" y="3324767"/>
                  </a:lnTo>
                  <a:close/>
                </a:path>
                <a:path w="2506345" h="4854575" extrusionOk="0">
                  <a:moveTo>
                    <a:pt x="1688231" y="3246539"/>
                  </a:moveTo>
                  <a:lnTo>
                    <a:pt x="1665059" y="3246539"/>
                  </a:lnTo>
                  <a:lnTo>
                    <a:pt x="1665059" y="3292873"/>
                  </a:lnTo>
                  <a:lnTo>
                    <a:pt x="1688231" y="3292873"/>
                  </a:lnTo>
                  <a:lnTo>
                    <a:pt x="1688231" y="3246539"/>
                  </a:lnTo>
                  <a:close/>
                </a:path>
                <a:path w="2506345" h="4854575" extrusionOk="0">
                  <a:moveTo>
                    <a:pt x="23172" y="3232079"/>
                  </a:moveTo>
                  <a:lnTo>
                    <a:pt x="0" y="3232079"/>
                  </a:lnTo>
                  <a:lnTo>
                    <a:pt x="0" y="3278444"/>
                  </a:lnTo>
                  <a:lnTo>
                    <a:pt x="23172" y="3278444"/>
                  </a:lnTo>
                  <a:lnTo>
                    <a:pt x="23172" y="3232079"/>
                  </a:lnTo>
                  <a:close/>
                </a:path>
                <a:path w="2506345" h="4854575" extrusionOk="0">
                  <a:moveTo>
                    <a:pt x="1688231" y="3153851"/>
                  </a:moveTo>
                  <a:lnTo>
                    <a:pt x="1665059" y="3153851"/>
                  </a:lnTo>
                  <a:lnTo>
                    <a:pt x="1665059" y="3200195"/>
                  </a:lnTo>
                  <a:lnTo>
                    <a:pt x="1688231" y="3200195"/>
                  </a:lnTo>
                  <a:lnTo>
                    <a:pt x="1688231" y="3153851"/>
                  </a:lnTo>
                  <a:close/>
                </a:path>
                <a:path w="2506345" h="4854575" extrusionOk="0">
                  <a:moveTo>
                    <a:pt x="23172" y="3139412"/>
                  </a:moveTo>
                  <a:lnTo>
                    <a:pt x="0" y="3139412"/>
                  </a:lnTo>
                  <a:lnTo>
                    <a:pt x="0" y="3185756"/>
                  </a:lnTo>
                  <a:lnTo>
                    <a:pt x="23172" y="3185756"/>
                  </a:lnTo>
                  <a:lnTo>
                    <a:pt x="23172" y="3139412"/>
                  </a:lnTo>
                  <a:close/>
                </a:path>
                <a:path w="2506345" h="4854575" extrusionOk="0">
                  <a:moveTo>
                    <a:pt x="1688231" y="3061152"/>
                  </a:moveTo>
                  <a:lnTo>
                    <a:pt x="1665059" y="3061152"/>
                  </a:lnTo>
                  <a:lnTo>
                    <a:pt x="1665059" y="3107507"/>
                  </a:lnTo>
                  <a:lnTo>
                    <a:pt x="1688231" y="3107507"/>
                  </a:lnTo>
                  <a:lnTo>
                    <a:pt x="1688231" y="3061152"/>
                  </a:lnTo>
                  <a:close/>
                </a:path>
                <a:path w="2506345" h="4854575" extrusionOk="0">
                  <a:moveTo>
                    <a:pt x="23172" y="3046703"/>
                  </a:moveTo>
                  <a:lnTo>
                    <a:pt x="0" y="3046703"/>
                  </a:lnTo>
                  <a:lnTo>
                    <a:pt x="0" y="3093036"/>
                  </a:lnTo>
                  <a:lnTo>
                    <a:pt x="23172" y="3093036"/>
                  </a:lnTo>
                  <a:lnTo>
                    <a:pt x="23172" y="3046703"/>
                  </a:lnTo>
                  <a:close/>
                </a:path>
                <a:path w="2506345" h="4854575" extrusionOk="0">
                  <a:moveTo>
                    <a:pt x="1688231" y="2968475"/>
                  </a:moveTo>
                  <a:lnTo>
                    <a:pt x="1665059" y="2968475"/>
                  </a:lnTo>
                  <a:lnTo>
                    <a:pt x="1665059" y="3014798"/>
                  </a:lnTo>
                  <a:lnTo>
                    <a:pt x="1688231" y="3014798"/>
                  </a:lnTo>
                  <a:lnTo>
                    <a:pt x="1688231" y="2968475"/>
                  </a:lnTo>
                  <a:close/>
                </a:path>
                <a:path w="2506345" h="4854575" extrusionOk="0">
                  <a:moveTo>
                    <a:pt x="23172" y="2954046"/>
                  </a:moveTo>
                  <a:lnTo>
                    <a:pt x="0" y="2954046"/>
                  </a:lnTo>
                  <a:lnTo>
                    <a:pt x="0" y="3000379"/>
                  </a:lnTo>
                  <a:lnTo>
                    <a:pt x="23172" y="3000379"/>
                  </a:lnTo>
                  <a:lnTo>
                    <a:pt x="23172" y="2954046"/>
                  </a:lnTo>
                  <a:close/>
                </a:path>
                <a:path w="2506345" h="4854575" extrusionOk="0">
                  <a:moveTo>
                    <a:pt x="1688231" y="2875776"/>
                  </a:moveTo>
                  <a:lnTo>
                    <a:pt x="1665059" y="2875776"/>
                  </a:lnTo>
                  <a:lnTo>
                    <a:pt x="1665059" y="2922130"/>
                  </a:lnTo>
                  <a:lnTo>
                    <a:pt x="1688231" y="2922130"/>
                  </a:lnTo>
                  <a:lnTo>
                    <a:pt x="1688231" y="2875776"/>
                  </a:lnTo>
                  <a:close/>
                </a:path>
                <a:path w="2506345" h="4854575" extrusionOk="0">
                  <a:moveTo>
                    <a:pt x="23172" y="2861336"/>
                  </a:moveTo>
                  <a:lnTo>
                    <a:pt x="0" y="2861336"/>
                  </a:lnTo>
                  <a:lnTo>
                    <a:pt x="0" y="2907681"/>
                  </a:lnTo>
                  <a:lnTo>
                    <a:pt x="23172" y="2907681"/>
                  </a:lnTo>
                  <a:lnTo>
                    <a:pt x="23172" y="2861336"/>
                  </a:lnTo>
                  <a:close/>
                </a:path>
                <a:path w="2506345" h="4854575" extrusionOk="0">
                  <a:moveTo>
                    <a:pt x="1688231" y="2783098"/>
                  </a:moveTo>
                  <a:lnTo>
                    <a:pt x="1665059" y="2783098"/>
                  </a:lnTo>
                  <a:lnTo>
                    <a:pt x="1665059" y="2829442"/>
                  </a:lnTo>
                  <a:lnTo>
                    <a:pt x="1688231" y="2829442"/>
                  </a:lnTo>
                  <a:lnTo>
                    <a:pt x="1688231" y="2783098"/>
                  </a:lnTo>
                  <a:close/>
                </a:path>
                <a:path w="2506345" h="4854575" extrusionOk="0">
                  <a:moveTo>
                    <a:pt x="23172" y="2768648"/>
                  </a:moveTo>
                  <a:lnTo>
                    <a:pt x="0" y="2768648"/>
                  </a:lnTo>
                  <a:lnTo>
                    <a:pt x="0" y="2814982"/>
                  </a:lnTo>
                  <a:lnTo>
                    <a:pt x="23172" y="2814982"/>
                  </a:lnTo>
                  <a:lnTo>
                    <a:pt x="23172" y="2768648"/>
                  </a:lnTo>
                  <a:close/>
                </a:path>
                <a:path w="2506345" h="4854575" extrusionOk="0">
                  <a:moveTo>
                    <a:pt x="1688231" y="2690399"/>
                  </a:moveTo>
                  <a:lnTo>
                    <a:pt x="1665059" y="2690399"/>
                  </a:lnTo>
                  <a:lnTo>
                    <a:pt x="1665059" y="2736733"/>
                  </a:lnTo>
                  <a:lnTo>
                    <a:pt x="1688231" y="2736733"/>
                  </a:lnTo>
                  <a:lnTo>
                    <a:pt x="1688231" y="2690399"/>
                  </a:lnTo>
                  <a:close/>
                </a:path>
                <a:path w="2506345" h="4854575" extrusionOk="0">
                  <a:moveTo>
                    <a:pt x="23172" y="2675960"/>
                  </a:moveTo>
                  <a:lnTo>
                    <a:pt x="0" y="2675960"/>
                  </a:lnTo>
                  <a:lnTo>
                    <a:pt x="0" y="2722304"/>
                  </a:lnTo>
                  <a:lnTo>
                    <a:pt x="23172" y="2722304"/>
                  </a:lnTo>
                  <a:lnTo>
                    <a:pt x="23172" y="2675960"/>
                  </a:lnTo>
                  <a:close/>
                </a:path>
                <a:path w="2506345" h="4854575" extrusionOk="0">
                  <a:moveTo>
                    <a:pt x="1688231" y="2597690"/>
                  </a:moveTo>
                  <a:lnTo>
                    <a:pt x="1665059" y="2597690"/>
                  </a:lnTo>
                  <a:lnTo>
                    <a:pt x="1665059" y="2644055"/>
                  </a:lnTo>
                  <a:lnTo>
                    <a:pt x="1688231" y="2644055"/>
                  </a:lnTo>
                  <a:lnTo>
                    <a:pt x="1688231" y="2597690"/>
                  </a:lnTo>
                  <a:close/>
                </a:path>
                <a:path w="2506345" h="4854575" extrusionOk="0">
                  <a:moveTo>
                    <a:pt x="23172" y="2583272"/>
                  </a:moveTo>
                  <a:lnTo>
                    <a:pt x="0" y="2583272"/>
                  </a:lnTo>
                  <a:lnTo>
                    <a:pt x="0" y="2629605"/>
                  </a:lnTo>
                  <a:lnTo>
                    <a:pt x="23172" y="2629605"/>
                  </a:lnTo>
                  <a:lnTo>
                    <a:pt x="23172" y="2583272"/>
                  </a:lnTo>
                  <a:close/>
                </a:path>
                <a:path w="2506345" h="4854575" extrusionOk="0">
                  <a:moveTo>
                    <a:pt x="1688231" y="2505054"/>
                  </a:moveTo>
                  <a:lnTo>
                    <a:pt x="1665059" y="2505054"/>
                  </a:lnTo>
                  <a:lnTo>
                    <a:pt x="1665059" y="2551367"/>
                  </a:lnTo>
                  <a:lnTo>
                    <a:pt x="1688231" y="2551367"/>
                  </a:lnTo>
                  <a:lnTo>
                    <a:pt x="1688231" y="2505054"/>
                  </a:lnTo>
                  <a:close/>
                </a:path>
                <a:path w="2506345" h="4854575" extrusionOk="0">
                  <a:moveTo>
                    <a:pt x="23172" y="2490604"/>
                  </a:moveTo>
                  <a:lnTo>
                    <a:pt x="0" y="2490604"/>
                  </a:lnTo>
                  <a:lnTo>
                    <a:pt x="0" y="2536927"/>
                  </a:lnTo>
                  <a:lnTo>
                    <a:pt x="23172" y="2536927"/>
                  </a:lnTo>
                  <a:lnTo>
                    <a:pt x="23172" y="2490604"/>
                  </a:lnTo>
                  <a:close/>
                </a:path>
                <a:path w="2506345" h="4854575" extrusionOk="0">
                  <a:moveTo>
                    <a:pt x="1688231" y="2412355"/>
                  </a:moveTo>
                  <a:lnTo>
                    <a:pt x="1665059" y="2412355"/>
                  </a:lnTo>
                  <a:lnTo>
                    <a:pt x="1665059" y="2458679"/>
                  </a:lnTo>
                  <a:lnTo>
                    <a:pt x="1688231" y="2458679"/>
                  </a:lnTo>
                  <a:lnTo>
                    <a:pt x="1688231" y="2412355"/>
                  </a:lnTo>
                  <a:close/>
                </a:path>
                <a:path w="2506345" h="4854575" extrusionOk="0">
                  <a:moveTo>
                    <a:pt x="23172" y="2397885"/>
                  </a:moveTo>
                  <a:lnTo>
                    <a:pt x="0" y="2397885"/>
                  </a:lnTo>
                  <a:lnTo>
                    <a:pt x="0" y="2444239"/>
                  </a:lnTo>
                  <a:lnTo>
                    <a:pt x="23172" y="2444239"/>
                  </a:lnTo>
                  <a:lnTo>
                    <a:pt x="23172" y="2397885"/>
                  </a:lnTo>
                  <a:close/>
                </a:path>
                <a:path w="2506345" h="4854575" extrusionOk="0">
                  <a:moveTo>
                    <a:pt x="1688231" y="2319636"/>
                  </a:moveTo>
                  <a:lnTo>
                    <a:pt x="1665059" y="2319636"/>
                  </a:lnTo>
                  <a:lnTo>
                    <a:pt x="1665059" y="2365959"/>
                  </a:lnTo>
                  <a:lnTo>
                    <a:pt x="1688231" y="2365959"/>
                  </a:lnTo>
                  <a:lnTo>
                    <a:pt x="1688231" y="2319636"/>
                  </a:lnTo>
                  <a:close/>
                </a:path>
                <a:path w="2506345" h="4854575" extrusionOk="0">
                  <a:moveTo>
                    <a:pt x="23172" y="2305207"/>
                  </a:moveTo>
                  <a:lnTo>
                    <a:pt x="0" y="2305207"/>
                  </a:lnTo>
                  <a:lnTo>
                    <a:pt x="0" y="2351551"/>
                  </a:lnTo>
                  <a:lnTo>
                    <a:pt x="23172" y="2351551"/>
                  </a:lnTo>
                  <a:lnTo>
                    <a:pt x="23172" y="2305207"/>
                  </a:lnTo>
                  <a:close/>
                </a:path>
                <a:path w="2506345" h="4854575" extrusionOk="0">
                  <a:moveTo>
                    <a:pt x="1688231" y="2226958"/>
                  </a:moveTo>
                  <a:lnTo>
                    <a:pt x="1665059" y="2226958"/>
                  </a:lnTo>
                  <a:lnTo>
                    <a:pt x="1665059" y="2273302"/>
                  </a:lnTo>
                  <a:lnTo>
                    <a:pt x="1688231" y="2273302"/>
                  </a:lnTo>
                  <a:lnTo>
                    <a:pt x="1688231" y="2226958"/>
                  </a:lnTo>
                  <a:close/>
                </a:path>
                <a:path w="2506345" h="4854575" extrusionOk="0">
                  <a:moveTo>
                    <a:pt x="23172" y="2212519"/>
                  </a:moveTo>
                  <a:lnTo>
                    <a:pt x="0" y="2212519"/>
                  </a:lnTo>
                  <a:lnTo>
                    <a:pt x="0" y="2258863"/>
                  </a:lnTo>
                  <a:lnTo>
                    <a:pt x="23172" y="2258863"/>
                  </a:lnTo>
                  <a:lnTo>
                    <a:pt x="23172" y="2212519"/>
                  </a:lnTo>
                  <a:close/>
                </a:path>
                <a:path w="2506345" h="4854575" extrusionOk="0">
                  <a:moveTo>
                    <a:pt x="1688231" y="2134270"/>
                  </a:moveTo>
                  <a:lnTo>
                    <a:pt x="1665059" y="2134270"/>
                  </a:lnTo>
                  <a:lnTo>
                    <a:pt x="1665059" y="2180624"/>
                  </a:lnTo>
                  <a:lnTo>
                    <a:pt x="1688231" y="2180624"/>
                  </a:lnTo>
                  <a:lnTo>
                    <a:pt x="1688231" y="2134270"/>
                  </a:lnTo>
                  <a:close/>
                </a:path>
                <a:path w="2506345" h="4854575" extrusionOk="0">
                  <a:moveTo>
                    <a:pt x="23172" y="2119830"/>
                  </a:moveTo>
                  <a:lnTo>
                    <a:pt x="0" y="2119830"/>
                  </a:lnTo>
                  <a:lnTo>
                    <a:pt x="0" y="2166174"/>
                  </a:lnTo>
                  <a:lnTo>
                    <a:pt x="23172" y="2166174"/>
                  </a:lnTo>
                  <a:lnTo>
                    <a:pt x="23172" y="2119830"/>
                  </a:lnTo>
                  <a:close/>
                </a:path>
                <a:path w="2506345" h="4854575" extrusionOk="0">
                  <a:moveTo>
                    <a:pt x="1688231" y="2041581"/>
                  </a:moveTo>
                  <a:lnTo>
                    <a:pt x="1665059" y="2041581"/>
                  </a:lnTo>
                  <a:lnTo>
                    <a:pt x="1665059" y="2087936"/>
                  </a:lnTo>
                  <a:lnTo>
                    <a:pt x="1688231" y="2087936"/>
                  </a:lnTo>
                  <a:lnTo>
                    <a:pt x="1688231" y="2041581"/>
                  </a:lnTo>
                  <a:close/>
                </a:path>
                <a:path w="2506345" h="4854575" extrusionOk="0">
                  <a:moveTo>
                    <a:pt x="23172" y="2027142"/>
                  </a:moveTo>
                  <a:lnTo>
                    <a:pt x="0" y="2027142"/>
                  </a:lnTo>
                  <a:lnTo>
                    <a:pt x="0" y="2073476"/>
                  </a:lnTo>
                  <a:lnTo>
                    <a:pt x="23172" y="2073476"/>
                  </a:lnTo>
                  <a:lnTo>
                    <a:pt x="23172" y="2027142"/>
                  </a:lnTo>
                  <a:close/>
                </a:path>
                <a:path w="2506345" h="4854575" extrusionOk="0">
                  <a:moveTo>
                    <a:pt x="1688231" y="1948893"/>
                  </a:moveTo>
                  <a:lnTo>
                    <a:pt x="1665059" y="1948893"/>
                  </a:lnTo>
                  <a:lnTo>
                    <a:pt x="1665059" y="1995248"/>
                  </a:lnTo>
                  <a:lnTo>
                    <a:pt x="1688231" y="1995248"/>
                  </a:lnTo>
                  <a:lnTo>
                    <a:pt x="1688231" y="1948893"/>
                  </a:lnTo>
                  <a:close/>
                </a:path>
                <a:path w="2506345" h="4854575" extrusionOk="0">
                  <a:moveTo>
                    <a:pt x="23172" y="1934464"/>
                  </a:moveTo>
                  <a:lnTo>
                    <a:pt x="0" y="1934464"/>
                  </a:lnTo>
                  <a:lnTo>
                    <a:pt x="0" y="1980787"/>
                  </a:lnTo>
                  <a:lnTo>
                    <a:pt x="23172" y="1980787"/>
                  </a:lnTo>
                  <a:lnTo>
                    <a:pt x="23172" y="1934464"/>
                  </a:lnTo>
                  <a:close/>
                </a:path>
                <a:path w="2506345" h="4854575" extrusionOk="0">
                  <a:moveTo>
                    <a:pt x="1688231" y="1856226"/>
                  </a:moveTo>
                  <a:lnTo>
                    <a:pt x="1665059" y="1856226"/>
                  </a:lnTo>
                  <a:lnTo>
                    <a:pt x="1665059" y="1902538"/>
                  </a:lnTo>
                  <a:lnTo>
                    <a:pt x="1688231" y="1902538"/>
                  </a:lnTo>
                  <a:lnTo>
                    <a:pt x="1688231" y="1856226"/>
                  </a:lnTo>
                  <a:close/>
                </a:path>
                <a:path w="2506345" h="4854575" extrusionOk="0">
                  <a:moveTo>
                    <a:pt x="23172" y="1841776"/>
                  </a:moveTo>
                  <a:lnTo>
                    <a:pt x="0" y="1841776"/>
                  </a:lnTo>
                  <a:lnTo>
                    <a:pt x="0" y="1888099"/>
                  </a:lnTo>
                  <a:lnTo>
                    <a:pt x="23172" y="1888099"/>
                  </a:lnTo>
                  <a:lnTo>
                    <a:pt x="23172" y="1841776"/>
                  </a:lnTo>
                  <a:close/>
                </a:path>
                <a:path w="2506345" h="4854575" extrusionOk="0">
                  <a:moveTo>
                    <a:pt x="1688231" y="1763527"/>
                  </a:moveTo>
                  <a:lnTo>
                    <a:pt x="1665059" y="1763527"/>
                  </a:lnTo>
                  <a:lnTo>
                    <a:pt x="1665059" y="1809850"/>
                  </a:lnTo>
                  <a:lnTo>
                    <a:pt x="1688231" y="1809850"/>
                  </a:lnTo>
                  <a:lnTo>
                    <a:pt x="1688231" y="1763527"/>
                  </a:lnTo>
                  <a:close/>
                </a:path>
                <a:path w="2506345" h="4854575" extrusionOk="0">
                  <a:moveTo>
                    <a:pt x="23172" y="1749077"/>
                  </a:moveTo>
                  <a:lnTo>
                    <a:pt x="0" y="1749077"/>
                  </a:lnTo>
                  <a:lnTo>
                    <a:pt x="0" y="1795421"/>
                  </a:lnTo>
                  <a:lnTo>
                    <a:pt x="23172" y="1795421"/>
                  </a:lnTo>
                  <a:lnTo>
                    <a:pt x="23172" y="1749077"/>
                  </a:lnTo>
                  <a:close/>
                </a:path>
                <a:path w="2506345" h="4854575" extrusionOk="0">
                  <a:moveTo>
                    <a:pt x="1688231" y="1670849"/>
                  </a:moveTo>
                  <a:lnTo>
                    <a:pt x="1665059" y="1670849"/>
                  </a:lnTo>
                  <a:lnTo>
                    <a:pt x="1665059" y="1717172"/>
                  </a:lnTo>
                  <a:lnTo>
                    <a:pt x="1688231" y="1717172"/>
                  </a:lnTo>
                  <a:lnTo>
                    <a:pt x="1688231" y="1670849"/>
                  </a:lnTo>
                  <a:close/>
                </a:path>
                <a:path w="2506345" h="4854575" extrusionOk="0">
                  <a:moveTo>
                    <a:pt x="23172" y="1656378"/>
                  </a:moveTo>
                  <a:lnTo>
                    <a:pt x="0" y="1656378"/>
                  </a:lnTo>
                  <a:lnTo>
                    <a:pt x="0" y="1702723"/>
                  </a:lnTo>
                  <a:lnTo>
                    <a:pt x="23172" y="1702723"/>
                  </a:lnTo>
                  <a:lnTo>
                    <a:pt x="23172" y="1656378"/>
                  </a:lnTo>
                  <a:close/>
                </a:path>
                <a:path w="2506345" h="4854575" extrusionOk="0">
                  <a:moveTo>
                    <a:pt x="1688231" y="1578140"/>
                  </a:moveTo>
                  <a:lnTo>
                    <a:pt x="1665059" y="1578140"/>
                  </a:lnTo>
                  <a:lnTo>
                    <a:pt x="1665059" y="1624484"/>
                  </a:lnTo>
                  <a:lnTo>
                    <a:pt x="1688231" y="1624484"/>
                  </a:lnTo>
                  <a:lnTo>
                    <a:pt x="1688231" y="1578140"/>
                  </a:lnTo>
                  <a:close/>
                </a:path>
                <a:path w="2506345" h="4854575" extrusionOk="0">
                  <a:moveTo>
                    <a:pt x="23172" y="1563690"/>
                  </a:moveTo>
                  <a:lnTo>
                    <a:pt x="0" y="1563690"/>
                  </a:lnTo>
                  <a:lnTo>
                    <a:pt x="0" y="1610045"/>
                  </a:lnTo>
                  <a:lnTo>
                    <a:pt x="23172" y="1610045"/>
                  </a:lnTo>
                  <a:lnTo>
                    <a:pt x="23172" y="1563690"/>
                  </a:lnTo>
                  <a:close/>
                </a:path>
                <a:path w="2506345" h="4854575" extrusionOk="0">
                  <a:moveTo>
                    <a:pt x="1688231" y="1485441"/>
                  </a:moveTo>
                  <a:lnTo>
                    <a:pt x="1665059" y="1485441"/>
                  </a:lnTo>
                  <a:lnTo>
                    <a:pt x="1665059" y="1531796"/>
                  </a:lnTo>
                  <a:lnTo>
                    <a:pt x="1688231" y="1531796"/>
                  </a:lnTo>
                  <a:lnTo>
                    <a:pt x="1688231" y="1485441"/>
                  </a:lnTo>
                  <a:close/>
                </a:path>
                <a:path w="2506345" h="4854575" extrusionOk="0">
                  <a:moveTo>
                    <a:pt x="23172" y="1471002"/>
                  </a:moveTo>
                  <a:lnTo>
                    <a:pt x="0" y="1471002"/>
                  </a:lnTo>
                  <a:lnTo>
                    <a:pt x="0" y="1517356"/>
                  </a:lnTo>
                  <a:lnTo>
                    <a:pt x="23172" y="1517356"/>
                  </a:lnTo>
                  <a:lnTo>
                    <a:pt x="23172" y="1471002"/>
                  </a:lnTo>
                  <a:close/>
                </a:path>
                <a:path w="2506345" h="4854575" extrusionOk="0">
                  <a:moveTo>
                    <a:pt x="1688231" y="1392753"/>
                  </a:moveTo>
                  <a:lnTo>
                    <a:pt x="1665059" y="1392753"/>
                  </a:lnTo>
                  <a:lnTo>
                    <a:pt x="1665059" y="1439118"/>
                  </a:lnTo>
                  <a:lnTo>
                    <a:pt x="1688231" y="1439118"/>
                  </a:lnTo>
                  <a:lnTo>
                    <a:pt x="1688231" y="1392753"/>
                  </a:lnTo>
                  <a:close/>
                </a:path>
                <a:path w="2506345" h="4854575" extrusionOk="0">
                  <a:moveTo>
                    <a:pt x="23172" y="1378314"/>
                  </a:moveTo>
                  <a:lnTo>
                    <a:pt x="0" y="1378314"/>
                  </a:lnTo>
                  <a:lnTo>
                    <a:pt x="0" y="1424658"/>
                  </a:lnTo>
                  <a:lnTo>
                    <a:pt x="23172" y="1424658"/>
                  </a:lnTo>
                  <a:lnTo>
                    <a:pt x="23172" y="1378314"/>
                  </a:lnTo>
                  <a:close/>
                </a:path>
                <a:path w="2506345" h="4854575" extrusionOk="0">
                  <a:moveTo>
                    <a:pt x="1688231" y="1300065"/>
                  </a:moveTo>
                  <a:lnTo>
                    <a:pt x="1665059" y="1300065"/>
                  </a:lnTo>
                  <a:lnTo>
                    <a:pt x="1665059" y="1346419"/>
                  </a:lnTo>
                  <a:lnTo>
                    <a:pt x="1688231" y="1346419"/>
                  </a:lnTo>
                  <a:lnTo>
                    <a:pt x="1688231" y="1300065"/>
                  </a:lnTo>
                  <a:close/>
                </a:path>
                <a:path w="2506345" h="4854575" extrusionOk="0">
                  <a:moveTo>
                    <a:pt x="23172" y="1285625"/>
                  </a:moveTo>
                  <a:lnTo>
                    <a:pt x="0" y="1285625"/>
                  </a:lnTo>
                  <a:lnTo>
                    <a:pt x="0" y="1331969"/>
                  </a:lnTo>
                  <a:lnTo>
                    <a:pt x="23172" y="1331969"/>
                  </a:lnTo>
                  <a:lnTo>
                    <a:pt x="23172" y="1285625"/>
                  </a:lnTo>
                  <a:close/>
                </a:path>
                <a:path w="2506345" h="4854575" extrusionOk="0">
                  <a:moveTo>
                    <a:pt x="1688231" y="1207408"/>
                  </a:moveTo>
                  <a:lnTo>
                    <a:pt x="1665059" y="1207408"/>
                  </a:lnTo>
                  <a:lnTo>
                    <a:pt x="1665059" y="1253731"/>
                  </a:lnTo>
                  <a:lnTo>
                    <a:pt x="1688231" y="1253731"/>
                  </a:lnTo>
                  <a:lnTo>
                    <a:pt x="1688231" y="1207408"/>
                  </a:lnTo>
                  <a:close/>
                </a:path>
                <a:path w="2506345" h="4854575" extrusionOk="0">
                  <a:moveTo>
                    <a:pt x="23172" y="1192958"/>
                  </a:moveTo>
                  <a:lnTo>
                    <a:pt x="0" y="1192958"/>
                  </a:lnTo>
                  <a:lnTo>
                    <a:pt x="0" y="1239281"/>
                  </a:lnTo>
                  <a:lnTo>
                    <a:pt x="23172" y="1239281"/>
                  </a:lnTo>
                  <a:lnTo>
                    <a:pt x="23172" y="1192958"/>
                  </a:lnTo>
                  <a:close/>
                </a:path>
                <a:path w="2506345" h="4854575" extrusionOk="0">
                  <a:moveTo>
                    <a:pt x="1688231" y="1114709"/>
                  </a:moveTo>
                  <a:lnTo>
                    <a:pt x="1665059" y="1114709"/>
                  </a:lnTo>
                  <a:lnTo>
                    <a:pt x="1665059" y="1161043"/>
                  </a:lnTo>
                  <a:lnTo>
                    <a:pt x="1688231" y="1161043"/>
                  </a:lnTo>
                  <a:lnTo>
                    <a:pt x="1688231" y="1114709"/>
                  </a:lnTo>
                  <a:close/>
                </a:path>
                <a:path w="2506345" h="4854575" extrusionOk="0">
                  <a:moveTo>
                    <a:pt x="23172" y="1100259"/>
                  </a:moveTo>
                  <a:lnTo>
                    <a:pt x="0" y="1100259"/>
                  </a:lnTo>
                  <a:lnTo>
                    <a:pt x="0" y="1146603"/>
                  </a:lnTo>
                  <a:lnTo>
                    <a:pt x="23172" y="1146603"/>
                  </a:lnTo>
                  <a:lnTo>
                    <a:pt x="23172" y="1100259"/>
                  </a:lnTo>
                  <a:close/>
                </a:path>
                <a:path w="2506345" h="4854575" extrusionOk="0">
                  <a:moveTo>
                    <a:pt x="1688231" y="1022010"/>
                  </a:moveTo>
                  <a:lnTo>
                    <a:pt x="1665059" y="1022010"/>
                  </a:lnTo>
                  <a:lnTo>
                    <a:pt x="1665059" y="1068333"/>
                  </a:lnTo>
                  <a:lnTo>
                    <a:pt x="1688231" y="1068333"/>
                  </a:lnTo>
                  <a:lnTo>
                    <a:pt x="1688231" y="1022010"/>
                  </a:lnTo>
                  <a:close/>
                </a:path>
                <a:path w="2506345" h="4854575" extrusionOk="0">
                  <a:moveTo>
                    <a:pt x="23172" y="1007560"/>
                  </a:moveTo>
                  <a:lnTo>
                    <a:pt x="0" y="1007560"/>
                  </a:lnTo>
                  <a:lnTo>
                    <a:pt x="0" y="1053905"/>
                  </a:lnTo>
                  <a:lnTo>
                    <a:pt x="23172" y="1053905"/>
                  </a:lnTo>
                  <a:lnTo>
                    <a:pt x="23172" y="1007560"/>
                  </a:lnTo>
                  <a:close/>
                </a:path>
                <a:path w="2506345" h="4854575" extrusionOk="0">
                  <a:moveTo>
                    <a:pt x="1688231" y="929249"/>
                  </a:moveTo>
                  <a:lnTo>
                    <a:pt x="1665080" y="929416"/>
                  </a:lnTo>
                  <a:lnTo>
                    <a:pt x="1665080" y="975656"/>
                  </a:lnTo>
                  <a:lnTo>
                    <a:pt x="1688231" y="975656"/>
                  </a:lnTo>
                  <a:lnTo>
                    <a:pt x="1688231" y="929249"/>
                  </a:lnTo>
                  <a:close/>
                </a:path>
                <a:path w="2506345" h="4854575" extrusionOk="0">
                  <a:moveTo>
                    <a:pt x="219" y="914631"/>
                  </a:moveTo>
                  <a:lnTo>
                    <a:pt x="52" y="922401"/>
                  </a:lnTo>
                  <a:lnTo>
                    <a:pt x="0" y="961216"/>
                  </a:lnTo>
                  <a:lnTo>
                    <a:pt x="23172" y="961216"/>
                  </a:lnTo>
                  <a:lnTo>
                    <a:pt x="23230" y="922401"/>
                  </a:lnTo>
                  <a:lnTo>
                    <a:pt x="23360" y="915144"/>
                  </a:lnTo>
                  <a:lnTo>
                    <a:pt x="219" y="914631"/>
                  </a:lnTo>
                  <a:close/>
                </a:path>
                <a:path w="2506345" h="4854575" extrusionOk="0">
                  <a:moveTo>
                    <a:pt x="1683310" y="835681"/>
                  </a:moveTo>
                  <a:lnTo>
                    <a:pt x="1660232" y="837953"/>
                  </a:lnTo>
                  <a:lnTo>
                    <a:pt x="1661287" y="849303"/>
                  </a:lnTo>
                  <a:lnTo>
                    <a:pt x="1662209" y="860701"/>
                  </a:lnTo>
                  <a:lnTo>
                    <a:pt x="1663004" y="872138"/>
                  </a:lnTo>
                  <a:lnTo>
                    <a:pt x="1663677" y="883606"/>
                  </a:lnTo>
                  <a:lnTo>
                    <a:pt x="1686754" y="882381"/>
                  </a:lnTo>
                  <a:lnTo>
                    <a:pt x="1686088" y="870651"/>
                  </a:lnTo>
                  <a:lnTo>
                    <a:pt x="1685287" y="858956"/>
                  </a:lnTo>
                  <a:lnTo>
                    <a:pt x="1684359" y="847299"/>
                  </a:lnTo>
                  <a:lnTo>
                    <a:pt x="1683310" y="835681"/>
                  </a:lnTo>
                  <a:close/>
                </a:path>
                <a:path w="2506345" h="4854575" extrusionOk="0">
                  <a:moveTo>
                    <a:pt x="6460" y="821168"/>
                  </a:moveTo>
                  <a:lnTo>
                    <a:pt x="5227" y="832770"/>
                  </a:lnTo>
                  <a:lnTo>
                    <a:pt x="4122" y="844410"/>
                  </a:lnTo>
                  <a:lnTo>
                    <a:pt x="3147" y="856091"/>
                  </a:lnTo>
                  <a:lnTo>
                    <a:pt x="2303" y="867816"/>
                  </a:lnTo>
                  <a:lnTo>
                    <a:pt x="25402" y="869376"/>
                  </a:lnTo>
                  <a:lnTo>
                    <a:pt x="26246" y="857901"/>
                  </a:lnTo>
                  <a:lnTo>
                    <a:pt x="27208" y="846478"/>
                  </a:lnTo>
                  <a:lnTo>
                    <a:pt x="28288" y="835096"/>
                  </a:lnTo>
                  <a:lnTo>
                    <a:pt x="29486" y="823744"/>
                  </a:lnTo>
                  <a:lnTo>
                    <a:pt x="6460" y="821168"/>
                  </a:lnTo>
                  <a:close/>
                </a:path>
                <a:path w="2506345" h="4854575" extrusionOk="0">
                  <a:moveTo>
                    <a:pt x="1669959" y="742940"/>
                  </a:moveTo>
                  <a:lnTo>
                    <a:pt x="1647206" y="747265"/>
                  </a:lnTo>
                  <a:lnTo>
                    <a:pt x="1649277" y="758494"/>
                  </a:lnTo>
                  <a:lnTo>
                    <a:pt x="1651229" y="769761"/>
                  </a:lnTo>
                  <a:lnTo>
                    <a:pt x="1653052" y="781076"/>
                  </a:lnTo>
                  <a:lnTo>
                    <a:pt x="1654734" y="792447"/>
                  </a:lnTo>
                  <a:lnTo>
                    <a:pt x="1677666" y="789159"/>
                  </a:lnTo>
                  <a:lnTo>
                    <a:pt x="1675940" y="777539"/>
                  </a:lnTo>
                  <a:lnTo>
                    <a:pt x="1674079" y="765959"/>
                  </a:lnTo>
                  <a:lnTo>
                    <a:pt x="1672085" y="754425"/>
                  </a:lnTo>
                  <a:lnTo>
                    <a:pt x="1669959" y="742940"/>
                  </a:lnTo>
                  <a:close/>
                </a:path>
                <a:path w="2506345" h="4854575" extrusionOk="0">
                  <a:moveTo>
                    <a:pt x="21067" y="728627"/>
                  </a:moveTo>
                  <a:lnTo>
                    <a:pt x="18795" y="740083"/>
                  </a:lnTo>
                  <a:lnTo>
                    <a:pt x="16646" y="751584"/>
                  </a:lnTo>
                  <a:lnTo>
                    <a:pt x="14618" y="763132"/>
                  </a:lnTo>
                  <a:lnTo>
                    <a:pt x="12711" y="774730"/>
                  </a:lnTo>
                  <a:lnTo>
                    <a:pt x="35601" y="778332"/>
                  </a:lnTo>
                  <a:lnTo>
                    <a:pt x="37448" y="766998"/>
                  </a:lnTo>
                  <a:lnTo>
                    <a:pt x="39424" y="755711"/>
                  </a:lnTo>
                  <a:lnTo>
                    <a:pt x="41527" y="744472"/>
                  </a:lnTo>
                  <a:lnTo>
                    <a:pt x="43757" y="733286"/>
                  </a:lnTo>
                  <a:lnTo>
                    <a:pt x="21067" y="728627"/>
                  </a:lnTo>
                  <a:close/>
                </a:path>
                <a:path w="2506345" h="4854575" extrusionOk="0">
                  <a:moveTo>
                    <a:pt x="1648232" y="651791"/>
                  </a:moveTo>
                  <a:lnTo>
                    <a:pt x="1625992" y="658220"/>
                  </a:lnTo>
                  <a:lnTo>
                    <a:pt x="1629082" y="669194"/>
                  </a:lnTo>
                  <a:lnTo>
                    <a:pt x="1632052" y="680234"/>
                  </a:lnTo>
                  <a:lnTo>
                    <a:pt x="1634900" y="691335"/>
                  </a:lnTo>
                  <a:lnTo>
                    <a:pt x="1637625" y="702491"/>
                  </a:lnTo>
                  <a:lnTo>
                    <a:pt x="1660158" y="697120"/>
                  </a:lnTo>
                  <a:lnTo>
                    <a:pt x="1657369" y="685709"/>
                  </a:lnTo>
                  <a:lnTo>
                    <a:pt x="1654450" y="674349"/>
                  </a:lnTo>
                  <a:lnTo>
                    <a:pt x="1651405" y="663042"/>
                  </a:lnTo>
                  <a:lnTo>
                    <a:pt x="1648232" y="651791"/>
                  </a:lnTo>
                  <a:close/>
                </a:path>
                <a:path w="2506345" h="4854575" extrusionOk="0">
                  <a:moveTo>
                    <a:pt x="44145" y="637781"/>
                  </a:moveTo>
                  <a:lnTo>
                    <a:pt x="40816" y="648989"/>
                  </a:lnTo>
                  <a:lnTo>
                    <a:pt x="37607" y="660249"/>
                  </a:lnTo>
                  <a:lnTo>
                    <a:pt x="34525" y="671568"/>
                  </a:lnTo>
                  <a:lnTo>
                    <a:pt x="31580" y="682953"/>
                  </a:lnTo>
                  <a:lnTo>
                    <a:pt x="54008" y="688628"/>
                  </a:lnTo>
                  <a:lnTo>
                    <a:pt x="56896" y="677511"/>
                  </a:lnTo>
                  <a:lnTo>
                    <a:pt x="59907" y="666450"/>
                  </a:lnTo>
                  <a:lnTo>
                    <a:pt x="63042" y="655453"/>
                  </a:lnTo>
                  <a:lnTo>
                    <a:pt x="66301" y="644524"/>
                  </a:lnTo>
                  <a:lnTo>
                    <a:pt x="44145" y="637781"/>
                  </a:lnTo>
                  <a:close/>
                </a:path>
                <a:path w="2506345" h="4854575" extrusionOk="0">
                  <a:moveTo>
                    <a:pt x="1618107" y="563040"/>
                  </a:moveTo>
                  <a:lnTo>
                    <a:pt x="1596558" y="571532"/>
                  </a:lnTo>
                  <a:lnTo>
                    <a:pt x="1600659" y="582166"/>
                  </a:lnTo>
                  <a:lnTo>
                    <a:pt x="1604651" y="592881"/>
                  </a:lnTo>
                  <a:lnTo>
                    <a:pt x="1608531" y="603671"/>
                  </a:lnTo>
                  <a:lnTo>
                    <a:pt x="1612296" y="614536"/>
                  </a:lnTo>
                  <a:lnTo>
                    <a:pt x="1634232" y="607060"/>
                  </a:lnTo>
                  <a:lnTo>
                    <a:pt x="1630373" y="595956"/>
                  </a:lnTo>
                  <a:lnTo>
                    <a:pt x="1626405" y="584916"/>
                  </a:lnTo>
                  <a:lnTo>
                    <a:pt x="1622320" y="573944"/>
                  </a:lnTo>
                  <a:lnTo>
                    <a:pt x="1618107" y="563040"/>
                  </a:lnTo>
                  <a:close/>
                </a:path>
                <a:path w="2506345" h="4854575" extrusionOk="0">
                  <a:moveTo>
                    <a:pt x="75536" y="549491"/>
                  </a:moveTo>
                  <a:lnTo>
                    <a:pt x="71174" y="560327"/>
                  </a:lnTo>
                  <a:lnTo>
                    <a:pt x="66929" y="571240"/>
                  </a:lnTo>
                  <a:lnTo>
                    <a:pt x="62803" y="582225"/>
                  </a:lnTo>
                  <a:lnTo>
                    <a:pt x="58794" y="593280"/>
                  </a:lnTo>
                  <a:lnTo>
                    <a:pt x="80604" y="601039"/>
                  </a:lnTo>
                  <a:lnTo>
                    <a:pt x="84528" y="590250"/>
                  </a:lnTo>
                  <a:lnTo>
                    <a:pt x="88569" y="579528"/>
                  </a:lnTo>
                  <a:lnTo>
                    <a:pt x="92721" y="568870"/>
                  </a:lnTo>
                  <a:lnTo>
                    <a:pt x="96981" y="558276"/>
                  </a:lnTo>
                  <a:lnTo>
                    <a:pt x="75536" y="549491"/>
                  </a:lnTo>
                  <a:close/>
                </a:path>
                <a:path w="2506345" h="4854575" extrusionOk="0">
                  <a:moveTo>
                    <a:pt x="1579721" y="477535"/>
                  </a:moveTo>
                  <a:lnTo>
                    <a:pt x="1559052" y="488016"/>
                  </a:lnTo>
                  <a:lnTo>
                    <a:pt x="1564172" y="498224"/>
                  </a:lnTo>
                  <a:lnTo>
                    <a:pt x="1569161" y="508517"/>
                  </a:lnTo>
                  <a:lnTo>
                    <a:pt x="1574032" y="518886"/>
                  </a:lnTo>
                  <a:lnTo>
                    <a:pt x="1578800" y="529324"/>
                  </a:lnTo>
                  <a:lnTo>
                    <a:pt x="1599940" y="519816"/>
                  </a:lnTo>
                  <a:lnTo>
                    <a:pt x="1595054" y="509129"/>
                  </a:lnTo>
                  <a:lnTo>
                    <a:pt x="1590054" y="498514"/>
                  </a:lnTo>
                  <a:lnTo>
                    <a:pt x="1584943" y="487980"/>
                  </a:lnTo>
                  <a:lnTo>
                    <a:pt x="1579721" y="477535"/>
                  </a:lnTo>
                  <a:close/>
                </a:path>
                <a:path w="2506345" h="4854575" extrusionOk="0">
                  <a:moveTo>
                    <a:pt x="115232" y="464551"/>
                  </a:moveTo>
                  <a:lnTo>
                    <a:pt x="109833" y="474921"/>
                  </a:lnTo>
                  <a:lnTo>
                    <a:pt x="104512" y="485463"/>
                  </a:lnTo>
                  <a:lnTo>
                    <a:pt x="99397" y="495925"/>
                  </a:lnTo>
                  <a:lnTo>
                    <a:pt x="94363" y="506560"/>
                  </a:lnTo>
                  <a:lnTo>
                    <a:pt x="115347" y="516329"/>
                  </a:lnTo>
                  <a:lnTo>
                    <a:pt x="120275" y="505967"/>
                  </a:lnTo>
                  <a:lnTo>
                    <a:pt x="125311" y="495678"/>
                  </a:lnTo>
                  <a:lnTo>
                    <a:pt x="130503" y="485379"/>
                  </a:lnTo>
                  <a:lnTo>
                    <a:pt x="135723" y="475325"/>
                  </a:lnTo>
                  <a:lnTo>
                    <a:pt x="115232" y="464551"/>
                  </a:lnTo>
                  <a:close/>
                </a:path>
                <a:path w="2506345" h="4854575" extrusionOk="0">
                  <a:moveTo>
                    <a:pt x="1533220" y="396082"/>
                  </a:moveTo>
                  <a:lnTo>
                    <a:pt x="1513681" y="408542"/>
                  </a:lnTo>
                  <a:lnTo>
                    <a:pt x="1519755" y="418207"/>
                  </a:lnTo>
                  <a:lnTo>
                    <a:pt x="1525723" y="427959"/>
                  </a:lnTo>
                  <a:lnTo>
                    <a:pt x="1531580" y="437796"/>
                  </a:lnTo>
                  <a:lnTo>
                    <a:pt x="1537324" y="447714"/>
                  </a:lnTo>
                  <a:lnTo>
                    <a:pt x="1557470" y="436258"/>
                  </a:lnTo>
                  <a:lnTo>
                    <a:pt x="1551568" y="426079"/>
                  </a:lnTo>
                  <a:lnTo>
                    <a:pt x="1545553" y="415989"/>
                  </a:lnTo>
                  <a:lnTo>
                    <a:pt x="1539434" y="405990"/>
                  </a:lnTo>
                  <a:lnTo>
                    <a:pt x="1533220" y="396082"/>
                  </a:lnTo>
                  <a:close/>
                </a:path>
                <a:path w="2506345" h="4854575" extrusionOk="0">
                  <a:moveTo>
                    <a:pt x="162968" y="383810"/>
                  </a:moveTo>
                  <a:lnTo>
                    <a:pt x="156578" y="393617"/>
                  </a:lnTo>
                  <a:lnTo>
                    <a:pt x="150300" y="403516"/>
                  </a:lnTo>
                  <a:lnTo>
                    <a:pt x="144134" y="413509"/>
                  </a:lnTo>
                  <a:lnTo>
                    <a:pt x="138079" y="423599"/>
                  </a:lnTo>
                  <a:lnTo>
                    <a:pt x="158047" y="435400"/>
                  </a:lnTo>
                  <a:lnTo>
                    <a:pt x="163934" y="425554"/>
                  </a:lnTo>
                  <a:lnTo>
                    <a:pt x="169938" y="415804"/>
                  </a:lnTo>
                  <a:lnTo>
                    <a:pt x="176054" y="406148"/>
                  </a:lnTo>
                  <a:lnTo>
                    <a:pt x="182277" y="396584"/>
                  </a:lnTo>
                  <a:lnTo>
                    <a:pt x="162968" y="383810"/>
                  </a:lnTo>
                  <a:close/>
                </a:path>
                <a:path w="2506345" h="4854575" extrusionOk="0">
                  <a:moveTo>
                    <a:pt x="1478897" y="319623"/>
                  </a:moveTo>
                  <a:lnTo>
                    <a:pt x="1460688" y="333989"/>
                  </a:lnTo>
                  <a:lnTo>
                    <a:pt x="1467713" y="342984"/>
                  </a:lnTo>
                  <a:lnTo>
                    <a:pt x="1474625" y="352088"/>
                  </a:lnTo>
                  <a:lnTo>
                    <a:pt x="1481426" y="361295"/>
                  </a:lnTo>
                  <a:lnTo>
                    <a:pt x="1488122" y="370596"/>
                  </a:lnTo>
                  <a:lnTo>
                    <a:pt x="1507032" y="357182"/>
                  </a:lnTo>
                  <a:lnTo>
                    <a:pt x="1500149" y="347638"/>
                  </a:lnTo>
                  <a:lnTo>
                    <a:pt x="1493165" y="338199"/>
                  </a:lnTo>
                  <a:lnTo>
                    <a:pt x="1486080" y="328861"/>
                  </a:lnTo>
                  <a:lnTo>
                    <a:pt x="1478897" y="319623"/>
                  </a:lnTo>
                  <a:close/>
                </a:path>
                <a:path w="2506345" h="4854575" extrusionOk="0">
                  <a:moveTo>
                    <a:pt x="218495" y="308210"/>
                  </a:moveTo>
                  <a:lnTo>
                    <a:pt x="211151" y="317332"/>
                  </a:lnTo>
                  <a:lnTo>
                    <a:pt x="203916" y="326558"/>
                  </a:lnTo>
                  <a:lnTo>
                    <a:pt x="196793" y="335889"/>
                  </a:lnTo>
                  <a:lnTo>
                    <a:pt x="189784" y="345329"/>
                  </a:lnTo>
                  <a:lnTo>
                    <a:pt x="208433" y="359025"/>
                  </a:lnTo>
                  <a:lnTo>
                    <a:pt x="215275" y="349839"/>
                  </a:lnTo>
                  <a:lnTo>
                    <a:pt x="222226" y="340740"/>
                  </a:lnTo>
                  <a:lnTo>
                    <a:pt x="229274" y="331740"/>
                  </a:lnTo>
                  <a:lnTo>
                    <a:pt x="236411" y="322848"/>
                  </a:lnTo>
                  <a:lnTo>
                    <a:pt x="218495" y="308210"/>
                  </a:lnTo>
                  <a:close/>
                </a:path>
                <a:path w="2506345" h="4854575" extrusionOk="0">
                  <a:moveTo>
                    <a:pt x="1417035" y="249091"/>
                  </a:moveTo>
                  <a:lnTo>
                    <a:pt x="1400428" y="265237"/>
                  </a:lnTo>
                  <a:lnTo>
                    <a:pt x="1408337" y="273469"/>
                  </a:lnTo>
                  <a:lnTo>
                    <a:pt x="1416149" y="281812"/>
                  </a:lnTo>
                  <a:lnTo>
                    <a:pt x="1423857" y="290262"/>
                  </a:lnTo>
                  <a:lnTo>
                    <a:pt x="1431453" y="298818"/>
                  </a:lnTo>
                  <a:lnTo>
                    <a:pt x="1448856" y="283541"/>
                  </a:lnTo>
                  <a:lnTo>
                    <a:pt x="1441055" y="274754"/>
                  </a:lnTo>
                  <a:lnTo>
                    <a:pt x="1433146" y="266080"/>
                  </a:lnTo>
                  <a:lnTo>
                    <a:pt x="1425136" y="257525"/>
                  </a:lnTo>
                  <a:lnTo>
                    <a:pt x="1417035" y="249091"/>
                  </a:lnTo>
                  <a:close/>
                </a:path>
                <a:path w="2506345" h="4854575" extrusionOk="0">
                  <a:moveTo>
                    <a:pt x="281551" y="238610"/>
                  </a:moveTo>
                  <a:lnTo>
                    <a:pt x="273272" y="246937"/>
                  </a:lnTo>
                  <a:lnTo>
                    <a:pt x="265109" y="255382"/>
                  </a:lnTo>
                  <a:lnTo>
                    <a:pt x="257052" y="263948"/>
                  </a:lnTo>
                  <a:lnTo>
                    <a:pt x="249091" y="272640"/>
                  </a:lnTo>
                  <a:lnTo>
                    <a:pt x="266232" y="288169"/>
                  </a:lnTo>
                  <a:lnTo>
                    <a:pt x="274000" y="279728"/>
                  </a:lnTo>
                  <a:lnTo>
                    <a:pt x="281872" y="271387"/>
                  </a:lnTo>
                  <a:lnTo>
                    <a:pt x="289840" y="263152"/>
                  </a:lnTo>
                  <a:lnTo>
                    <a:pt x="297896" y="255028"/>
                  </a:lnTo>
                  <a:lnTo>
                    <a:pt x="281551" y="238610"/>
                  </a:lnTo>
                  <a:close/>
                </a:path>
                <a:path w="2506345" h="4854575" extrusionOk="0">
                  <a:moveTo>
                    <a:pt x="1348199" y="185512"/>
                  </a:moveTo>
                  <a:lnTo>
                    <a:pt x="1333446" y="203334"/>
                  </a:lnTo>
                  <a:lnTo>
                    <a:pt x="1342169" y="210666"/>
                  </a:lnTo>
                  <a:lnTo>
                    <a:pt x="1350796" y="218117"/>
                  </a:lnTo>
                  <a:lnTo>
                    <a:pt x="1359329" y="225684"/>
                  </a:lnTo>
                  <a:lnTo>
                    <a:pt x="1367769" y="233364"/>
                  </a:lnTo>
                  <a:lnTo>
                    <a:pt x="1383476" y="216359"/>
                  </a:lnTo>
                  <a:lnTo>
                    <a:pt x="1374808" y="208469"/>
                  </a:lnTo>
                  <a:lnTo>
                    <a:pt x="1366038" y="200688"/>
                  </a:lnTo>
                  <a:lnTo>
                    <a:pt x="1357167" y="193031"/>
                  </a:lnTo>
                  <a:lnTo>
                    <a:pt x="1348199" y="185512"/>
                  </a:lnTo>
                  <a:close/>
                </a:path>
                <a:path w="2506345" h="4854575" extrusionOk="0">
                  <a:moveTo>
                    <a:pt x="351717" y="175994"/>
                  </a:moveTo>
                  <a:lnTo>
                    <a:pt x="342594" y="183383"/>
                  </a:lnTo>
                  <a:lnTo>
                    <a:pt x="333570" y="190907"/>
                  </a:lnTo>
                  <a:lnTo>
                    <a:pt x="324641" y="198561"/>
                  </a:lnTo>
                  <a:lnTo>
                    <a:pt x="315801" y="206339"/>
                  </a:lnTo>
                  <a:lnTo>
                    <a:pt x="331225" y="223616"/>
                  </a:lnTo>
                  <a:lnTo>
                    <a:pt x="339831" y="216042"/>
                  </a:lnTo>
                  <a:lnTo>
                    <a:pt x="348528" y="208591"/>
                  </a:lnTo>
                  <a:lnTo>
                    <a:pt x="357311" y="201268"/>
                  </a:lnTo>
                  <a:lnTo>
                    <a:pt x="366177" y="194077"/>
                  </a:lnTo>
                  <a:lnTo>
                    <a:pt x="351717" y="175994"/>
                  </a:lnTo>
                  <a:close/>
                </a:path>
                <a:path w="2506345" h="4854575" extrusionOk="0">
                  <a:moveTo>
                    <a:pt x="1272788" y="129765"/>
                  </a:moveTo>
                  <a:lnTo>
                    <a:pt x="1260066" y="149126"/>
                  </a:lnTo>
                  <a:lnTo>
                    <a:pt x="1269562" y="155445"/>
                  </a:lnTo>
                  <a:lnTo>
                    <a:pt x="1278970" y="161900"/>
                  </a:lnTo>
                  <a:lnTo>
                    <a:pt x="1288289" y="168489"/>
                  </a:lnTo>
                  <a:lnTo>
                    <a:pt x="1297520" y="175209"/>
                  </a:lnTo>
                  <a:lnTo>
                    <a:pt x="1311289" y="156613"/>
                  </a:lnTo>
                  <a:lnTo>
                    <a:pt x="1301812" y="149677"/>
                  </a:lnTo>
                  <a:lnTo>
                    <a:pt x="1292231" y="142894"/>
                  </a:lnTo>
                  <a:lnTo>
                    <a:pt x="1282554" y="136259"/>
                  </a:lnTo>
                  <a:lnTo>
                    <a:pt x="1272788" y="129765"/>
                  </a:lnTo>
                  <a:close/>
                </a:path>
                <a:path w="2506345" h="4854575" extrusionOk="0">
                  <a:moveTo>
                    <a:pt x="428311" y="121493"/>
                  </a:moveTo>
                  <a:lnTo>
                    <a:pt x="418423" y="127816"/>
                  </a:lnTo>
                  <a:lnTo>
                    <a:pt x="408615" y="134291"/>
                  </a:lnTo>
                  <a:lnTo>
                    <a:pt x="398894" y="140912"/>
                  </a:lnTo>
                  <a:lnTo>
                    <a:pt x="389265" y="147670"/>
                  </a:lnTo>
                  <a:lnTo>
                    <a:pt x="402689" y="166528"/>
                  </a:lnTo>
                  <a:lnTo>
                    <a:pt x="412045" y="159961"/>
                  </a:lnTo>
                  <a:lnTo>
                    <a:pt x="421497" y="153529"/>
                  </a:lnTo>
                  <a:lnTo>
                    <a:pt x="431040" y="147230"/>
                  </a:lnTo>
                  <a:lnTo>
                    <a:pt x="440667" y="141063"/>
                  </a:lnTo>
                  <a:lnTo>
                    <a:pt x="428311" y="121493"/>
                  </a:lnTo>
                  <a:close/>
                </a:path>
                <a:path w="2506345" h="4854575" extrusionOk="0">
                  <a:moveTo>
                    <a:pt x="1191513" y="82845"/>
                  </a:moveTo>
                  <a:lnTo>
                    <a:pt x="1181094" y="103536"/>
                  </a:lnTo>
                  <a:lnTo>
                    <a:pt x="1191253" y="108715"/>
                  </a:lnTo>
                  <a:lnTo>
                    <a:pt x="1201329" y="114055"/>
                  </a:lnTo>
                  <a:lnTo>
                    <a:pt x="1211327" y="119546"/>
                  </a:lnTo>
                  <a:lnTo>
                    <a:pt x="1221250" y="125179"/>
                  </a:lnTo>
                  <a:lnTo>
                    <a:pt x="1232862" y="105148"/>
                  </a:lnTo>
                  <a:lnTo>
                    <a:pt x="1222638" y="99329"/>
                  </a:lnTo>
                  <a:lnTo>
                    <a:pt x="1212337" y="93671"/>
                  </a:lnTo>
                  <a:lnTo>
                    <a:pt x="1201961" y="88175"/>
                  </a:lnTo>
                  <a:lnTo>
                    <a:pt x="1191513" y="82845"/>
                  </a:lnTo>
                  <a:close/>
                </a:path>
                <a:path w="2506345" h="4854575" extrusionOk="0">
                  <a:moveTo>
                    <a:pt x="510570" y="76050"/>
                  </a:moveTo>
                  <a:lnTo>
                    <a:pt x="500018" y="81192"/>
                  </a:lnTo>
                  <a:lnTo>
                    <a:pt x="489536" y="86490"/>
                  </a:lnTo>
                  <a:lnTo>
                    <a:pt x="479126" y="91948"/>
                  </a:lnTo>
                  <a:lnTo>
                    <a:pt x="468792" y="97567"/>
                  </a:lnTo>
                  <a:lnTo>
                    <a:pt x="479985" y="117839"/>
                  </a:lnTo>
                  <a:lnTo>
                    <a:pt x="490016" y="112385"/>
                  </a:lnTo>
                  <a:lnTo>
                    <a:pt x="500127" y="107084"/>
                  </a:lnTo>
                  <a:lnTo>
                    <a:pt x="510310" y="101938"/>
                  </a:lnTo>
                  <a:lnTo>
                    <a:pt x="520560" y="96949"/>
                  </a:lnTo>
                  <a:lnTo>
                    <a:pt x="510570" y="76050"/>
                  </a:lnTo>
                  <a:close/>
                </a:path>
                <a:path w="2506345" h="4854575" extrusionOk="0">
                  <a:moveTo>
                    <a:pt x="1105149" y="45694"/>
                  </a:moveTo>
                  <a:lnTo>
                    <a:pt x="1097285" y="67484"/>
                  </a:lnTo>
                  <a:lnTo>
                    <a:pt x="1108001" y="71438"/>
                  </a:lnTo>
                  <a:lnTo>
                    <a:pt x="1118645" y="75553"/>
                  </a:lnTo>
                  <a:lnTo>
                    <a:pt x="1129216" y="79828"/>
                  </a:lnTo>
                  <a:lnTo>
                    <a:pt x="1139713" y="84259"/>
                  </a:lnTo>
                  <a:lnTo>
                    <a:pt x="1148896" y="62992"/>
                  </a:lnTo>
                  <a:lnTo>
                    <a:pt x="1138059" y="58422"/>
                  </a:lnTo>
                  <a:lnTo>
                    <a:pt x="1127148" y="54014"/>
                  </a:lnTo>
                  <a:lnTo>
                    <a:pt x="1116175" y="49770"/>
                  </a:lnTo>
                  <a:lnTo>
                    <a:pt x="1105149" y="45694"/>
                  </a:lnTo>
                  <a:close/>
                </a:path>
                <a:path w="2506345" h="4854575" extrusionOk="0">
                  <a:moveTo>
                    <a:pt x="597552" y="40637"/>
                  </a:moveTo>
                  <a:lnTo>
                    <a:pt x="586451" y="44495"/>
                  </a:lnTo>
                  <a:lnTo>
                    <a:pt x="575420" y="48515"/>
                  </a:lnTo>
                  <a:lnTo>
                    <a:pt x="564458" y="52698"/>
                  </a:lnTo>
                  <a:lnTo>
                    <a:pt x="553564" y="57045"/>
                  </a:lnTo>
                  <a:lnTo>
                    <a:pt x="562276" y="78479"/>
                  </a:lnTo>
                  <a:lnTo>
                    <a:pt x="572850" y="74268"/>
                  </a:lnTo>
                  <a:lnTo>
                    <a:pt x="583492" y="70211"/>
                  </a:lnTo>
                  <a:lnTo>
                    <a:pt x="594202" y="66309"/>
                  </a:lnTo>
                  <a:lnTo>
                    <a:pt x="604976" y="62563"/>
                  </a:lnTo>
                  <a:lnTo>
                    <a:pt x="597552" y="40637"/>
                  </a:lnTo>
                  <a:close/>
                </a:path>
                <a:path w="2506345" h="4854575" extrusionOk="0">
                  <a:moveTo>
                    <a:pt x="1014848" y="19182"/>
                  </a:moveTo>
                  <a:lnTo>
                    <a:pt x="1009676" y="41768"/>
                  </a:lnTo>
                  <a:lnTo>
                    <a:pt x="1020817" y="44400"/>
                  </a:lnTo>
                  <a:lnTo>
                    <a:pt x="1031893" y="47194"/>
                  </a:lnTo>
                  <a:lnTo>
                    <a:pt x="1042905" y="50158"/>
                  </a:lnTo>
                  <a:lnTo>
                    <a:pt x="1053852" y="53296"/>
                  </a:lnTo>
                  <a:lnTo>
                    <a:pt x="1060417" y="31077"/>
                  </a:lnTo>
                  <a:lnTo>
                    <a:pt x="1049118" y="27843"/>
                  </a:lnTo>
                  <a:lnTo>
                    <a:pt x="1037751" y="24784"/>
                  </a:lnTo>
                  <a:lnTo>
                    <a:pt x="1026324" y="21898"/>
                  </a:lnTo>
                  <a:lnTo>
                    <a:pt x="1014848" y="19182"/>
                  </a:lnTo>
                  <a:close/>
                </a:path>
                <a:path w="2506345" h="4854575" extrusionOk="0">
                  <a:moveTo>
                    <a:pt x="688188" y="15957"/>
                  </a:moveTo>
                  <a:lnTo>
                    <a:pt x="676648" y="18440"/>
                  </a:lnTo>
                  <a:lnTo>
                    <a:pt x="665180" y="21098"/>
                  </a:lnTo>
                  <a:lnTo>
                    <a:pt x="653784" y="23929"/>
                  </a:lnTo>
                  <a:lnTo>
                    <a:pt x="642462" y="26931"/>
                  </a:lnTo>
                  <a:lnTo>
                    <a:pt x="648514" y="49255"/>
                  </a:lnTo>
                  <a:lnTo>
                    <a:pt x="659527" y="46351"/>
                  </a:lnTo>
                  <a:lnTo>
                    <a:pt x="670593" y="43613"/>
                  </a:lnTo>
                  <a:lnTo>
                    <a:pt x="681708" y="41044"/>
                  </a:lnTo>
                  <a:lnTo>
                    <a:pt x="692868" y="38648"/>
                  </a:lnTo>
                  <a:lnTo>
                    <a:pt x="688188" y="15957"/>
                  </a:lnTo>
                  <a:close/>
                </a:path>
                <a:path w="2506345" h="4854575" extrusionOk="0">
                  <a:moveTo>
                    <a:pt x="922076" y="3947"/>
                  </a:moveTo>
                  <a:lnTo>
                    <a:pt x="919752" y="26962"/>
                  </a:lnTo>
                  <a:lnTo>
                    <a:pt x="931127" y="28215"/>
                  </a:lnTo>
                  <a:lnTo>
                    <a:pt x="942450" y="29635"/>
                  </a:lnTo>
                  <a:lnTo>
                    <a:pt x="953721" y="31223"/>
                  </a:lnTo>
                  <a:lnTo>
                    <a:pt x="964944" y="32983"/>
                  </a:lnTo>
                  <a:lnTo>
                    <a:pt x="968713" y="10146"/>
                  </a:lnTo>
                  <a:lnTo>
                    <a:pt x="957125" y="8320"/>
                  </a:lnTo>
                  <a:lnTo>
                    <a:pt x="945485" y="6677"/>
                  </a:lnTo>
                  <a:lnTo>
                    <a:pt x="933800" y="5219"/>
                  </a:lnTo>
                  <a:lnTo>
                    <a:pt x="922076" y="3947"/>
                  </a:lnTo>
                  <a:close/>
                </a:path>
                <a:path w="2506345" h="4854575" extrusionOk="0">
                  <a:moveTo>
                    <a:pt x="781201" y="2544"/>
                  </a:moveTo>
                  <a:lnTo>
                    <a:pt x="769445" y="3610"/>
                  </a:lnTo>
                  <a:lnTo>
                    <a:pt x="757738" y="4846"/>
                  </a:lnTo>
                  <a:lnTo>
                    <a:pt x="746082" y="6253"/>
                  </a:lnTo>
                  <a:lnTo>
                    <a:pt x="734480" y="7832"/>
                  </a:lnTo>
                  <a:lnTo>
                    <a:pt x="737789" y="30763"/>
                  </a:lnTo>
                  <a:lnTo>
                    <a:pt x="749056" y="29224"/>
                  </a:lnTo>
                  <a:lnTo>
                    <a:pt x="760365" y="27857"/>
                  </a:lnTo>
                  <a:lnTo>
                    <a:pt x="771716" y="26664"/>
                  </a:lnTo>
                  <a:lnTo>
                    <a:pt x="783107" y="25643"/>
                  </a:lnTo>
                  <a:lnTo>
                    <a:pt x="781201" y="2544"/>
                  </a:lnTo>
                  <a:close/>
                </a:path>
                <a:path w="2506345" h="4854575" extrusionOk="0">
                  <a:moveTo>
                    <a:pt x="874278" y="23200"/>
                  </a:moveTo>
                  <a:lnTo>
                    <a:pt x="850684" y="23200"/>
                  </a:lnTo>
                  <a:lnTo>
                    <a:pt x="858552" y="23309"/>
                  </a:lnTo>
                  <a:lnTo>
                    <a:pt x="866416" y="23491"/>
                  </a:lnTo>
                  <a:lnTo>
                    <a:pt x="874256" y="23758"/>
                  </a:lnTo>
                  <a:lnTo>
                    <a:pt x="874278" y="23200"/>
                  </a:lnTo>
                  <a:close/>
                </a:path>
                <a:path w="2506345" h="4854575" extrusionOk="0">
                  <a:moveTo>
                    <a:pt x="844141" y="0"/>
                  </a:moveTo>
                  <a:lnTo>
                    <a:pt x="828163" y="136"/>
                  </a:lnTo>
                  <a:lnTo>
                    <a:pt x="828665" y="23308"/>
                  </a:lnTo>
                  <a:lnTo>
                    <a:pt x="874278" y="23200"/>
                  </a:lnTo>
                  <a:lnTo>
                    <a:pt x="875198" y="638"/>
                  </a:lnTo>
                  <a:lnTo>
                    <a:pt x="867449" y="344"/>
                  </a:lnTo>
                  <a:lnTo>
                    <a:pt x="859689" y="146"/>
                  </a:lnTo>
                  <a:lnTo>
                    <a:pt x="844141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101;p1"/>
            <p:cNvSpPr/>
            <p:nvPr/>
          </p:nvSpPr>
          <p:spPr>
            <a:xfrm>
              <a:off x="3395645" y="7632270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5" h="23495" extrusionOk="0">
                  <a:moveTo>
                    <a:pt x="649" y="0"/>
                  </a:moveTo>
                  <a:lnTo>
                    <a:pt x="0" y="23172"/>
                  </a:lnTo>
                  <a:lnTo>
                    <a:pt x="7832" y="23381"/>
                  </a:lnTo>
                  <a:lnTo>
                    <a:pt x="23486" y="23475"/>
                  </a:lnTo>
                  <a:lnTo>
                    <a:pt x="23486" y="314"/>
                  </a:lnTo>
                  <a:lnTo>
                    <a:pt x="8230" y="219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102;p1"/>
            <p:cNvSpPr/>
            <p:nvPr/>
          </p:nvSpPr>
          <p:spPr>
            <a:xfrm>
              <a:off x="830241" y="8136128"/>
              <a:ext cx="46355" cy="4429125"/>
            </a:xfrm>
            <a:custGeom>
              <a:avLst/>
              <a:gdLst/>
              <a:ahLst/>
              <a:cxnLst/>
              <a:rect l="l" t="t" r="r" b="b"/>
              <a:pathLst>
                <a:path w="46355" h="4429125" extrusionOk="0">
                  <a:moveTo>
                    <a:pt x="46312" y="1884015"/>
                  </a:moveTo>
                  <a:lnTo>
                    <a:pt x="34893" y="1891100"/>
                  </a:lnTo>
                  <a:lnTo>
                    <a:pt x="23364" y="1898011"/>
                  </a:lnTo>
                  <a:lnTo>
                    <a:pt x="11731" y="1904743"/>
                  </a:lnTo>
                  <a:lnTo>
                    <a:pt x="0" y="1911292"/>
                  </a:lnTo>
                  <a:lnTo>
                    <a:pt x="0" y="4428933"/>
                  </a:lnTo>
                  <a:lnTo>
                    <a:pt x="46312" y="4428933"/>
                  </a:lnTo>
                  <a:lnTo>
                    <a:pt x="46312" y="1884015"/>
                  </a:lnTo>
                  <a:close/>
                </a:path>
                <a:path w="46355" h="4429125" extrusionOk="0">
                  <a:moveTo>
                    <a:pt x="46312" y="0"/>
                  </a:moveTo>
                  <a:lnTo>
                    <a:pt x="0" y="0"/>
                  </a:lnTo>
                  <a:lnTo>
                    <a:pt x="0" y="1858048"/>
                  </a:lnTo>
                  <a:lnTo>
                    <a:pt x="11753" y="1850992"/>
                  </a:lnTo>
                  <a:lnTo>
                    <a:pt x="23391" y="1843742"/>
                  </a:lnTo>
                  <a:lnTo>
                    <a:pt x="34912" y="1836299"/>
                  </a:lnTo>
                  <a:lnTo>
                    <a:pt x="46312" y="1828666"/>
                  </a:lnTo>
                  <a:lnTo>
                    <a:pt x="46312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"/>
            <p:cNvSpPr/>
            <p:nvPr/>
          </p:nvSpPr>
          <p:spPr>
            <a:xfrm>
              <a:off x="3677961" y="11016837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2" y="4705"/>
                  </a:lnTo>
                  <a:lnTo>
                    <a:pt x="141427" y="18201"/>
                  </a:lnTo>
                  <a:lnTo>
                    <a:pt x="102089" y="39556"/>
                  </a:lnTo>
                  <a:lnTo>
                    <a:pt x="67817" y="67838"/>
                  </a:lnTo>
                  <a:lnTo>
                    <a:pt x="39542" y="102114"/>
                  </a:lnTo>
                  <a:lnTo>
                    <a:pt x="18194" y="141454"/>
                  </a:lnTo>
                  <a:lnTo>
                    <a:pt x="4703" y="184924"/>
                  </a:lnTo>
                  <a:lnTo>
                    <a:pt x="0" y="231595"/>
                  </a:lnTo>
                  <a:lnTo>
                    <a:pt x="4703" y="278278"/>
                  </a:lnTo>
                  <a:lnTo>
                    <a:pt x="18194" y="321756"/>
                  </a:lnTo>
                  <a:lnTo>
                    <a:pt x="39542" y="361100"/>
                  </a:lnTo>
                  <a:lnTo>
                    <a:pt x="67817" y="395378"/>
                  </a:lnTo>
                  <a:lnTo>
                    <a:pt x="102089" y="423658"/>
                  </a:lnTo>
                  <a:lnTo>
                    <a:pt x="141427" y="445011"/>
                  </a:lnTo>
                  <a:lnTo>
                    <a:pt x="184902" y="458506"/>
                  </a:lnTo>
                  <a:lnTo>
                    <a:pt x="231584" y="463211"/>
                  </a:lnTo>
                  <a:lnTo>
                    <a:pt x="278255" y="458506"/>
                  </a:lnTo>
                  <a:lnTo>
                    <a:pt x="321727" y="445011"/>
                  </a:lnTo>
                  <a:lnTo>
                    <a:pt x="361068" y="423658"/>
                  </a:lnTo>
                  <a:lnTo>
                    <a:pt x="395346" y="395378"/>
                  </a:lnTo>
                  <a:lnTo>
                    <a:pt x="423630" y="361100"/>
                  </a:lnTo>
                  <a:lnTo>
                    <a:pt x="444986" y="321756"/>
                  </a:lnTo>
                  <a:lnTo>
                    <a:pt x="458483" y="278278"/>
                  </a:lnTo>
                  <a:lnTo>
                    <a:pt x="463190" y="231595"/>
                  </a:lnTo>
                  <a:lnTo>
                    <a:pt x="458483" y="184924"/>
                  </a:lnTo>
                  <a:lnTo>
                    <a:pt x="444986" y="141454"/>
                  </a:lnTo>
                  <a:lnTo>
                    <a:pt x="423630" y="102114"/>
                  </a:lnTo>
                  <a:lnTo>
                    <a:pt x="395346" y="67838"/>
                  </a:lnTo>
                  <a:lnTo>
                    <a:pt x="361068" y="39556"/>
                  </a:lnTo>
                  <a:lnTo>
                    <a:pt x="321727" y="18201"/>
                  </a:lnTo>
                  <a:lnTo>
                    <a:pt x="278255" y="4705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"/>
            <p:cNvSpPr/>
            <p:nvPr/>
          </p:nvSpPr>
          <p:spPr>
            <a:xfrm>
              <a:off x="1960254" y="8294417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74" y="0"/>
                  </a:moveTo>
                  <a:lnTo>
                    <a:pt x="184901" y="4704"/>
                  </a:lnTo>
                  <a:lnTo>
                    <a:pt x="141432" y="18195"/>
                  </a:lnTo>
                  <a:lnTo>
                    <a:pt x="102095" y="39545"/>
                  </a:lnTo>
                  <a:lnTo>
                    <a:pt x="67823" y="67821"/>
                  </a:lnTo>
                  <a:lnTo>
                    <a:pt x="39547" y="102093"/>
                  </a:lnTo>
                  <a:lnTo>
                    <a:pt x="18197" y="141432"/>
                  </a:lnTo>
                  <a:lnTo>
                    <a:pt x="4704" y="184905"/>
                  </a:lnTo>
                  <a:lnTo>
                    <a:pt x="0" y="231584"/>
                  </a:lnTo>
                  <a:lnTo>
                    <a:pt x="4704" y="278252"/>
                  </a:lnTo>
                  <a:lnTo>
                    <a:pt x="18197" y="321722"/>
                  </a:lnTo>
                  <a:lnTo>
                    <a:pt x="39547" y="361063"/>
                  </a:lnTo>
                  <a:lnTo>
                    <a:pt x="67823" y="395342"/>
                  </a:lnTo>
                  <a:lnTo>
                    <a:pt x="102095" y="423627"/>
                  </a:lnTo>
                  <a:lnTo>
                    <a:pt x="141432" y="444984"/>
                  </a:lnTo>
                  <a:lnTo>
                    <a:pt x="184901" y="458483"/>
                  </a:lnTo>
                  <a:lnTo>
                    <a:pt x="231574" y="463190"/>
                  </a:lnTo>
                  <a:lnTo>
                    <a:pt x="278252" y="458483"/>
                  </a:lnTo>
                  <a:lnTo>
                    <a:pt x="321726" y="444984"/>
                  </a:lnTo>
                  <a:lnTo>
                    <a:pt x="361064" y="423627"/>
                  </a:lnTo>
                  <a:lnTo>
                    <a:pt x="395337" y="395342"/>
                  </a:lnTo>
                  <a:lnTo>
                    <a:pt x="423613" y="361063"/>
                  </a:lnTo>
                  <a:lnTo>
                    <a:pt x="444962" y="321722"/>
                  </a:lnTo>
                  <a:lnTo>
                    <a:pt x="458454" y="278252"/>
                  </a:lnTo>
                  <a:lnTo>
                    <a:pt x="463158" y="231584"/>
                  </a:lnTo>
                  <a:lnTo>
                    <a:pt x="458454" y="184905"/>
                  </a:lnTo>
                  <a:lnTo>
                    <a:pt x="444962" y="141432"/>
                  </a:lnTo>
                  <a:lnTo>
                    <a:pt x="423613" y="102093"/>
                  </a:lnTo>
                  <a:lnTo>
                    <a:pt x="395337" y="67821"/>
                  </a:lnTo>
                  <a:lnTo>
                    <a:pt x="361064" y="39545"/>
                  </a:lnTo>
                  <a:lnTo>
                    <a:pt x="321726" y="18195"/>
                  </a:lnTo>
                  <a:lnTo>
                    <a:pt x="278252" y="4704"/>
                  </a:lnTo>
                  <a:lnTo>
                    <a:pt x="23157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105;p1"/>
            <p:cNvSpPr/>
            <p:nvPr/>
          </p:nvSpPr>
          <p:spPr>
            <a:xfrm>
              <a:off x="19139825" y="697309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106;p1"/>
            <p:cNvSpPr/>
            <p:nvPr/>
          </p:nvSpPr>
          <p:spPr>
            <a:xfrm>
              <a:off x="19139836" y="7030843"/>
              <a:ext cx="964565" cy="4239260"/>
            </a:xfrm>
            <a:custGeom>
              <a:avLst/>
              <a:gdLst/>
              <a:ahLst/>
              <a:cxnLst/>
              <a:rect l="l" t="t" r="r" b="b"/>
              <a:pathLst>
                <a:path w="964565" h="4239259" extrusionOk="0">
                  <a:moveTo>
                    <a:pt x="951321" y="4215013"/>
                  </a:moveTo>
                  <a:lnTo>
                    <a:pt x="949929" y="4238111"/>
                  </a:lnTo>
                  <a:lnTo>
                    <a:pt x="954693" y="4238415"/>
                  </a:lnTo>
                  <a:lnTo>
                    <a:pt x="964263" y="4238876"/>
                  </a:lnTo>
                  <a:lnTo>
                    <a:pt x="964263" y="4215683"/>
                  </a:lnTo>
                  <a:lnTo>
                    <a:pt x="951321" y="4215013"/>
                  </a:lnTo>
                  <a:close/>
                </a:path>
                <a:path w="964565" h="4239259" extrusionOk="0">
                  <a:moveTo>
                    <a:pt x="860947" y="4204594"/>
                  </a:moveTo>
                  <a:lnTo>
                    <a:pt x="891707" y="4232644"/>
                  </a:lnTo>
                  <a:lnTo>
                    <a:pt x="903386" y="4234070"/>
                  </a:lnTo>
                  <a:lnTo>
                    <a:pt x="906003" y="4211023"/>
                  </a:lnTo>
                  <a:lnTo>
                    <a:pt x="894665" y="4209636"/>
                  </a:lnTo>
                  <a:lnTo>
                    <a:pt x="883377" y="4208107"/>
                  </a:lnTo>
                  <a:lnTo>
                    <a:pt x="872138" y="4206429"/>
                  </a:lnTo>
                  <a:lnTo>
                    <a:pt x="860947" y="4204594"/>
                  </a:lnTo>
                  <a:close/>
                </a:path>
                <a:path w="964565" h="4239259" extrusionOk="0">
                  <a:moveTo>
                    <a:pt x="772290" y="4184605"/>
                  </a:moveTo>
                  <a:lnTo>
                    <a:pt x="799820" y="4215712"/>
                  </a:lnTo>
                  <a:lnTo>
                    <a:pt x="811189" y="4218363"/>
                  </a:lnTo>
                  <a:lnTo>
                    <a:pt x="816299" y="4195788"/>
                  </a:lnTo>
                  <a:lnTo>
                    <a:pt x="805228" y="4193206"/>
                  </a:lnTo>
                  <a:lnTo>
                    <a:pt x="794197" y="4190483"/>
                  </a:lnTo>
                  <a:lnTo>
                    <a:pt x="783214" y="4187617"/>
                  </a:lnTo>
                  <a:lnTo>
                    <a:pt x="772290" y="4184605"/>
                  </a:lnTo>
                  <a:close/>
                </a:path>
                <a:path w="964565" h="4239259" extrusionOk="0">
                  <a:moveTo>
                    <a:pt x="686199" y="4155297"/>
                  </a:moveTo>
                  <a:lnTo>
                    <a:pt x="710404" y="4189145"/>
                  </a:lnTo>
                  <a:lnTo>
                    <a:pt x="721454" y="4192992"/>
                  </a:lnTo>
                  <a:lnTo>
                    <a:pt x="728920" y="4171056"/>
                  </a:lnTo>
                  <a:lnTo>
                    <a:pt x="718157" y="4167315"/>
                  </a:lnTo>
                  <a:lnTo>
                    <a:pt x="707457" y="4163436"/>
                  </a:lnTo>
                  <a:lnTo>
                    <a:pt x="696808" y="4159426"/>
                  </a:lnTo>
                  <a:lnTo>
                    <a:pt x="686199" y="4155297"/>
                  </a:lnTo>
                  <a:close/>
                </a:path>
                <a:path w="964565" h="4239259" extrusionOk="0">
                  <a:moveTo>
                    <a:pt x="603426" y="4117204"/>
                  </a:moveTo>
                  <a:lnTo>
                    <a:pt x="592714" y="4137716"/>
                  </a:lnTo>
                  <a:lnTo>
                    <a:pt x="603112" y="4143084"/>
                  </a:lnTo>
                  <a:lnTo>
                    <a:pt x="613572" y="4148308"/>
                  </a:lnTo>
                  <a:lnTo>
                    <a:pt x="624096" y="4153398"/>
                  </a:lnTo>
                  <a:lnTo>
                    <a:pt x="634682" y="4158365"/>
                  </a:lnTo>
                  <a:lnTo>
                    <a:pt x="644409" y="4137350"/>
                  </a:lnTo>
                  <a:lnTo>
                    <a:pt x="634084" y="4132496"/>
                  </a:lnTo>
                  <a:lnTo>
                    <a:pt x="623812" y="4127516"/>
                  </a:lnTo>
                  <a:lnTo>
                    <a:pt x="613592" y="4122418"/>
                  </a:lnTo>
                  <a:lnTo>
                    <a:pt x="603426" y="4117204"/>
                  </a:lnTo>
                  <a:close/>
                </a:path>
                <a:path w="964565" h="4239259" extrusionOk="0">
                  <a:moveTo>
                    <a:pt x="524811" y="4070954"/>
                  </a:moveTo>
                  <a:lnTo>
                    <a:pt x="512110" y="4090315"/>
                  </a:lnTo>
                  <a:lnTo>
                    <a:pt x="521945" y="4096664"/>
                  </a:lnTo>
                  <a:lnTo>
                    <a:pt x="531851" y="4102897"/>
                  </a:lnTo>
                  <a:lnTo>
                    <a:pt x="541825" y="4109014"/>
                  </a:lnTo>
                  <a:lnTo>
                    <a:pt x="551868" y="4115016"/>
                  </a:lnTo>
                  <a:lnTo>
                    <a:pt x="563616" y="4095079"/>
                  </a:lnTo>
                  <a:lnTo>
                    <a:pt x="553814" y="4089217"/>
                  </a:lnTo>
                  <a:lnTo>
                    <a:pt x="544076" y="4083240"/>
                  </a:lnTo>
                  <a:lnTo>
                    <a:pt x="534406" y="4077152"/>
                  </a:lnTo>
                  <a:lnTo>
                    <a:pt x="524811" y="4070954"/>
                  </a:lnTo>
                  <a:close/>
                </a:path>
                <a:path w="964565" h="4239259" extrusionOk="0">
                  <a:moveTo>
                    <a:pt x="450813" y="4017228"/>
                  </a:moveTo>
                  <a:lnTo>
                    <a:pt x="436342" y="4035332"/>
                  </a:lnTo>
                  <a:lnTo>
                    <a:pt x="445558" y="4042603"/>
                  </a:lnTo>
                  <a:lnTo>
                    <a:pt x="454834" y="4049760"/>
                  </a:lnTo>
                  <a:lnTo>
                    <a:pt x="464181" y="4056796"/>
                  </a:lnTo>
                  <a:lnTo>
                    <a:pt x="473608" y="4063708"/>
                  </a:lnTo>
                  <a:lnTo>
                    <a:pt x="487168" y="4044944"/>
                  </a:lnTo>
                  <a:lnTo>
                    <a:pt x="477979" y="4038186"/>
                  </a:lnTo>
                  <a:lnTo>
                    <a:pt x="468853" y="4031318"/>
                  </a:lnTo>
                  <a:lnTo>
                    <a:pt x="459796" y="4024334"/>
                  </a:lnTo>
                  <a:lnTo>
                    <a:pt x="450813" y="4017228"/>
                  </a:lnTo>
                  <a:close/>
                </a:path>
                <a:path w="964565" h="4239259" extrusionOk="0">
                  <a:moveTo>
                    <a:pt x="382208" y="3957115"/>
                  </a:moveTo>
                  <a:lnTo>
                    <a:pt x="366219" y="3973795"/>
                  </a:lnTo>
                  <a:lnTo>
                    <a:pt x="374687" y="3981845"/>
                  </a:lnTo>
                  <a:lnTo>
                    <a:pt x="383246" y="3989789"/>
                  </a:lnTo>
                  <a:lnTo>
                    <a:pt x="391885" y="3997631"/>
                  </a:lnTo>
                  <a:lnTo>
                    <a:pt x="400595" y="4005375"/>
                  </a:lnTo>
                  <a:lnTo>
                    <a:pt x="415893" y="3987951"/>
                  </a:lnTo>
                  <a:lnTo>
                    <a:pt x="407356" y="3980391"/>
                  </a:lnTo>
                  <a:lnTo>
                    <a:pt x="398897" y="3972729"/>
                  </a:lnTo>
                  <a:lnTo>
                    <a:pt x="390515" y="3964969"/>
                  </a:lnTo>
                  <a:lnTo>
                    <a:pt x="382208" y="3957115"/>
                  </a:lnTo>
                  <a:close/>
                </a:path>
                <a:path w="964565" h="4239259" extrusionOk="0">
                  <a:moveTo>
                    <a:pt x="319131" y="3891096"/>
                  </a:moveTo>
                  <a:lnTo>
                    <a:pt x="301729" y="3906394"/>
                  </a:lnTo>
                  <a:lnTo>
                    <a:pt x="309491" y="3915132"/>
                  </a:lnTo>
                  <a:lnTo>
                    <a:pt x="317326" y="3923782"/>
                  </a:lnTo>
                  <a:lnTo>
                    <a:pt x="325242" y="3932331"/>
                  </a:lnTo>
                  <a:lnTo>
                    <a:pt x="333246" y="3940770"/>
                  </a:lnTo>
                  <a:lnTo>
                    <a:pt x="349989" y="3924760"/>
                  </a:lnTo>
                  <a:lnTo>
                    <a:pt x="342153" y="3916490"/>
                  </a:lnTo>
                  <a:lnTo>
                    <a:pt x="334399" y="3908124"/>
                  </a:lnTo>
                  <a:lnTo>
                    <a:pt x="326725" y="3899660"/>
                  </a:lnTo>
                  <a:lnTo>
                    <a:pt x="319131" y="3891096"/>
                  </a:lnTo>
                  <a:close/>
                </a:path>
                <a:path w="964565" h="4239259" extrusionOk="0">
                  <a:moveTo>
                    <a:pt x="261845" y="3819956"/>
                  </a:moveTo>
                  <a:lnTo>
                    <a:pt x="243228" y="3833715"/>
                  </a:lnTo>
                  <a:lnTo>
                    <a:pt x="250222" y="3843089"/>
                  </a:lnTo>
                  <a:lnTo>
                    <a:pt x="257304" y="3852372"/>
                  </a:lnTo>
                  <a:lnTo>
                    <a:pt x="264471" y="3861557"/>
                  </a:lnTo>
                  <a:lnTo>
                    <a:pt x="271719" y="3870636"/>
                  </a:lnTo>
                  <a:lnTo>
                    <a:pt x="289771" y="3856102"/>
                  </a:lnTo>
                  <a:lnTo>
                    <a:pt x="282657" y="3847188"/>
                  </a:lnTo>
                  <a:lnTo>
                    <a:pt x="275627" y="3838194"/>
                  </a:lnTo>
                  <a:lnTo>
                    <a:pt x="268688" y="3829118"/>
                  </a:lnTo>
                  <a:lnTo>
                    <a:pt x="261845" y="3819956"/>
                  </a:lnTo>
                  <a:close/>
                </a:path>
                <a:path w="964565" h="4239259" extrusionOk="0">
                  <a:moveTo>
                    <a:pt x="210527" y="3744367"/>
                  </a:moveTo>
                  <a:lnTo>
                    <a:pt x="190842" y="3756629"/>
                  </a:lnTo>
                  <a:lnTo>
                    <a:pt x="197073" y="3766522"/>
                  </a:lnTo>
                  <a:lnTo>
                    <a:pt x="203389" y="3776332"/>
                  </a:lnTo>
                  <a:lnTo>
                    <a:pt x="209787" y="3786060"/>
                  </a:lnTo>
                  <a:lnTo>
                    <a:pt x="216265" y="3795706"/>
                  </a:lnTo>
                  <a:lnTo>
                    <a:pt x="235448" y="3782680"/>
                  </a:lnTo>
                  <a:lnTo>
                    <a:pt x="229073" y="3773233"/>
                  </a:lnTo>
                  <a:lnTo>
                    <a:pt x="222795" y="3763696"/>
                  </a:lnTo>
                  <a:lnTo>
                    <a:pt x="216613" y="3754073"/>
                  </a:lnTo>
                  <a:lnTo>
                    <a:pt x="210527" y="3744367"/>
                  </a:lnTo>
                  <a:close/>
                </a:path>
                <a:path w="964565" h="4239259" extrusionOk="0">
                  <a:moveTo>
                    <a:pt x="165220" y="3664987"/>
                  </a:moveTo>
                  <a:lnTo>
                    <a:pt x="144707" y="3675647"/>
                  </a:lnTo>
                  <a:lnTo>
                    <a:pt x="150144" y="3686011"/>
                  </a:lnTo>
                  <a:lnTo>
                    <a:pt x="155670" y="3696291"/>
                  </a:lnTo>
                  <a:lnTo>
                    <a:pt x="161290" y="3706488"/>
                  </a:lnTo>
                  <a:lnTo>
                    <a:pt x="167010" y="3716598"/>
                  </a:lnTo>
                  <a:lnTo>
                    <a:pt x="187125" y="3705112"/>
                  </a:lnTo>
                  <a:lnTo>
                    <a:pt x="181517" y="3695191"/>
                  </a:lnTo>
                  <a:lnTo>
                    <a:pt x="175999" y="3685199"/>
                  </a:lnTo>
                  <a:lnTo>
                    <a:pt x="170568" y="3675132"/>
                  </a:lnTo>
                  <a:lnTo>
                    <a:pt x="165220" y="3664987"/>
                  </a:lnTo>
                  <a:close/>
                </a:path>
                <a:path w="964565" h="4239259" extrusionOk="0">
                  <a:moveTo>
                    <a:pt x="126205" y="3582320"/>
                  </a:moveTo>
                  <a:lnTo>
                    <a:pt x="104897" y="3591408"/>
                  </a:lnTo>
                  <a:lnTo>
                    <a:pt x="109533" y="3602134"/>
                  </a:lnTo>
                  <a:lnTo>
                    <a:pt x="114268" y="3612795"/>
                  </a:lnTo>
                  <a:lnTo>
                    <a:pt x="119097" y="3623393"/>
                  </a:lnTo>
                  <a:lnTo>
                    <a:pt x="124017" y="3633931"/>
                  </a:lnTo>
                  <a:lnTo>
                    <a:pt x="144917" y="3624004"/>
                  </a:lnTo>
                  <a:lnTo>
                    <a:pt x="140107" y="3613688"/>
                  </a:lnTo>
                  <a:lnTo>
                    <a:pt x="135376" y="3603299"/>
                  </a:lnTo>
                  <a:lnTo>
                    <a:pt x="130738" y="3592842"/>
                  </a:lnTo>
                  <a:lnTo>
                    <a:pt x="126205" y="3582320"/>
                  </a:lnTo>
                  <a:close/>
                </a:path>
                <a:path w="964565" h="4239259" extrusionOk="0">
                  <a:moveTo>
                    <a:pt x="93306" y="3496972"/>
                  </a:moveTo>
                  <a:lnTo>
                    <a:pt x="71421" y="3504469"/>
                  </a:lnTo>
                  <a:lnTo>
                    <a:pt x="75281" y="3515498"/>
                  </a:lnTo>
                  <a:lnTo>
                    <a:pt x="79222" y="3526468"/>
                  </a:lnTo>
                  <a:lnTo>
                    <a:pt x="83242" y="3537375"/>
                  </a:lnTo>
                  <a:lnTo>
                    <a:pt x="87337" y="3548216"/>
                  </a:lnTo>
                  <a:lnTo>
                    <a:pt x="108970" y="3539955"/>
                  </a:lnTo>
                  <a:lnTo>
                    <a:pt x="104935" y="3529288"/>
                  </a:lnTo>
                  <a:lnTo>
                    <a:pt x="100973" y="3518569"/>
                  </a:lnTo>
                  <a:lnTo>
                    <a:pt x="97093" y="3507797"/>
                  </a:lnTo>
                  <a:lnTo>
                    <a:pt x="93306" y="3496972"/>
                  </a:lnTo>
                  <a:close/>
                </a:path>
                <a:path w="964565" h="4239259" extrusionOk="0">
                  <a:moveTo>
                    <a:pt x="66793" y="3409424"/>
                  </a:moveTo>
                  <a:lnTo>
                    <a:pt x="44427" y="3415351"/>
                  </a:lnTo>
                  <a:lnTo>
                    <a:pt x="47456" y="3426633"/>
                  </a:lnTo>
                  <a:lnTo>
                    <a:pt x="50584" y="3437854"/>
                  </a:lnTo>
                  <a:lnTo>
                    <a:pt x="53807" y="3449031"/>
                  </a:lnTo>
                  <a:lnTo>
                    <a:pt x="57118" y="3460177"/>
                  </a:lnTo>
                  <a:lnTo>
                    <a:pt x="79316" y="3453465"/>
                  </a:lnTo>
                  <a:lnTo>
                    <a:pt x="76045" y="3442526"/>
                  </a:lnTo>
                  <a:lnTo>
                    <a:pt x="72862" y="3431539"/>
                  </a:lnTo>
                  <a:lnTo>
                    <a:pt x="69776" y="3420505"/>
                  </a:lnTo>
                  <a:lnTo>
                    <a:pt x="66793" y="3409424"/>
                  </a:lnTo>
                  <a:close/>
                </a:path>
                <a:path w="964565" h="4239259" extrusionOk="0">
                  <a:moveTo>
                    <a:pt x="46553" y="3320171"/>
                  </a:moveTo>
                  <a:lnTo>
                    <a:pt x="23779" y="3324537"/>
                  </a:lnTo>
                  <a:lnTo>
                    <a:pt x="26040" y="3335992"/>
                  </a:lnTo>
                  <a:lnTo>
                    <a:pt x="28382" y="3347407"/>
                  </a:lnTo>
                  <a:lnTo>
                    <a:pt x="30813" y="3358776"/>
                  </a:lnTo>
                  <a:lnTo>
                    <a:pt x="33339" y="3370096"/>
                  </a:lnTo>
                  <a:lnTo>
                    <a:pt x="55914" y="3364997"/>
                  </a:lnTo>
                  <a:lnTo>
                    <a:pt x="53444" y="3353846"/>
                  </a:lnTo>
                  <a:lnTo>
                    <a:pt x="51061" y="3342662"/>
                  </a:lnTo>
                  <a:lnTo>
                    <a:pt x="48764" y="3331439"/>
                  </a:lnTo>
                  <a:lnTo>
                    <a:pt x="46553" y="3320171"/>
                  </a:lnTo>
                  <a:close/>
                </a:path>
                <a:path w="964565" h="4239259" extrusionOk="0">
                  <a:moveTo>
                    <a:pt x="32606" y="3229786"/>
                  </a:moveTo>
                  <a:lnTo>
                    <a:pt x="9633" y="3232529"/>
                  </a:lnTo>
                  <a:lnTo>
                    <a:pt x="11047" y="3244102"/>
                  </a:lnTo>
                  <a:lnTo>
                    <a:pt x="12570" y="3255653"/>
                  </a:lnTo>
                  <a:lnTo>
                    <a:pt x="14194" y="3267178"/>
                  </a:lnTo>
                  <a:lnTo>
                    <a:pt x="15915" y="3278675"/>
                  </a:lnTo>
                  <a:lnTo>
                    <a:pt x="38794" y="3275135"/>
                  </a:lnTo>
                  <a:lnTo>
                    <a:pt x="37116" y="3263854"/>
                  </a:lnTo>
                  <a:lnTo>
                    <a:pt x="35523" y="3252535"/>
                  </a:lnTo>
                  <a:lnTo>
                    <a:pt x="34019" y="3241179"/>
                  </a:lnTo>
                  <a:lnTo>
                    <a:pt x="32606" y="3229786"/>
                  </a:lnTo>
                  <a:close/>
                </a:path>
                <a:path w="964565" h="4239259" extrusionOk="0">
                  <a:moveTo>
                    <a:pt x="24878" y="3138606"/>
                  </a:moveTo>
                  <a:lnTo>
                    <a:pt x="1759" y="3139757"/>
                  </a:lnTo>
                  <a:lnTo>
                    <a:pt x="2391" y="3151404"/>
                  </a:lnTo>
                  <a:lnTo>
                    <a:pt x="3125" y="3163031"/>
                  </a:lnTo>
                  <a:lnTo>
                    <a:pt x="3961" y="3174631"/>
                  </a:lnTo>
                  <a:lnTo>
                    <a:pt x="4900" y="3186196"/>
                  </a:lnTo>
                  <a:lnTo>
                    <a:pt x="27957" y="3184269"/>
                  </a:lnTo>
                  <a:lnTo>
                    <a:pt x="27044" y="3172895"/>
                  </a:lnTo>
                  <a:lnTo>
                    <a:pt x="26225" y="3161496"/>
                  </a:lnTo>
                  <a:lnTo>
                    <a:pt x="25502" y="3150068"/>
                  </a:lnTo>
                  <a:lnTo>
                    <a:pt x="24878" y="3138606"/>
                  </a:lnTo>
                  <a:close/>
                </a:path>
                <a:path w="964565" h="4239259" extrusionOk="0">
                  <a:moveTo>
                    <a:pt x="23161" y="3046881"/>
                  </a:moveTo>
                  <a:lnTo>
                    <a:pt x="10" y="3046881"/>
                  </a:lnTo>
                  <a:lnTo>
                    <a:pt x="10" y="3077874"/>
                  </a:lnTo>
                  <a:lnTo>
                    <a:pt x="188" y="3093235"/>
                  </a:lnTo>
                  <a:lnTo>
                    <a:pt x="23350" y="3092869"/>
                  </a:lnTo>
                  <a:lnTo>
                    <a:pt x="23161" y="3046881"/>
                  </a:lnTo>
                  <a:close/>
                </a:path>
                <a:path w="964565" h="4239259" extrusionOk="0">
                  <a:moveTo>
                    <a:pt x="23161" y="2954548"/>
                  </a:moveTo>
                  <a:lnTo>
                    <a:pt x="0" y="2954548"/>
                  </a:lnTo>
                  <a:lnTo>
                    <a:pt x="0" y="3000735"/>
                  </a:lnTo>
                  <a:lnTo>
                    <a:pt x="23161" y="3000735"/>
                  </a:lnTo>
                  <a:lnTo>
                    <a:pt x="23161" y="2954548"/>
                  </a:lnTo>
                  <a:close/>
                </a:path>
                <a:path w="964565" h="4239259" extrusionOk="0">
                  <a:moveTo>
                    <a:pt x="23161" y="2862206"/>
                  </a:moveTo>
                  <a:lnTo>
                    <a:pt x="0" y="2862206"/>
                  </a:lnTo>
                  <a:lnTo>
                    <a:pt x="0" y="2908393"/>
                  </a:lnTo>
                  <a:lnTo>
                    <a:pt x="23161" y="2908393"/>
                  </a:lnTo>
                  <a:lnTo>
                    <a:pt x="23161" y="2862206"/>
                  </a:lnTo>
                  <a:close/>
                </a:path>
                <a:path w="964565" h="4239259" extrusionOk="0">
                  <a:moveTo>
                    <a:pt x="23161" y="2769884"/>
                  </a:moveTo>
                  <a:lnTo>
                    <a:pt x="0" y="2769884"/>
                  </a:lnTo>
                  <a:lnTo>
                    <a:pt x="0" y="2816081"/>
                  </a:lnTo>
                  <a:lnTo>
                    <a:pt x="23161" y="2816081"/>
                  </a:lnTo>
                  <a:lnTo>
                    <a:pt x="23161" y="2769884"/>
                  </a:lnTo>
                  <a:close/>
                </a:path>
                <a:path w="964565" h="4239259" extrusionOk="0">
                  <a:moveTo>
                    <a:pt x="23161" y="2677583"/>
                  </a:moveTo>
                  <a:lnTo>
                    <a:pt x="0" y="2677583"/>
                  </a:lnTo>
                  <a:lnTo>
                    <a:pt x="0" y="2723759"/>
                  </a:lnTo>
                  <a:lnTo>
                    <a:pt x="23161" y="2723759"/>
                  </a:lnTo>
                  <a:lnTo>
                    <a:pt x="23161" y="2677583"/>
                  </a:lnTo>
                  <a:close/>
                </a:path>
                <a:path w="964565" h="4239259" extrusionOk="0">
                  <a:moveTo>
                    <a:pt x="23161" y="2585240"/>
                  </a:moveTo>
                  <a:lnTo>
                    <a:pt x="0" y="2585240"/>
                  </a:lnTo>
                  <a:lnTo>
                    <a:pt x="0" y="2631417"/>
                  </a:lnTo>
                  <a:lnTo>
                    <a:pt x="23161" y="2631417"/>
                  </a:lnTo>
                  <a:lnTo>
                    <a:pt x="23161" y="2585240"/>
                  </a:lnTo>
                  <a:close/>
                </a:path>
                <a:path w="964565" h="4239259" extrusionOk="0">
                  <a:moveTo>
                    <a:pt x="23161" y="2492918"/>
                  </a:moveTo>
                  <a:lnTo>
                    <a:pt x="0" y="2492918"/>
                  </a:lnTo>
                  <a:lnTo>
                    <a:pt x="0" y="2539064"/>
                  </a:lnTo>
                  <a:lnTo>
                    <a:pt x="23161" y="2539064"/>
                  </a:lnTo>
                  <a:lnTo>
                    <a:pt x="23161" y="2492918"/>
                  </a:lnTo>
                  <a:close/>
                </a:path>
                <a:path w="964565" h="4239259" extrusionOk="0">
                  <a:moveTo>
                    <a:pt x="23161" y="2400607"/>
                  </a:moveTo>
                  <a:lnTo>
                    <a:pt x="0" y="2400607"/>
                  </a:lnTo>
                  <a:lnTo>
                    <a:pt x="0" y="2446742"/>
                  </a:lnTo>
                  <a:lnTo>
                    <a:pt x="23161" y="2446742"/>
                  </a:lnTo>
                  <a:lnTo>
                    <a:pt x="23161" y="2400607"/>
                  </a:lnTo>
                  <a:close/>
                </a:path>
                <a:path w="964565" h="4239259" extrusionOk="0">
                  <a:moveTo>
                    <a:pt x="23161" y="2308264"/>
                  </a:moveTo>
                  <a:lnTo>
                    <a:pt x="0" y="2308264"/>
                  </a:lnTo>
                  <a:lnTo>
                    <a:pt x="0" y="2354430"/>
                  </a:lnTo>
                  <a:lnTo>
                    <a:pt x="23161" y="2354430"/>
                  </a:lnTo>
                  <a:lnTo>
                    <a:pt x="23161" y="2308264"/>
                  </a:lnTo>
                  <a:close/>
                </a:path>
                <a:path w="964565" h="4239259" extrusionOk="0">
                  <a:moveTo>
                    <a:pt x="23161" y="2215911"/>
                  </a:moveTo>
                  <a:lnTo>
                    <a:pt x="0" y="2215911"/>
                  </a:lnTo>
                  <a:lnTo>
                    <a:pt x="0" y="2262098"/>
                  </a:lnTo>
                  <a:lnTo>
                    <a:pt x="23161" y="2262098"/>
                  </a:lnTo>
                  <a:lnTo>
                    <a:pt x="23161" y="2215911"/>
                  </a:lnTo>
                  <a:close/>
                </a:path>
                <a:path w="964565" h="4239259" extrusionOk="0">
                  <a:moveTo>
                    <a:pt x="23161" y="2123579"/>
                  </a:moveTo>
                  <a:lnTo>
                    <a:pt x="0" y="2123579"/>
                  </a:lnTo>
                  <a:lnTo>
                    <a:pt x="0" y="2169766"/>
                  </a:lnTo>
                  <a:lnTo>
                    <a:pt x="23161" y="2169766"/>
                  </a:lnTo>
                  <a:lnTo>
                    <a:pt x="23161" y="2123579"/>
                  </a:lnTo>
                  <a:close/>
                </a:path>
                <a:path w="964565" h="4239259" extrusionOk="0">
                  <a:moveTo>
                    <a:pt x="23161" y="2031267"/>
                  </a:moveTo>
                  <a:lnTo>
                    <a:pt x="0" y="2031267"/>
                  </a:lnTo>
                  <a:lnTo>
                    <a:pt x="0" y="2077455"/>
                  </a:lnTo>
                  <a:lnTo>
                    <a:pt x="23161" y="2077455"/>
                  </a:lnTo>
                  <a:lnTo>
                    <a:pt x="23161" y="2031267"/>
                  </a:lnTo>
                  <a:close/>
                </a:path>
                <a:path w="964565" h="4239259" extrusionOk="0">
                  <a:moveTo>
                    <a:pt x="23161" y="1938914"/>
                  </a:moveTo>
                  <a:lnTo>
                    <a:pt x="0" y="1938914"/>
                  </a:lnTo>
                  <a:lnTo>
                    <a:pt x="0" y="1985101"/>
                  </a:lnTo>
                  <a:lnTo>
                    <a:pt x="23161" y="1985101"/>
                  </a:lnTo>
                  <a:lnTo>
                    <a:pt x="23161" y="1938914"/>
                  </a:lnTo>
                  <a:close/>
                </a:path>
                <a:path w="964565" h="4239259" extrusionOk="0">
                  <a:moveTo>
                    <a:pt x="23161" y="1846613"/>
                  </a:moveTo>
                  <a:lnTo>
                    <a:pt x="0" y="1846613"/>
                  </a:lnTo>
                  <a:lnTo>
                    <a:pt x="0" y="1892759"/>
                  </a:lnTo>
                  <a:lnTo>
                    <a:pt x="23161" y="1892759"/>
                  </a:lnTo>
                  <a:lnTo>
                    <a:pt x="23161" y="1846613"/>
                  </a:lnTo>
                  <a:close/>
                </a:path>
                <a:path w="964565" h="4239259" extrusionOk="0">
                  <a:moveTo>
                    <a:pt x="23161" y="1754260"/>
                  </a:moveTo>
                  <a:lnTo>
                    <a:pt x="0" y="1754260"/>
                  </a:lnTo>
                  <a:lnTo>
                    <a:pt x="0" y="1800437"/>
                  </a:lnTo>
                  <a:lnTo>
                    <a:pt x="23161" y="1800437"/>
                  </a:lnTo>
                  <a:lnTo>
                    <a:pt x="23161" y="1754260"/>
                  </a:lnTo>
                  <a:close/>
                </a:path>
                <a:path w="964565" h="4239259" extrusionOk="0">
                  <a:moveTo>
                    <a:pt x="23161" y="1661928"/>
                  </a:moveTo>
                  <a:lnTo>
                    <a:pt x="0" y="1661928"/>
                  </a:lnTo>
                  <a:lnTo>
                    <a:pt x="0" y="1708126"/>
                  </a:lnTo>
                  <a:lnTo>
                    <a:pt x="23161" y="1708126"/>
                  </a:lnTo>
                  <a:lnTo>
                    <a:pt x="23161" y="1661928"/>
                  </a:lnTo>
                  <a:close/>
                </a:path>
                <a:path w="964565" h="4239259" extrusionOk="0">
                  <a:moveTo>
                    <a:pt x="23161" y="1569606"/>
                  </a:moveTo>
                  <a:lnTo>
                    <a:pt x="0" y="1569606"/>
                  </a:lnTo>
                  <a:lnTo>
                    <a:pt x="0" y="1615772"/>
                  </a:lnTo>
                  <a:lnTo>
                    <a:pt x="23161" y="1615772"/>
                  </a:lnTo>
                  <a:lnTo>
                    <a:pt x="23161" y="1569606"/>
                  </a:lnTo>
                  <a:close/>
                </a:path>
                <a:path w="964565" h="4239259" extrusionOk="0">
                  <a:moveTo>
                    <a:pt x="23161" y="1477284"/>
                  </a:moveTo>
                  <a:lnTo>
                    <a:pt x="0" y="1477284"/>
                  </a:lnTo>
                  <a:lnTo>
                    <a:pt x="0" y="1523461"/>
                  </a:lnTo>
                  <a:lnTo>
                    <a:pt x="23161" y="1523461"/>
                  </a:lnTo>
                  <a:lnTo>
                    <a:pt x="23161" y="1477284"/>
                  </a:lnTo>
                  <a:close/>
                </a:path>
                <a:path w="964565" h="4239259" extrusionOk="0">
                  <a:moveTo>
                    <a:pt x="23161" y="1384921"/>
                  </a:moveTo>
                  <a:lnTo>
                    <a:pt x="0" y="1384921"/>
                  </a:lnTo>
                  <a:lnTo>
                    <a:pt x="0" y="1431108"/>
                  </a:lnTo>
                  <a:lnTo>
                    <a:pt x="23161" y="1431108"/>
                  </a:lnTo>
                  <a:lnTo>
                    <a:pt x="23161" y="1384921"/>
                  </a:lnTo>
                  <a:close/>
                </a:path>
                <a:path w="964565" h="4239259" extrusionOk="0">
                  <a:moveTo>
                    <a:pt x="23161" y="1292609"/>
                  </a:moveTo>
                  <a:lnTo>
                    <a:pt x="0" y="1292609"/>
                  </a:lnTo>
                  <a:lnTo>
                    <a:pt x="0" y="1338796"/>
                  </a:lnTo>
                  <a:lnTo>
                    <a:pt x="23161" y="1338796"/>
                  </a:lnTo>
                  <a:lnTo>
                    <a:pt x="23161" y="1292609"/>
                  </a:lnTo>
                  <a:close/>
                </a:path>
                <a:path w="964565" h="4239259" extrusionOk="0">
                  <a:moveTo>
                    <a:pt x="23161" y="1200288"/>
                  </a:moveTo>
                  <a:lnTo>
                    <a:pt x="0" y="1200288"/>
                  </a:lnTo>
                  <a:lnTo>
                    <a:pt x="0" y="1246443"/>
                  </a:lnTo>
                  <a:lnTo>
                    <a:pt x="23161" y="1246443"/>
                  </a:lnTo>
                  <a:lnTo>
                    <a:pt x="23161" y="1200288"/>
                  </a:lnTo>
                  <a:close/>
                </a:path>
                <a:path w="964565" h="4239259" extrusionOk="0">
                  <a:moveTo>
                    <a:pt x="23161" y="1107987"/>
                  </a:moveTo>
                  <a:lnTo>
                    <a:pt x="0" y="1107987"/>
                  </a:lnTo>
                  <a:lnTo>
                    <a:pt x="0" y="1154132"/>
                  </a:lnTo>
                  <a:lnTo>
                    <a:pt x="23161" y="1154132"/>
                  </a:lnTo>
                  <a:lnTo>
                    <a:pt x="23161" y="1107987"/>
                  </a:lnTo>
                  <a:close/>
                </a:path>
                <a:path w="964565" h="4239259" extrusionOk="0">
                  <a:moveTo>
                    <a:pt x="23161" y="1015644"/>
                  </a:moveTo>
                  <a:lnTo>
                    <a:pt x="0" y="1015644"/>
                  </a:lnTo>
                  <a:lnTo>
                    <a:pt x="0" y="1061789"/>
                  </a:lnTo>
                  <a:lnTo>
                    <a:pt x="23161" y="1061789"/>
                  </a:lnTo>
                  <a:lnTo>
                    <a:pt x="23161" y="1015644"/>
                  </a:lnTo>
                  <a:close/>
                </a:path>
                <a:path w="964565" h="4239259" extrusionOk="0">
                  <a:moveTo>
                    <a:pt x="23161" y="923291"/>
                  </a:moveTo>
                  <a:lnTo>
                    <a:pt x="0" y="923291"/>
                  </a:lnTo>
                  <a:lnTo>
                    <a:pt x="0" y="969467"/>
                  </a:lnTo>
                  <a:lnTo>
                    <a:pt x="23161" y="969467"/>
                  </a:lnTo>
                  <a:lnTo>
                    <a:pt x="23161" y="923291"/>
                  </a:lnTo>
                  <a:close/>
                </a:path>
                <a:path w="964565" h="4239259" extrusionOk="0">
                  <a:moveTo>
                    <a:pt x="23161" y="830979"/>
                  </a:moveTo>
                  <a:lnTo>
                    <a:pt x="0" y="830979"/>
                  </a:lnTo>
                  <a:lnTo>
                    <a:pt x="0" y="877125"/>
                  </a:lnTo>
                  <a:lnTo>
                    <a:pt x="23161" y="877125"/>
                  </a:lnTo>
                  <a:lnTo>
                    <a:pt x="23161" y="830979"/>
                  </a:lnTo>
                  <a:close/>
                </a:path>
                <a:path w="964565" h="4239259" extrusionOk="0">
                  <a:moveTo>
                    <a:pt x="23161" y="738626"/>
                  </a:moveTo>
                  <a:lnTo>
                    <a:pt x="0" y="738626"/>
                  </a:lnTo>
                  <a:lnTo>
                    <a:pt x="0" y="784803"/>
                  </a:lnTo>
                  <a:lnTo>
                    <a:pt x="23161" y="784803"/>
                  </a:lnTo>
                  <a:lnTo>
                    <a:pt x="23161" y="738626"/>
                  </a:lnTo>
                  <a:close/>
                </a:path>
                <a:path w="964565" h="4239259" extrusionOk="0">
                  <a:moveTo>
                    <a:pt x="23161" y="646315"/>
                  </a:moveTo>
                  <a:lnTo>
                    <a:pt x="0" y="646315"/>
                  </a:lnTo>
                  <a:lnTo>
                    <a:pt x="0" y="692471"/>
                  </a:lnTo>
                  <a:lnTo>
                    <a:pt x="23161" y="692471"/>
                  </a:lnTo>
                  <a:lnTo>
                    <a:pt x="23161" y="646315"/>
                  </a:lnTo>
                  <a:close/>
                </a:path>
                <a:path w="964565" h="4239259" extrusionOk="0">
                  <a:moveTo>
                    <a:pt x="23161" y="553972"/>
                  </a:moveTo>
                  <a:lnTo>
                    <a:pt x="0" y="553972"/>
                  </a:lnTo>
                  <a:lnTo>
                    <a:pt x="0" y="600138"/>
                  </a:lnTo>
                  <a:lnTo>
                    <a:pt x="23161" y="600138"/>
                  </a:lnTo>
                  <a:lnTo>
                    <a:pt x="23161" y="553972"/>
                  </a:lnTo>
                  <a:close/>
                </a:path>
                <a:path w="964565" h="4239259" extrusionOk="0">
                  <a:moveTo>
                    <a:pt x="23161" y="461629"/>
                  </a:moveTo>
                  <a:lnTo>
                    <a:pt x="0" y="461629"/>
                  </a:lnTo>
                  <a:lnTo>
                    <a:pt x="0" y="507816"/>
                  </a:lnTo>
                  <a:lnTo>
                    <a:pt x="23161" y="507816"/>
                  </a:lnTo>
                  <a:lnTo>
                    <a:pt x="23161" y="461629"/>
                  </a:lnTo>
                  <a:close/>
                </a:path>
                <a:path w="964565" h="4239259" extrusionOk="0">
                  <a:moveTo>
                    <a:pt x="23161" y="369287"/>
                  </a:moveTo>
                  <a:lnTo>
                    <a:pt x="0" y="369287"/>
                  </a:lnTo>
                  <a:lnTo>
                    <a:pt x="0" y="415474"/>
                  </a:lnTo>
                  <a:lnTo>
                    <a:pt x="23161" y="415474"/>
                  </a:lnTo>
                  <a:lnTo>
                    <a:pt x="23161" y="369287"/>
                  </a:lnTo>
                  <a:close/>
                </a:path>
                <a:path w="964565" h="4239259" extrusionOk="0">
                  <a:moveTo>
                    <a:pt x="23161" y="276986"/>
                  </a:moveTo>
                  <a:lnTo>
                    <a:pt x="0" y="276986"/>
                  </a:lnTo>
                  <a:lnTo>
                    <a:pt x="0" y="323162"/>
                  </a:lnTo>
                  <a:lnTo>
                    <a:pt x="23161" y="323162"/>
                  </a:lnTo>
                  <a:lnTo>
                    <a:pt x="23161" y="276986"/>
                  </a:lnTo>
                  <a:close/>
                </a:path>
                <a:path w="964565" h="4239259" extrusionOk="0">
                  <a:moveTo>
                    <a:pt x="23161" y="184664"/>
                  </a:moveTo>
                  <a:lnTo>
                    <a:pt x="0" y="184664"/>
                  </a:lnTo>
                  <a:lnTo>
                    <a:pt x="0" y="230841"/>
                  </a:lnTo>
                  <a:lnTo>
                    <a:pt x="23161" y="230841"/>
                  </a:lnTo>
                  <a:lnTo>
                    <a:pt x="23161" y="184664"/>
                  </a:lnTo>
                  <a:close/>
                </a:path>
                <a:path w="964565" h="4239259" extrusionOk="0">
                  <a:moveTo>
                    <a:pt x="23161" y="92321"/>
                  </a:moveTo>
                  <a:lnTo>
                    <a:pt x="0" y="92321"/>
                  </a:lnTo>
                  <a:lnTo>
                    <a:pt x="0" y="138498"/>
                  </a:lnTo>
                  <a:lnTo>
                    <a:pt x="23161" y="138498"/>
                  </a:lnTo>
                  <a:lnTo>
                    <a:pt x="23161" y="92321"/>
                  </a:lnTo>
                  <a:close/>
                </a:path>
                <a:path w="964565" h="4239259" extrusionOk="0">
                  <a:moveTo>
                    <a:pt x="23161" y="0"/>
                  </a:moveTo>
                  <a:lnTo>
                    <a:pt x="0" y="0"/>
                  </a:lnTo>
                  <a:lnTo>
                    <a:pt x="0" y="46145"/>
                  </a:lnTo>
                  <a:lnTo>
                    <a:pt x="23161" y="46145"/>
                  </a:lnTo>
                  <a:lnTo>
                    <a:pt x="23161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107;p1"/>
            <p:cNvSpPr/>
            <p:nvPr/>
          </p:nvSpPr>
          <p:spPr>
            <a:xfrm>
              <a:off x="16525120" y="2652976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5" h="4309109" extrusionOk="0">
                  <a:moveTo>
                    <a:pt x="2036878" y="46302"/>
                  </a:moveTo>
                  <a:lnTo>
                    <a:pt x="1763516" y="46302"/>
                  </a:lnTo>
                  <a:lnTo>
                    <a:pt x="1809513" y="47641"/>
                  </a:lnTo>
                  <a:lnTo>
                    <a:pt x="1854870" y="51612"/>
                  </a:lnTo>
                  <a:lnTo>
                    <a:pt x="1899523" y="58146"/>
                  </a:lnTo>
                  <a:lnTo>
                    <a:pt x="1943408" y="67173"/>
                  </a:lnTo>
                  <a:lnTo>
                    <a:pt x="1986459" y="78624"/>
                  </a:lnTo>
                  <a:lnTo>
                    <a:pt x="2028613" y="92429"/>
                  </a:lnTo>
                  <a:lnTo>
                    <a:pt x="2069804" y="108519"/>
                  </a:lnTo>
                  <a:lnTo>
                    <a:pt x="2109968" y="126825"/>
                  </a:lnTo>
                  <a:lnTo>
                    <a:pt x="2149041" y="147277"/>
                  </a:lnTo>
                  <a:lnTo>
                    <a:pt x="2186959" y="169805"/>
                  </a:lnTo>
                  <a:lnTo>
                    <a:pt x="2223655" y="194341"/>
                  </a:lnTo>
                  <a:lnTo>
                    <a:pt x="2259067" y="220815"/>
                  </a:lnTo>
                  <a:lnTo>
                    <a:pt x="2293130" y="249157"/>
                  </a:lnTo>
                  <a:lnTo>
                    <a:pt x="2325778" y="279298"/>
                  </a:lnTo>
                  <a:lnTo>
                    <a:pt x="2356947" y="311168"/>
                  </a:lnTo>
                  <a:lnTo>
                    <a:pt x="2386574" y="344699"/>
                  </a:lnTo>
                  <a:lnTo>
                    <a:pt x="2414592" y="379820"/>
                  </a:lnTo>
                  <a:lnTo>
                    <a:pt x="2440939" y="416462"/>
                  </a:lnTo>
                  <a:lnTo>
                    <a:pt x="2465549" y="454557"/>
                  </a:lnTo>
                  <a:lnTo>
                    <a:pt x="2488357" y="494034"/>
                  </a:lnTo>
                  <a:lnTo>
                    <a:pt x="2509299" y="534824"/>
                  </a:lnTo>
                  <a:lnTo>
                    <a:pt x="2528311" y="576857"/>
                  </a:lnTo>
                  <a:lnTo>
                    <a:pt x="2545328" y="620065"/>
                  </a:lnTo>
                  <a:lnTo>
                    <a:pt x="2560286" y="664377"/>
                  </a:lnTo>
                  <a:lnTo>
                    <a:pt x="2573119" y="709724"/>
                  </a:lnTo>
                  <a:lnTo>
                    <a:pt x="2583764" y="756038"/>
                  </a:lnTo>
                  <a:lnTo>
                    <a:pt x="2592156" y="803248"/>
                  </a:lnTo>
                  <a:lnTo>
                    <a:pt x="2598230" y="851285"/>
                  </a:lnTo>
                  <a:lnTo>
                    <a:pt x="2601921" y="900079"/>
                  </a:lnTo>
                  <a:lnTo>
                    <a:pt x="2603166" y="949562"/>
                  </a:lnTo>
                  <a:lnTo>
                    <a:pt x="2603166" y="4308538"/>
                  </a:lnTo>
                  <a:lnTo>
                    <a:pt x="2649479" y="4308538"/>
                  </a:lnTo>
                  <a:lnTo>
                    <a:pt x="2649479" y="949562"/>
                  </a:lnTo>
                  <a:lnTo>
                    <a:pt x="2648249" y="899206"/>
                  </a:lnTo>
                  <a:lnTo>
                    <a:pt x="2644598" y="849526"/>
                  </a:lnTo>
                  <a:lnTo>
                    <a:pt x="2638590" y="800588"/>
                  </a:lnTo>
                  <a:lnTo>
                    <a:pt x="2630286" y="752458"/>
                  </a:lnTo>
                  <a:lnTo>
                    <a:pt x="2619747" y="705203"/>
                  </a:lnTo>
                  <a:lnTo>
                    <a:pt x="2607035" y="658887"/>
                  </a:lnTo>
                  <a:lnTo>
                    <a:pt x="2592211" y="613578"/>
                  </a:lnTo>
                  <a:lnTo>
                    <a:pt x="2575338" y="569341"/>
                  </a:lnTo>
                  <a:lnTo>
                    <a:pt x="2556478" y="526243"/>
                  </a:lnTo>
                  <a:lnTo>
                    <a:pt x="2535691" y="484350"/>
                  </a:lnTo>
                  <a:lnTo>
                    <a:pt x="2513040" y="443728"/>
                  </a:lnTo>
                  <a:lnTo>
                    <a:pt x="2488586" y="404443"/>
                  </a:lnTo>
                  <a:lnTo>
                    <a:pt x="2462391" y="366561"/>
                  </a:lnTo>
                  <a:lnTo>
                    <a:pt x="2434517" y="330148"/>
                  </a:lnTo>
                  <a:lnTo>
                    <a:pt x="2405026" y="295270"/>
                  </a:lnTo>
                  <a:lnTo>
                    <a:pt x="2373978" y="261995"/>
                  </a:lnTo>
                  <a:lnTo>
                    <a:pt x="2341436" y="230386"/>
                  </a:lnTo>
                  <a:lnTo>
                    <a:pt x="2307462" y="200512"/>
                  </a:lnTo>
                  <a:lnTo>
                    <a:pt x="2272117" y="172437"/>
                  </a:lnTo>
                  <a:lnTo>
                    <a:pt x="2235463" y="146228"/>
                  </a:lnTo>
                  <a:lnTo>
                    <a:pt x="2197562" y="121952"/>
                  </a:lnTo>
                  <a:lnTo>
                    <a:pt x="2158474" y="99674"/>
                  </a:lnTo>
                  <a:lnTo>
                    <a:pt x="2118263" y="79460"/>
                  </a:lnTo>
                  <a:lnTo>
                    <a:pt x="2076990" y="61376"/>
                  </a:lnTo>
                  <a:lnTo>
                    <a:pt x="2036878" y="46302"/>
                  </a:lnTo>
                  <a:close/>
                </a:path>
                <a:path w="2649855" h="4309109" extrusionOk="0">
                  <a:moveTo>
                    <a:pt x="1763516" y="0"/>
                  </a:moveTo>
                  <a:lnTo>
                    <a:pt x="1709685" y="1731"/>
                  </a:lnTo>
                  <a:lnTo>
                    <a:pt x="1656696" y="6860"/>
                  </a:lnTo>
                  <a:lnTo>
                    <a:pt x="1604642" y="15287"/>
                  </a:lnTo>
                  <a:lnTo>
                    <a:pt x="1553616" y="26912"/>
                  </a:lnTo>
                  <a:lnTo>
                    <a:pt x="1503710" y="41637"/>
                  </a:lnTo>
                  <a:lnTo>
                    <a:pt x="1455018" y="59361"/>
                  </a:lnTo>
                  <a:lnTo>
                    <a:pt x="1407632" y="79985"/>
                  </a:lnTo>
                  <a:lnTo>
                    <a:pt x="1361644" y="103410"/>
                  </a:lnTo>
                  <a:lnTo>
                    <a:pt x="1361644" y="156623"/>
                  </a:lnTo>
                  <a:lnTo>
                    <a:pt x="1407235" y="131692"/>
                  </a:lnTo>
                  <a:lnTo>
                    <a:pt x="1454363" y="109718"/>
                  </a:lnTo>
                  <a:lnTo>
                    <a:pt x="1502924" y="90813"/>
                  </a:lnTo>
                  <a:lnTo>
                    <a:pt x="1552811" y="75091"/>
                  </a:lnTo>
                  <a:lnTo>
                    <a:pt x="1603919" y="62666"/>
                  </a:lnTo>
                  <a:lnTo>
                    <a:pt x="1656143" y="53650"/>
                  </a:lnTo>
                  <a:lnTo>
                    <a:pt x="1709378" y="48158"/>
                  </a:lnTo>
                  <a:lnTo>
                    <a:pt x="1763516" y="46302"/>
                  </a:lnTo>
                  <a:lnTo>
                    <a:pt x="2036878" y="46302"/>
                  </a:lnTo>
                  <a:lnTo>
                    <a:pt x="2034716" y="45489"/>
                  </a:lnTo>
                  <a:lnTo>
                    <a:pt x="1991503" y="31865"/>
                  </a:lnTo>
                  <a:lnTo>
                    <a:pt x="1947413" y="20570"/>
                  </a:lnTo>
                  <a:lnTo>
                    <a:pt x="1902508" y="11669"/>
                  </a:lnTo>
                  <a:lnTo>
                    <a:pt x="1856849" y="5230"/>
                  </a:lnTo>
                  <a:lnTo>
                    <a:pt x="1810498" y="1318"/>
                  </a:lnTo>
                  <a:lnTo>
                    <a:pt x="1763516" y="0"/>
                  </a:lnTo>
                  <a:close/>
                </a:path>
                <a:path w="2649855" h="4309109" extrusionOk="0">
                  <a:moveTo>
                    <a:pt x="1315342" y="130676"/>
                  </a:moveTo>
                  <a:lnTo>
                    <a:pt x="1276728" y="156493"/>
                  </a:lnTo>
                  <a:lnTo>
                    <a:pt x="1239469" y="184337"/>
                  </a:lnTo>
                  <a:lnTo>
                    <a:pt x="1203631" y="214137"/>
                  </a:lnTo>
                  <a:lnTo>
                    <a:pt x="1169282" y="245820"/>
                  </a:lnTo>
                  <a:lnTo>
                    <a:pt x="1136490" y="279312"/>
                  </a:lnTo>
                  <a:lnTo>
                    <a:pt x="1105322" y="314543"/>
                  </a:lnTo>
                  <a:lnTo>
                    <a:pt x="1075847" y="351438"/>
                  </a:lnTo>
                  <a:lnTo>
                    <a:pt x="1048132" y="389926"/>
                  </a:lnTo>
                  <a:lnTo>
                    <a:pt x="1022245" y="429933"/>
                  </a:lnTo>
                  <a:lnTo>
                    <a:pt x="998253" y="471388"/>
                  </a:lnTo>
                  <a:lnTo>
                    <a:pt x="976225" y="514218"/>
                  </a:lnTo>
                  <a:lnTo>
                    <a:pt x="956228" y="558349"/>
                  </a:lnTo>
                  <a:lnTo>
                    <a:pt x="938330" y="603710"/>
                  </a:lnTo>
                  <a:lnTo>
                    <a:pt x="922598" y="650228"/>
                  </a:lnTo>
                  <a:lnTo>
                    <a:pt x="909101" y="697830"/>
                  </a:lnTo>
                  <a:lnTo>
                    <a:pt x="897906" y="746443"/>
                  </a:lnTo>
                  <a:lnTo>
                    <a:pt x="889081" y="795996"/>
                  </a:lnTo>
                  <a:lnTo>
                    <a:pt x="882693" y="846415"/>
                  </a:lnTo>
                  <a:lnTo>
                    <a:pt x="878811" y="897628"/>
                  </a:lnTo>
                  <a:lnTo>
                    <a:pt x="877502" y="949562"/>
                  </a:lnTo>
                  <a:lnTo>
                    <a:pt x="877502" y="1765475"/>
                  </a:lnTo>
                  <a:lnTo>
                    <a:pt x="876110" y="1810389"/>
                  </a:lnTo>
                  <a:lnTo>
                    <a:pt x="871985" y="1854654"/>
                  </a:lnTo>
                  <a:lnTo>
                    <a:pt x="865200" y="1898203"/>
                  </a:lnTo>
                  <a:lnTo>
                    <a:pt x="855832" y="1940969"/>
                  </a:lnTo>
                  <a:lnTo>
                    <a:pt x="843953" y="1982884"/>
                  </a:lnTo>
                  <a:lnTo>
                    <a:pt x="829640" y="2023881"/>
                  </a:lnTo>
                  <a:lnTo>
                    <a:pt x="812966" y="2063892"/>
                  </a:lnTo>
                  <a:lnTo>
                    <a:pt x="794006" y="2102849"/>
                  </a:lnTo>
                  <a:lnTo>
                    <a:pt x="772836" y="2140686"/>
                  </a:lnTo>
                  <a:lnTo>
                    <a:pt x="749528" y="2177335"/>
                  </a:lnTo>
                  <a:lnTo>
                    <a:pt x="724159" y="2212728"/>
                  </a:lnTo>
                  <a:lnTo>
                    <a:pt x="696802" y="2246798"/>
                  </a:lnTo>
                  <a:lnTo>
                    <a:pt x="667533" y="2279477"/>
                  </a:lnTo>
                  <a:lnTo>
                    <a:pt x="636425" y="2310699"/>
                  </a:lnTo>
                  <a:lnTo>
                    <a:pt x="603555" y="2340395"/>
                  </a:lnTo>
                  <a:lnTo>
                    <a:pt x="568995" y="2368498"/>
                  </a:lnTo>
                  <a:lnTo>
                    <a:pt x="532821" y="2394940"/>
                  </a:lnTo>
                  <a:lnTo>
                    <a:pt x="495108" y="2419655"/>
                  </a:lnTo>
                  <a:lnTo>
                    <a:pt x="455930" y="2442575"/>
                  </a:lnTo>
                  <a:lnTo>
                    <a:pt x="415362" y="2463632"/>
                  </a:lnTo>
                  <a:lnTo>
                    <a:pt x="373478" y="2482759"/>
                  </a:lnTo>
                  <a:lnTo>
                    <a:pt x="330353" y="2499888"/>
                  </a:lnTo>
                  <a:lnTo>
                    <a:pt x="286062" y="2514952"/>
                  </a:lnTo>
                  <a:lnTo>
                    <a:pt x="240678" y="2527884"/>
                  </a:lnTo>
                  <a:lnTo>
                    <a:pt x="194278" y="2538616"/>
                  </a:lnTo>
                  <a:lnTo>
                    <a:pt x="146936" y="2547080"/>
                  </a:lnTo>
                  <a:lnTo>
                    <a:pt x="98725" y="2553209"/>
                  </a:lnTo>
                  <a:lnTo>
                    <a:pt x="49722" y="2556936"/>
                  </a:lnTo>
                  <a:lnTo>
                    <a:pt x="0" y="2558194"/>
                  </a:lnTo>
                  <a:lnTo>
                    <a:pt x="0" y="2604517"/>
                  </a:lnTo>
                  <a:lnTo>
                    <a:pt x="50614" y="2603273"/>
                  </a:lnTo>
                  <a:lnTo>
                    <a:pt x="100524" y="2599584"/>
                  </a:lnTo>
                  <a:lnTo>
                    <a:pt x="149658" y="2593515"/>
                  </a:lnTo>
                  <a:lnTo>
                    <a:pt x="197946" y="2585130"/>
                  </a:lnTo>
                  <a:lnTo>
                    <a:pt x="245316" y="2574493"/>
                  </a:lnTo>
                  <a:lnTo>
                    <a:pt x="291698" y="2561670"/>
                  </a:lnTo>
                  <a:lnTo>
                    <a:pt x="337021" y="2546724"/>
                  </a:lnTo>
                  <a:lnTo>
                    <a:pt x="381213" y="2529719"/>
                  </a:lnTo>
                  <a:lnTo>
                    <a:pt x="424204" y="2510722"/>
                  </a:lnTo>
                  <a:lnTo>
                    <a:pt x="465923" y="2489795"/>
                  </a:lnTo>
                  <a:lnTo>
                    <a:pt x="506298" y="2467004"/>
                  </a:lnTo>
                  <a:lnTo>
                    <a:pt x="545260" y="2442413"/>
                  </a:lnTo>
                  <a:lnTo>
                    <a:pt x="582736" y="2416086"/>
                  </a:lnTo>
                  <a:lnTo>
                    <a:pt x="618655" y="2388088"/>
                  </a:lnTo>
                  <a:lnTo>
                    <a:pt x="652948" y="2358484"/>
                  </a:lnTo>
                  <a:lnTo>
                    <a:pt x="685543" y="2327337"/>
                  </a:lnTo>
                  <a:lnTo>
                    <a:pt x="716368" y="2294713"/>
                  </a:lnTo>
                  <a:lnTo>
                    <a:pt x="745354" y="2260676"/>
                  </a:lnTo>
                  <a:lnTo>
                    <a:pt x="772429" y="2225290"/>
                  </a:lnTo>
                  <a:lnTo>
                    <a:pt x="797521" y="2188620"/>
                  </a:lnTo>
                  <a:lnTo>
                    <a:pt x="820561" y="2150730"/>
                  </a:lnTo>
                  <a:lnTo>
                    <a:pt x="841476" y="2111685"/>
                  </a:lnTo>
                  <a:lnTo>
                    <a:pt x="860197" y="2071549"/>
                  </a:lnTo>
                  <a:lnTo>
                    <a:pt x="876652" y="2030387"/>
                  </a:lnTo>
                  <a:lnTo>
                    <a:pt x="890770" y="1988263"/>
                  </a:lnTo>
                  <a:lnTo>
                    <a:pt x="902481" y="1945242"/>
                  </a:lnTo>
                  <a:lnTo>
                    <a:pt x="911712" y="1901388"/>
                  </a:lnTo>
                  <a:lnTo>
                    <a:pt x="918394" y="1856766"/>
                  </a:lnTo>
                  <a:lnTo>
                    <a:pt x="922455" y="1811440"/>
                  </a:lnTo>
                  <a:lnTo>
                    <a:pt x="923825" y="1765475"/>
                  </a:lnTo>
                  <a:lnTo>
                    <a:pt x="923825" y="949562"/>
                  </a:lnTo>
                  <a:lnTo>
                    <a:pt x="925260" y="896448"/>
                  </a:lnTo>
                  <a:lnTo>
                    <a:pt x="929511" y="844133"/>
                  </a:lnTo>
                  <a:lnTo>
                    <a:pt x="936499" y="792704"/>
                  </a:lnTo>
                  <a:lnTo>
                    <a:pt x="946143" y="742246"/>
                  </a:lnTo>
                  <a:lnTo>
                    <a:pt x="958364" y="692845"/>
                  </a:lnTo>
                  <a:lnTo>
                    <a:pt x="973082" y="644588"/>
                  </a:lnTo>
                  <a:lnTo>
                    <a:pt x="990216" y="597560"/>
                  </a:lnTo>
                  <a:lnTo>
                    <a:pt x="1009688" y="551848"/>
                  </a:lnTo>
                  <a:lnTo>
                    <a:pt x="1031416" y="507538"/>
                  </a:lnTo>
                  <a:lnTo>
                    <a:pt x="1055321" y="464715"/>
                  </a:lnTo>
                  <a:lnTo>
                    <a:pt x="1081323" y="423465"/>
                  </a:lnTo>
                  <a:lnTo>
                    <a:pt x="1109342" y="383875"/>
                  </a:lnTo>
                  <a:lnTo>
                    <a:pt x="1139299" y="346031"/>
                  </a:lnTo>
                  <a:lnTo>
                    <a:pt x="1171113" y="310018"/>
                  </a:lnTo>
                  <a:lnTo>
                    <a:pt x="1204704" y="275923"/>
                  </a:lnTo>
                  <a:lnTo>
                    <a:pt x="1239992" y="243832"/>
                  </a:lnTo>
                  <a:lnTo>
                    <a:pt x="1276898" y="213830"/>
                  </a:lnTo>
                  <a:lnTo>
                    <a:pt x="1315342" y="186004"/>
                  </a:lnTo>
                  <a:lnTo>
                    <a:pt x="1315342" y="130676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108;p1"/>
            <p:cNvSpPr/>
            <p:nvPr/>
          </p:nvSpPr>
          <p:spPr>
            <a:xfrm>
              <a:off x="13947795" y="5714721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93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09;p1"/>
            <p:cNvSpPr/>
            <p:nvPr/>
          </p:nvSpPr>
          <p:spPr>
            <a:xfrm>
              <a:off x="13947795" y="802737"/>
              <a:ext cx="2506980" cy="4854575"/>
            </a:xfrm>
            <a:custGeom>
              <a:avLst/>
              <a:gdLst/>
              <a:ahLst/>
              <a:cxnLst/>
              <a:rect l="l" t="t" r="r" b="b"/>
              <a:pathLst>
                <a:path w="2506980" h="4854575" extrusionOk="0">
                  <a:moveTo>
                    <a:pt x="23193" y="4807730"/>
                  </a:moveTo>
                  <a:lnTo>
                    <a:pt x="0" y="4807730"/>
                  </a:lnTo>
                  <a:lnTo>
                    <a:pt x="0" y="4854085"/>
                  </a:lnTo>
                  <a:lnTo>
                    <a:pt x="23193" y="4854085"/>
                  </a:lnTo>
                  <a:lnTo>
                    <a:pt x="23193" y="4807730"/>
                  </a:lnTo>
                  <a:close/>
                </a:path>
                <a:path w="2506980" h="4854575" extrusionOk="0">
                  <a:moveTo>
                    <a:pt x="23193" y="4715042"/>
                  </a:moveTo>
                  <a:lnTo>
                    <a:pt x="0" y="4715042"/>
                  </a:lnTo>
                  <a:lnTo>
                    <a:pt x="0" y="4761396"/>
                  </a:lnTo>
                  <a:lnTo>
                    <a:pt x="23193" y="4761396"/>
                  </a:lnTo>
                  <a:lnTo>
                    <a:pt x="23193" y="4715042"/>
                  </a:lnTo>
                  <a:close/>
                </a:path>
                <a:path w="2506980" h="4854575" extrusionOk="0">
                  <a:moveTo>
                    <a:pt x="23193" y="4622364"/>
                  </a:moveTo>
                  <a:lnTo>
                    <a:pt x="0" y="4622364"/>
                  </a:lnTo>
                  <a:lnTo>
                    <a:pt x="0" y="4668687"/>
                  </a:lnTo>
                  <a:lnTo>
                    <a:pt x="23193" y="4668687"/>
                  </a:lnTo>
                  <a:lnTo>
                    <a:pt x="23193" y="4622364"/>
                  </a:lnTo>
                  <a:close/>
                </a:path>
                <a:path w="2506980" h="4854575" extrusionOk="0">
                  <a:moveTo>
                    <a:pt x="23193" y="4529665"/>
                  </a:moveTo>
                  <a:lnTo>
                    <a:pt x="0" y="4529665"/>
                  </a:lnTo>
                  <a:lnTo>
                    <a:pt x="0" y="4575999"/>
                  </a:lnTo>
                  <a:lnTo>
                    <a:pt x="23193" y="4575999"/>
                  </a:lnTo>
                  <a:lnTo>
                    <a:pt x="23193" y="4529665"/>
                  </a:lnTo>
                  <a:close/>
                </a:path>
                <a:path w="2506980" h="4854575" extrusionOk="0">
                  <a:moveTo>
                    <a:pt x="23193" y="4436987"/>
                  </a:moveTo>
                  <a:lnTo>
                    <a:pt x="0" y="4436987"/>
                  </a:lnTo>
                  <a:lnTo>
                    <a:pt x="0" y="4483311"/>
                  </a:lnTo>
                  <a:lnTo>
                    <a:pt x="23193" y="4483311"/>
                  </a:lnTo>
                  <a:lnTo>
                    <a:pt x="23193" y="4436987"/>
                  </a:lnTo>
                  <a:close/>
                </a:path>
                <a:path w="2506980" h="4854575" extrusionOk="0">
                  <a:moveTo>
                    <a:pt x="2460815" y="4412245"/>
                  </a:moveTo>
                  <a:lnTo>
                    <a:pt x="2492720" y="4439190"/>
                  </a:lnTo>
                  <a:lnTo>
                    <a:pt x="2504478" y="4440212"/>
                  </a:lnTo>
                  <a:lnTo>
                    <a:pt x="2506363" y="4417145"/>
                  </a:lnTo>
                  <a:lnTo>
                    <a:pt x="2494873" y="4416138"/>
                  </a:lnTo>
                  <a:lnTo>
                    <a:pt x="2483471" y="4414985"/>
                  </a:lnTo>
                  <a:lnTo>
                    <a:pt x="2472128" y="4413688"/>
                  </a:lnTo>
                  <a:lnTo>
                    <a:pt x="2460815" y="4412245"/>
                  </a:lnTo>
                  <a:close/>
                </a:path>
                <a:path w="2506980" h="4854575" extrusionOk="0">
                  <a:moveTo>
                    <a:pt x="2371079" y="4395271"/>
                  </a:moveTo>
                  <a:lnTo>
                    <a:pt x="2399868" y="4425444"/>
                  </a:lnTo>
                  <a:lnTo>
                    <a:pt x="2411392" y="4427710"/>
                  </a:lnTo>
                  <a:lnTo>
                    <a:pt x="2415685" y="4404947"/>
                  </a:lnTo>
                  <a:lnTo>
                    <a:pt x="2404460" y="4402738"/>
                  </a:lnTo>
                  <a:lnTo>
                    <a:pt x="2393264" y="4400396"/>
                  </a:lnTo>
                  <a:lnTo>
                    <a:pt x="2382128" y="4397910"/>
                  </a:lnTo>
                  <a:lnTo>
                    <a:pt x="2371079" y="4395271"/>
                  </a:lnTo>
                  <a:close/>
                </a:path>
                <a:path w="2506980" h="4854575" extrusionOk="0">
                  <a:moveTo>
                    <a:pt x="2283647" y="4368927"/>
                  </a:moveTo>
                  <a:lnTo>
                    <a:pt x="2309087" y="4401945"/>
                  </a:lnTo>
                  <a:lnTo>
                    <a:pt x="2320295" y="4405407"/>
                  </a:lnTo>
                  <a:lnTo>
                    <a:pt x="2326892" y="4383240"/>
                  </a:lnTo>
                  <a:lnTo>
                    <a:pt x="2315997" y="4379866"/>
                  </a:lnTo>
                  <a:lnTo>
                    <a:pt x="2305152" y="4376354"/>
                  </a:lnTo>
                  <a:lnTo>
                    <a:pt x="2294365" y="4372708"/>
                  </a:lnTo>
                  <a:lnTo>
                    <a:pt x="2283647" y="4368927"/>
                  </a:lnTo>
                  <a:close/>
                </a:path>
                <a:path w="2506980" h="4854575" extrusionOk="0">
                  <a:moveTo>
                    <a:pt x="23193" y="4344310"/>
                  </a:moveTo>
                  <a:lnTo>
                    <a:pt x="0" y="4344310"/>
                  </a:lnTo>
                  <a:lnTo>
                    <a:pt x="0" y="4390633"/>
                  </a:lnTo>
                  <a:lnTo>
                    <a:pt x="23193" y="4390633"/>
                  </a:lnTo>
                  <a:lnTo>
                    <a:pt x="23193" y="4344310"/>
                  </a:lnTo>
                  <a:close/>
                </a:path>
                <a:path w="2506980" h="4854575" extrusionOk="0">
                  <a:moveTo>
                    <a:pt x="2199461" y="4333514"/>
                  </a:moveTo>
                  <a:lnTo>
                    <a:pt x="2221332" y="4369081"/>
                  </a:lnTo>
                  <a:lnTo>
                    <a:pt x="2232130" y="4373701"/>
                  </a:lnTo>
                  <a:lnTo>
                    <a:pt x="2241135" y="4352330"/>
                  </a:lnTo>
                  <a:lnTo>
                    <a:pt x="2230589" y="4347828"/>
                  </a:lnTo>
                  <a:lnTo>
                    <a:pt x="2220141" y="4343193"/>
                  </a:lnTo>
                  <a:lnTo>
                    <a:pt x="2209772" y="4338423"/>
                  </a:lnTo>
                  <a:lnTo>
                    <a:pt x="2199461" y="4333514"/>
                  </a:lnTo>
                  <a:close/>
                </a:path>
                <a:path w="2506980" h="4854575" extrusionOk="0">
                  <a:moveTo>
                    <a:pt x="2119464" y="4289526"/>
                  </a:moveTo>
                  <a:lnTo>
                    <a:pt x="2107318" y="4309243"/>
                  </a:lnTo>
                  <a:lnTo>
                    <a:pt x="2117316" y="4315354"/>
                  </a:lnTo>
                  <a:lnTo>
                    <a:pt x="2127382" y="4321330"/>
                  </a:lnTo>
                  <a:lnTo>
                    <a:pt x="2137547" y="4327179"/>
                  </a:lnTo>
                  <a:lnTo>
                    <a:pt x="2147840" y="4332907"/>
                  </a:lnTo>
                  <a:lnTo>
                    <a:pt x="2158939" y="4312604"/>
                  </a:lnTo>
                  <a:lnTo>
                    <a:pt x="2148943" y="4307029"/>
                  </a:lnTo>
                  <a:lnTo>
                    <a:pt x="2139044" y="4301328"/>
                  </a:lnTo>
                  <a:lnTo>
                    <a:pt x="2129225" y="4295495"/>
                  </a:lnTo>
                  <a:lnTo>
                    <a:pt x="2119464" y="4289526"/>
                  </a:lnTo>
                  <a:close/>
                </a:path>
                <a:path w="2506980" h="4854575" extrusionOk="0">
                  <a:moveTo>
                    <a:pt x="23193" y="4251632"/>
                  </a:moveTo>
                  <a:lnTo>
                    <a:pt x="0" y="4251632"/>
                  </a:lnTo>
                  <a:lnTo>
                    <a:pt x="0" y="4297924"/>
                  </a:lnTo>
                  <a:lnTo>
                    <a:pt x="23193" y="4297924"/>
                  </a:lnTo>
                  <a:lnTo>
                    <a:pt x="23193" y="4251632"/>
                  </a:lnTo>
                  <a:close/>
                </a:path>
                <a:path w="2506980" h="4854575" extrusionOk="0">
                  <a:moveTo>
                    <a:pt x="2044388" y="4237486"/>
                  </a:moveTo>
                  <a:lnTo>
                    <a:pt x="2030147" y="4255810"/>
                  </a:lnTo>
                  <a:lnTo>
                    <a:pt x="2039471" y="4262912"/>
                  </a:lnTo>
                  <a:lnTo>
                    <a:pt x="2048903" y="4269904"/>
                  </a:lnTo>
                  <a:lnTo>
                    <a:pt x="2058433" y="4276778"/>
                  </a:lnTo>
                  <a:lnTo>
                    <a:pt x="2068052" y="4283526"/>
                  </a:lnTo>
                  <a:lnTo>
                    <a:pt x="2081245" y="4264490"/>
                  </a:lnTo>
                  <a:lnTo>
                    <a:pt x="2071878" y="4257913"/>
                  </a:lnTo>
                  <a:lnTo>
                    <a:pt x="2062620" y="4251220"/>
                  </a:lnTo>
                  <a:lnTo>
                    <a:pt x="2053460" y="4244410"/>
                  </a:lnTo>
                  <a:lnTo>
                    <a:pt x="2044388" y="4237486"/>
                  </a:lnTo>
                  <a:close/>
                </a:path>
                <a:path w="2506980" h="4854575" extrusionOk="0">
                  <a:moveTo>
                    <a:pt x="1974861" y="4177980"/>
                  </a:moveTo>
                  <a:lnTo>
                    <a:pt x="1958945" y="4194785"/>
                  </a:lnTo>
                  <a:lnTo>
                    <a:pt x="1967485" y="4202816"/>
                  </a:lnTo>
                  <a:lnTo>
                    <a:pt x="1976144" y="4210731"/>
                  </a:lnTo>
                  <a:lnTo>
                    <a:pt x="1984919" y="4218535"/>
                  </a:lnTo>
                  <a:lnTo>
                    <a:pt x="1993813" y="4226229"/>
                  </a:lnTo>
                  <a:lnTo>
                    <a:pt x="2008891" y="4208596"/>
                  </a:lnTo>
                  <a:lnTo>
                    <a:pt x="2000231" y="4201106"/>
                  </a:lnTo>
                  <a:lnTo>
                    <a:pt x="1991680" y="4193508"/>
                  </a:lnTo>
                  <a:lnTo>
                    <a:pt x="1983226" y="4185800"/>
                  </a:lnTo>
                  <a:lnTo>
                    <a:pt x="1974861" y="4177980"/>
                  </a:lnTo>
                  <a:close/>
                </a:path>
                <a:path w="2506980" h="4854575" extrusionOk="0">
                  <a:moveTo>
                    <a:pt x="23193" y="4158912"/>
                  </a:moveTo>
                  <a:lnTo>
                    <a:pt x="0" y="4158912"/>
                  </a:lnTo>
                  <a:lnTo>
                    <a:pt x="0" y="4205225"/>
                  </a:lnTo>
                  <a:lnTo>
                    <a:pt x="23193" y="4205225"/>
                  </a:lnTo>
                  <a:lnTo>
                    <a:pt x="23193" y="4158912"/>
                  </a:lnTo>
                  <a:close/>
                </a:path>
                <a:path w="2506980" h="4854575" extrusionOk="0">
                  <a:moveTo>
                    <a:pt x="1911721" y="4111699"/>
                  </a:moveTo>
                  <a:lnTo>
                    <a:pt x="1894235" y="4126850"/>
                  </a:lnTo>
                  <a:lnTo>
                    <a:pt x="1901926" y="4135692"/>
                  </a:lnTo>
                  <a:lnTo>
                    <a:pt x="1909745" y="4144427"/>
                  </a:lnTo>
                  <a:lnTo>
                    <a:pt x="1917662" y="4153062"/>
                  </a:lnTo>
                  <a:lnTo>
                    <a:pt x="1925648" y="4161603"/>
                  </a:lnTo>
                  <a:lnTo>
                    <a:pt x="1942506" y="4145646"/>
                  </a:lnTo>
                  <a:lnTo>
                    <a:pt x="1934633" y="4137302"/>
                  </a:lnTo>
                  <a:lnTo>
                    <a:pt x="1926878" y="4128861"/>
                  </a:lnTo>
                  <a:lnTo>
                    <a:pt x="1919241" y="4120325"/>
                  </a:lnTo>
                  <a:lnTo>
                    <a:pt x="1911721" y="4111699"/>
                  </a:lnTo>
                  <a:close/>
                </a:path>
                <a:path w="2506980" h="4854575" extrusionOk="0">
                  <a:moveTo>
                    <a:pt x="23193" y="4066224"/>
                  </a:moveTo>
                  <a:lnTo>
                    <a:pt x="0" y="4066224"/>
                  </a:lnTo>
                  <a:lnTo>
                    <a:pt x="0" y="4112558"/>
                  </a:lnTo>
                  <a:lnTo>
                    <a:pt x="23193" y="4112558"/>
                  </a:lnTo>
                  <a:lnTo>
                    <a:pt x="23193" y="4066224"/>
                  </a:lnTo>
                  <a:close/>
                </a:path>
                <a:path w="2506980" h="4854575" extrusionOk="0">
                  <a:moveTo>
                    <a:pt x="1855493" y="4039460"/>
                  </a:moveTo>
                  <a:lnTo>
                    <a:pt x="1836540" y="4052716"/>
                  </a:lnTo>
                  <a:lnTo>
                    <a:pt x="1843353" y="4062302"/>
                  </a:lnTo>
                  <a:lnTo>
                    <a:pt x="1850283" y="4071798"/>
                  </a:lnTo>
                  <a:lnTo>
                    <a:pt x="1857332" y="4081198"/>
                  </a:lnTo>
                  <a:lnTo>
                    <a:pt x="1864498" y="4090495"/>
                  </a:lnTo>
                  <a:lnTo>
                    <a:pt x="1882717" y="4076286"/>
                  </a:lnTo>
                  <a:lnTo>
                    <a:pt x="1875769" y="4067210"/>
                  </a:lnTo>
                  <a:lnTo>
                    <a:pt x="1868909" y="4058046"/>
                  </a:lnTo>
                  <a:lnTo>
                    <a:pt x="1862147" y="4048795"/>
                  </a:lnTo>
                  <a:lnTo>
                    <a:pt x="1855493" y="4039460"/>
                  </a:lnTo>
                  <a:close/>
                </a:path>
                <a:path w="2506980" h="4854575" extrusionOk="0">
                  <a:moveTo>
                    <a:pt x="23193" y="3973557"/>
                  </a:moveTo>
                  <a:lnTo>
                    <a:pt x="0" y="3973557"/>
                  </a:lnTo>
                  <a:lnTo>
                    <a:pt x="0" y="4019859"/>
                  </a:lnTo>
                  <a:lnTo>
                    <a:pt x="23193" y="4019859"/>
                  </a:lnTo>
                  <a:lnTo>
                    <a:pt x="23193" y="3973557"/>
                  </a:lnTo>
                  <a:close/>
                </a:path>
                <a:path w="2506980" h="4854575" extrusionOk="0">
                  <a:moveTo>
                    <a:pt x="1806803" y="3961892"/>
                  </a:moveTo>
                  <a:lnTo>
                    <a:pt x="1786594" y="3973221"/>
                  </a:lnTo>
                  <a:lnTo>
                    <a:pt x="1792402" y="3983435"/>
                  </a:lnTo>
                  <a:lnTo>
                    <a:pt x="1798348" y="3993565"/>
                  </a:lnTo>
                  <a:lnTo>
                    <a:pt x="1804411" y="4003615"/>
                  </a:lnTo>
                  <a:lnTo>
                    <a:pt x="1810573" y="4013587"/>
                  </a:lnTo>
                  <a:lnTo>
                    <a:pt x="1830153" y="4001273"/>
                  </a:lnTo>
                  <a:lnTo>
                    <a:pt x="1824149" y="3991552"/>
                  </a:lnTo>
                  <a:lnTo>
                    <a:pt x="1818243" y="3981743"/>
                  </a:lnTo>
                  <a:lnTo>
                    <a:pt x="1812454" y="3971855"/>
                  </a:lnTo>
                  <a:lnTo>
                    <a:pt x="1806803" y="3961892"/>
                  </a:lnTo>
                  <a:close/>
                </a:path>
                <a:path w="2506980" h="4854575" extrusionOk="0">
                  <a:moveTo>
                    <a:pt x="1765967" y="3879832"/>
                  </a:moveTo>
                  <a:lnTo>
                    <a:pt x="1744711" y="3889088"/>
                  </a:lnTo>
                  <a:lnTo>
                    <a:pt x="1749498" y="3899848"/>
                  </a:lnTo>
                  <a:lnTo>
                    <a:pt x="1754423" y="3910532"/>
                  </a:lnTo>
                  <a:lnTo>
                    <a:pt x="1759563" y="3921338"/>
                  </a:lnTo>
                  <a:lnTo>
                    <a:pt x="1764605" y="3931663"/>
                  </a:lnTo>
                  <a:lnTo>
                    <a:pt x="1785338" y="3921338"/>
                  </a:lnTo>
                  <a:lnTo>
                    <a:pt x="1780309" y="3911067"/>
                  </a:lnTo>
                  <a:lnTo>
                    <a:pt x="1775417" y="3900722"/>
                  </a:lnTo>
                  <a:lnTo>
                    <a:pt x="1770643" y="3890309"/>
                  </a:lnTo>
                  <a:lnTo>
                    <a:pt x="1765967" y="3879832"/>
                  </a:lnTo>
                  <a:close/>
                </a:path>
                <a:path w="2506980" h="4854575" extrusionOk="0">
                  <a:moveTo>
                    <a:pt x="23193" y="3880847"/>
                  </a:moveTo>
                  <a:lnTo>
                    <a:pt x="0" y="3880847"/>
                  </a:lnTo>
                  <a:lnTo>
                    <a:pt x="0" y="3927191"/>
                  </a:lnTo>
                  <a:lnTo>
                    <a:pt x="23193" y="3927191"/>
                  </a:lnTo>
                  <a:lnTo>
                    <a:pt x="23193" y="3880847"/>
                  </a:lnTo>
                  <a:close/>
                </a:path>
                <a:path w="2506980" h="4854575" extrusionOk="0">
                  <a:moveTo>
                    <a:pt x="1733507" y="3794169"/>
                  </a:moveTo>
                  <a:lnTo>
                    <a:pt x="1711518" y="3801310"/>
                  </a:lnTo>
                  <a:lnTo>
                    <a:pt x="1715191" y="3812469"/>
                  </a:lnTo>
                  <a:lnTo>
                    <a:pt x="1718992" y="3823562"/>
                  </a:lnTo>
                  <a:lnTo>
                    <a:pt x="1722930" y="3834587"/>
                  </a:lnTo>
                  <a:lnTo>
                    <a:pt x="1727015" y="3845539"/>
                  </a:lnTo>
                  <a:lnTo>
                    <a:pt x="1748690" y="3837341"/>
                  </a:lnTo>
                  <a:lnTo>
                    <a:pt x="1744683" y="3826642"/>
                  </a:lnTo>
                  <a:lnTo>
                    <a:pt x="1740823" y="3815877"/>
                  </a:lnTo>
                  <a:lnTo>
                    <a:pt x="1737101" y="3805051"/>
                  </a:lnTo>
                  <a:lnTo>
                    <a:pt x="1733507" y="3794169"/>
                  </a:lnTo>
                  <a:close/>
                </a:path>
                <a:path w="2506980" h="4854575" extrusionOk="0">
                  <a:moveTo>
                    <a:pt x="23193" y="3788180"/>
                  </a:moveTo>
                  <a:lnTo>
                    <a:pt x="0" y="3788180"/>
                  </a:lnTo>
                  <a:lnTo>
                    <a:pt x="0" y="3834503"/>
                  </a:lnTo>
                  <a:lnTo>
                    <a:pt x="23193" y="3834503"/>
                  </a:lnTo>
                  <a:lnTo>
                    <a:pt x="23193" y="3788180"/>
                  </a:lnTo>
                  <a:close/>
                </a:path>
                <a:path w="2506980" h="4854575" extrusionOk="0">
                  <a:moveTo>
                    <a:pt x="1709738" y="3705858"/>
                  </a:moveTo>
                  <a:lnTo>
                    <a:pt x="1687016" y="3710769"/>
                  </a:lnTo>
                  <a:lnTo>
                    <a:pt x="1689604" y="3722252"/>
                  </a:lnTo>
                  <a:lnTo>
                    <a:pt x="1692330" y="3733675"/>
                  </a:lnTo>
                  <a:lnTo>
                    <a:pt x="1695174" y="3745037"/>
                  </a:lnTo>
                  <a:lnTo>
                    <a:pt x="1698115" y="3756338"/>
                  </a:lnTo>
                  <a:lnTo>
                    <a:pt x="1720523" y="3750317"/>
                  </a:lnTo>
                  <a:lnTo>
                    <a:pt x="1717616" y="3739277"/>
                  </a:lnTo>
                  <a:lnTo>
                    <a:pt x="1714856" y="3728190"/>
                  </a:lnTo>
                  <a:lnTo>
                    <a:pt x="1712233" y="3717051"/>
                  </a:lnTo>
                  <a:lnTo>
                    <a:pt x="1709738" y="3705858"/>
                  </a:lnTo>
                  <a:close/>
                </a:path>
                <a:path w="2506980" h="4854575" extrusionOk="0">
                  <a:moveTo>
                    <a:pt x="23193" y="3695471"/>
                  </a:moveTo>
                  <a:lnTo>
                    <a:pt x="0" y="3695471"/>
                  </a:lnTo>
                  <a:lnTo>
                    <a:pt x="0" y="3741804"/>
                  </a:lnTo>
                  <a:lnTo>
                    <a:pt x="23193" y="3741804"/>
                  </a:lnTo>
                  <a:lnTo>
                    <a:pt x="23193" y="3695471"/>
                  </a:lnTo>
                  <a:close/>
                </a:path>
                <a:path w="2506980" h="4854575" extrusionOk="0">
                  <a:moveTo>
                    <a:pt x="1694660" y="3615620"/>
                  </a:moveTo>
                  <a:lnTo>
                    <a:pt x="1671624" y="3618279"/>
                  </a:lnTo>
                  <a:lnTo>
                    <a:pt x="1673096" y="3629959"/>
                  </a:lnTo>
                  <a:lnTo>
                    <a:pt x="1674687" y="3641595"/>
                  </a:lnTo>
                  <a:lnTo>
                    <a:pt x="1676395" y="3653189"/>
                  </a:lnTo>
                  <a:lnTo>
                    <a:pt x="1678221" y="3664739"/>
                  </a:lnTo>
                  <a:lnTo>
                    <a:pt x="1701047" y="3660875"/>
                  </a:lnTo>
                  <a:lnTo>
                    <a:pt x="1699283" y="3649631"/>
                  </a:lnTo>
                  <a:lnTo>
                    <a:pt x="1697618" y="3638342"/>
                  </a:lnTo>
                  <a:lnTo>
                    <a:pt x="1696070" y="3627005"/>
                  </a:lnTo>
                  <a:lnTo>
                    <a:pt x="1694660" y="3615620"/>
                  </a:lnTo>
                  <a:close/>
                </a:path>
                <a:path w="2506980" h="4854575" extrusionOk="0">
                  <a:moveTo>
                    <a:pt x="23193" y="3602803"/>
                  </a:moveTo>
                  <a:lnTo>
                    <a:pt x="0" y="3602803"/>
                  </a:lnTo>
                  <a:lnTo>
                    <a:pt x="0" y="3649127"/>
                  </a:lnTo>
                  <a:lnTo>
                    <a:pt x="23193" y="3649127"/>
                  </a:lnTo>
                  <a:lnTo>
                    <a:pt x="23193" y="3602803"/>
                  </a:lnTo>
                  <a:close/>
                </a:path>
                <a:path w="2506980" h="4854575" extrusionOk="0">
                  <a:moveTo>
                    <a:pt x="1688377" y="3524303"/>
                  </a:moveTo>
                  <a:lnTo>
                    <a:pt x="1665237" y="3524753"/>
                  </a:lnTo>
                  <a:lnTo>
                    <a:pt x="1665549" y="3536529"/>
                  </a:lnTo>
                  <a:lnTo>
                    <a:pt x="1666009" y="3548263"/>
                  </a:lnTo>
                  <a:lnTo>
                    <a:pt x="1666606" y="3559954"/>
                  </a:lnTo>
                  <a:lnTo>
                    <a:pt x="1667331" y="3571600"/>
                  </a:lnTo>
                  <a:lnTo>
                    <a:pt x="1690472" y="3570009"/>
                  </a:lnTo>
                  <a:lnTo>
                    <a:pt x="1689747" y="3558640"/>
                  </a:lnTo>
                  <a:lnTo>
                    <a:pt x="1689150" y="3547230"/>
                  </a:lnTo>
                  <a:lnTo>
                    <a:pt x="1688690" y="3535784"/>
                  </a:lnTo>
                  <a:lnTo>
                    <a:pt x="1688377" y="3524303"/>
                  </a:lnTo>
                  <a:close/>
                </a:path>
                <a:path w="2506980" h="4854575" extrusionOk="0">
                  <a:moveTo>
                    <a:pt x="23193" y="3510084"/>
                  </a:moveTo>
                  <a:lnTo>
                    <a:pt x="0" y="3510084"/>
                  </a:lnTo>
                  <a:lnTo>
                    <a:pt x="0" y="3556449"/>
                  </a:lnTo>
                  <a:lnTo>
                    <a:pt x="23193" y="3556449"/>
                  </a:lnTo>
                  <a:lnTo>
                    <a:pt x="23193" y="3510084"/>
                  </a:lnTo>
                  <a:close/>
                </a:path>
                <a:path w="2506980" h="4854575" extrusionOk="0">
                  <a:moveTo>
                    <a:pt x="1688273" y="3431845"/>
                  </a:moveTo>
                  <a:lnTo>
                    <a:pt x="1665101" y="3431845"/>
                  </a:lnTo>
                  <a:lnTo>
                    <a:pt x="1665101" y="3478179"/>
                  </a:lnTo>
                  <a:lnTo>
                    <a:pt x="1688273" y="3478179"/>
                  </a:lnTo>
                  <a:lnTo>
                    <a:pt x="1688273" y="3431845"/>
                  </a:lnTo>
                  <a:close/>
                </a:path>
                <a:path w="2506980" h="4854575" extrusionOk="0">
                  <a:moveTo>
                    <a:pt x="23193" y="3417385"/>
                  </a:moveTo>
                  <a:lnTo>
                    <a:pt x="0" y="3417385"/>
                  </a:lnTo>
                  <a:lnTo>
                    <a:pt x="0" y="3463761"/>
                  </a:lnTo>
                  <a:lnTo>
                    <a:pt x="23193" y="3463761"/>
                  </a:lnTo>
                  <a:lnTo>
                    <a:pt x="23193" y="3417385"/>
                  </a:lnTo>
                  <a:close/>
                </a:path>
                <a:path w="2506980" h="4854575" extrusionOk="0">
                  <a:moveTo>
                    <a:pt x="1688273" y="3339167"/>
                  </a:moveTo>
                  <a:lnTo>
                    <a:pt x="1665101" y="3339167"/>
                  </a:lnTo>
                  <a:lnTo>
                    <a:pt x="1665101" y="3385501"/>
                  </a:lnTo>
                  <a:lnTo>
                    <a:pt x="1688273" y="3385501"/>
                  </a:lnTo>
                  <a:lnTo>
                    <a:pt x="1688273" y="3339167"/>
                  </a:lnTo>
                  <a:close/>
                </a:path>
                <a:path w="2506980" h="4854575" extrusionOk="0">
                  <a:moveTo>
                    <a:pt x="23193" y="3324707"/>
                  </a:moveTo>
                  <a:lnTo>
                    <a:pt x="0" y="3324707"/>
                  </a:lnTo>
                  <a:lnTo>
                    <a:pt x="0" y="3371062"/>
                  </a:lnTo>
                  <a:lnTo>
                    <a:pt x="23193" y="3371062"/>
                  </a:lnTo>
                  <a:lnTo>
                    <a:pt x="23193" y="3324707"/>
                  </a:lnTo>
                  <a:close/>
                </a:path>
                <a:path w="2506980" h="4854575" extrusionOk="0">
                  <a:moveTo>
                    <a:pt x="1688273" y="3246479"/>
                  </a:moveTo>
                  <a:lnTo>
                    <a:pt x="1665101" y="3246479"/>
                  </a:lnTo>
                  <a:lnTo>
                    <a:pt x="1665101" y="3292813"/>
                  </a:lnTo>
                  <a:lnTo>
                    <a:pt x="1688273" y="3292813"/>
                  </a:lnTo>
                  <a:lnTo>
                    <a:pt x="1688273" y="3246479"/>
                  </a:lnTo>
                  <a:close/>
                </a:path>
                <a:path w="2506980" h="4854575" extrusionOk="0">
                  <a:moveTo>
                    <a:pt x="23193" y="3232019"/>
                  </a:moveTo>
                  <a:lnTo>
                    <a:pt x="0" y="3232019"/>
                  </a:lnTo>
                  <a:lnTo>
                    <a:pt x="0" y="3278384"/>
                  </a:lnTo>
                  <a:lnTo>
                    <a:pt x="23193" y="3278384"/>
                  </a:lnTo>
                  <a:lnTo>
                    <a:pt x="23193" y="3232019"/>
                  </a:lnTo>
                  <a:close/>
                </a:path>
                <a:path w="2506980" h="4854575" extrusionOk="0">
                  <a:moveTo>
                    <a:pt x="1688273" y="3153801"/>
                  </a:moveTo>
                  <a:lnTo>
                    <a:pt x="1665101" y="3153801"/>
                  </a:lnTo>
                  <a:lnTo>
                    <a:pt x="1665101" y="3200135"/>
                  </a:lnTo>
                  <a:lnTo>
                    <a:pt x="1688273" y="3200135"/>
                  </a:lnTo>
                  <a:lnTo>
                    <a:pt x="1688273" y="3153801"/>
                  </a:lnTo>
                  <a:close/>
                </a:path>
                <a:path w="2506980" h="4854575" extrusionOk="0">
                  <a:moveTo>
                    <a:pt x="23193" y="3139341"/>
                  </a:moveTo>
                  <a:lnTo>
                    <a:pt x="0" y="3139341"/>
                  </a:lnTo>
                  <a:lnTo>
                    <a:pt x="0" y="3185717"/>
                  </a:lnTo>
                  <a:lnTo>
                    <a:pt x="23193" y="3185717"/>
                  </a:lnTo>
                  <a:lnTo>
                    <a:pt x="23193" y="3139341"/>
                  </a:lnTo>
                  <a:close/>
                </a:path>
                <a:path w="2506980" h="4854575" extrusionOk="0">
                  <a:moveTo>
                    <a:pt x="1688273" y="3061082"/>
                  </a:moveTo>
                  <a:lnTo>
                    <a:pt x="1665101" y="3061082"/>
                  </a:lnTo>
                  <a:lnTo>
                    <a:pt x="1665101" y="3107447"/>
                  </a:lnTo>
                  <a:lnTo>
                    <a:pt x="1688273" y="3107447"/>
                  </a:lnTo>
                  <a:lnTo>
                    <a:pt x="1688273" y="3061082"/>
                  </a:lnTo>
                  <a:close/>
                </a:path>
                <a:path w="2506980" h="4854575" extrusionOk="0">
                  <a:moveTo>
                    <a:pt x="23193" y="3046642"/>
                  </a:moveTo>
                  <a:lnTo>
                    <a:pt x="0" y="3046642"/>
                  </a:lnTo>
                  <a:lnTo>
                    <a:pt x="0" y="3092986"/>
                  </a:lnTo>
                  <a:lnTo>
                    <a:pt x="23193" y="3092986"/>
                  </a:lnTo>
                  <a:lnTo>
                    <a:pt x="23193" y="3046642"/>
                  </a:lnTo>
                  <a:close/>
                </a:path>
                <a:path w="2506980" h="4854575" extrusionOk="0">
                  <a:moveTo>
                    <a:pt x="1688273" y="2968404"/>
                  </a:moveTo>
                  <a:lnTo>
                    <a:pt x="1665101" y="2968404"/>
                  </a:lnTo>
                  <a:lnTo>
                    <a:pt x="1665101" y="3014748"/>
                  </a:lnTo>
                  <a:lnTo>
                    <a:pt x="1688273" y="3014748"/>
                  </a:lnTo>
                  <a:lnTo>
                    <a:pt x="1688273" y="2968404"/>
                  </a:lnTo>
                  <a:close/>
                </a:path>
                <a:path w="2506980" h="4854575" extrusionOk="0">
                  <a:moveTo>
                    <a:pt x="23193" y="2953985"/>
                  </a:moveTo>
                  <a:lnTo>
                    <a:pt x="0" y="2953985"/>
                  </a:lnTo>
                  <a:lnTo>
                    <a:pt x="0" y="3000330"/>
                  </a:lnTo>
                  <a:lnTo>
                    <a:pt x="23193" y="3000330"/>
                  </a:lnTo>
                  <a:lnTo>
                    <a:pt x="23193" y="2953985"/>
                  </a:lnTo>
                  <a:close/>
                </a:path>
                <a:path w="2506980" h="4854575" extrusionOk="0">
                  <a:moveTo>
                    <a:pt x="1688273" y="2875737"/>
                  </a:moveTo>
                  <a:lnTo>
                    <a:pt x="1665101" y="2875737"/>
                  </a:lnTo>
                  <a:lnTo>
                    <a:pt x="1665101" y="2922081"/>
                  </a:lnTo>
                  <a:lnTo>
                    <a:pt x="1688273" y="2922081"/>
                  </a:lnTo>
                  <a:lnTo>
                    <a:pt x="1688273" y="2875737"/>
                  </a:lnTo>
                  <a:close/>
                </a:path>
                <a:path w="2506980" h="4854575" extrusionOk="0">
                  <a:moveTo>
                    <a:pt x="23193" y="2861287"/>
                  </a:moveTo>
                  <a:lnTo>
                    <a:pt x="0" y="2861287"/>
                  </a:lnTo>
                  <a:lnTo>
                    <a:pt x="0" y="2907631"/>
                  </a:lnTo>
                  <a:lnTo>
                    <a:pt x="23193" y="2907631"/>
                  </a:lnTo>
                  <a:lnTo>
                    <a:pt x="23193" y="2861287"/>
                  </a:lnTo>
                  <a:close/>
                </a:path>
                <a:path w="2506980" h="4854575" extrusionOk="0">
                  <a:moveTo>
                    <a:pt x="1688273" y="2783038"/>
                  </a:moveTo>
                  <a:lnTo>
                    <a:pt x="1665101" y="2783038"/>
                  </a:lnTo>
                  <a:lnTo>
                    <a:pt x="1665101" y="2829382"/>
                  </a:lnTo>
                  <a:lnTo>
                    <a:pt x="1688273" y="2829382"/>
                  </a:lnTo>
                  <a:lnTo>
                    <a:pt x="1688273" y="2783038"/>
                  </a:lnTo>
                  <a:close/>
                </a:path>
                <a:path w="2506980" h="4854575" extrusionOk="0">
                  <a:moveTo>
                    <a:pt x="23193" y="2768598"/>
                  </a:moveTo>
                  <a:lnTo>
                    <a:pt x="0" y="2768598"/>
                  </a:lnTo>
                  <a:lnTo>
                    <a:pt x="0" y="2814932"/>
                  </a:lnTo>
                  <a:lnTo>
                    <a:pt x="23193" y="2814932"/>
                  </a:lnTo>
                  <a:lnTo>
                    <a:pt x="23193" y="2768598"/>
                  </a:lnTo>
                  <a:close/>
                </a:path>
                <a:path w="2506980" h="4854575" extrusionOk="0">
                  <a:moveTo>
                    <a:pt x="1688273" y="2690350"/>
                  </a:moveTo>
                  <a:lnTo>
                    <a:pt x="1665101" y="2690350"/>
                  </a:lnTo>
                  <a:lnTo>
                    <a:pt x="1665101" y="2736673"/>
                  </a:lnTo>
                  <a:lnTo>
                    <a:pt x="1688273" y="2736673"/>
                  </a:lnTo>
                  <a:lnTo>
                    <a:pt x="1688273" y="2690350"/>
                  </a:lnTo>
                  <a:close/>
                </a:path>
                <a:path w="2506980" h="4854575" extrusionOk="0">
                  <a:moveTo>
                    <a:pt x="23193" y="2675910"/>
                  </a:moveTo>
                  <a:lnTo>
                    <a:pt x="0" y="2675910"/>
                  </a:lnTo>
                  <a:lnTo>
                    <a:pt x="0" y="2722233"/>
                  </a:lnTo>
                  <a:lnTo>
                    <a:pt x="23193" y="2722233"/>
                  </a:lnTo>
                  <a:lnTo>
                    <a:pt x="23193" y="2675910"/>
                  </a:lnTo>
                  <a:close/>
                </a:path>
                <a:path w="2506980" h="4854575" extrusionOk="0">
                  <a:moveTo>
                    <a:pt x="1688273" y="2597651"/>
                  </a:moveTo>
                  <a:lnTo>
                    <a:pt x="1665101" y="2597651"/>
                  </a:lnTo>
                  <a:lnTo>
                    <a:pt x="1665101" y="2643984"/>
                  </a:lnTo>
                  <a:lnTo>
                    <a:pt x="1688273" y="2643984"/>
                  </a:lnTo>
                  <a:lnTo>
                    <a:pt x="1688273" y="2597651"/>
                  </a:lnTo>
                  <a:close/>
                </a:path>
                <a:path w="2506980" h="4854575" extrusionOk="0">
                  <a:moveTo>
                    <a:pt x="23193" y="2583211"/>
                  </a:moveTo>
                  <a:lnTo>
                    <a:pt x="0" y="2583211"/>
                  </a:lnTo>
                  <a:lnTo>
                    <a:pt x="0" y="2629545"/>
                  </a:lnTo>
                  <a:lnTo>
                    <a:pt x="23193" y="2629545"/>
                  </a:lnTo>
                  <a:lnTo>
                    <a:pt x="23193" y="2583211"/>
                  </a:lnTo>
                  <a:close/>
                </a:path>
                <a:path w="2506980" h="4854575" extrusionOk="0">
                  <a:moveTo>
                    <a:pt x="1688273" y="2504983"/>
                  </a:moveTo>
                  <a:lnTo>
                    <a:pt x="1665101" y="2504983"/>
                  </a:lnTo>
                  <a:lnTo>
                    <a:pt x="1665101" y="2551307"/>
                  </a:lnTo>
                  <a:lnTo>
                    <a:pt x="1688273" y="2551307"/>
                  </a:lnTo>
                  <a:lnTo>
                    <a:pt x="1688273" y="2504983"/>
                  </a:lnTo>
                  <a:close/>
                </a:path>
                <a:path w="2506980" h="4854575" extrusionOk="0">
                  <a:moveTo>
                    <a:pt x="23193" y="2490544"/>
                  </a:moveTo>
                  <a:lnTo>
                    <a:pt x="0" y="2490544"/>
                  </a:lnTo>
                  <a:lnTo>
                    <a:pt x="0" y="2536867"/>
                  </a:lnTo>
                  <a:lnTo>
                    <a:pt x="23193" y="2536867"/>
                  </a:lnTo>
                  <a:lnTo>
                    <a:pt x="23193" y="2490544"/>
                  </a:lnTo>
                  <a:close/>
                </a:path>
                <a:path w="2506980" h="4854575" extrusionOk="0">
                  <a:moveTo>
                    <a:pt x="1688273" y="2412285"/>
                  </a:moveTo>
                  <a:lnTo>
                    <a:pt x="1665101" y="2412285"/>
                  </a:lnTo>
                  <a:lnTo>
                    <a:pt x="1665101" y="2458618"/>
                  </a:lnTo>
                  <a:lnTo>
                    <a:pt x="1688273" y="2458618"/>
                  </a:lnTo>
                  <a:lnTo>
                    <a:pt x="1688273" y="2412285"/>
                  </a:lnTo>
                  <a:close/>
                </a:path>
                <a:path w="2506980" h="4854575" extrusionOk="0">
                  <a:moveTo>
                    <a:pt x="23193" y="2397814"/>
                  </a:moveTo>
                  <a:lnTo>
                    <a:pt x="0" y="2397814"/>
                  </a:lnTo>
                  <a:lnTo>
                    <a:pt x="0" y="2444179"/>
                  </a:lnTo>
                  <a:lnTo>
                    <a:pt x="23193" y="2444179"/>
                  </a:lnTo>
                  <a:lnTo>
                    <a:pt x="23193" y="2397814"/>
                  </a:lnTo>
                  <a:close/>
                </a:path>
                <a:path w="2506980" h="4854575" extrusionOk="0">
                  <a:moveTo>
                    <a:pt x="1688273" y="2319575"/>
                  </a:moveTo>
                  <a:lnTo>
                    <a:pt x="1665101" y="2319575"/>
                  </a:lnTo>
                  <a:lnTo>
                    <a:pt x="1665101" y="2365930"/>
                  </a:lnTo>
                  <a:lnTo>
                    <a:pt x="1688273" y="2365930"/>
                  </a:lnTo>
                  <a:lnTo>
                    <a:pt x="1688273" y="2319575"/>
                  </a:lnTo>
                  <a:close/>
                </a:path>
                <a:path w="2506980" h="4854575" extrusionOk="0">
                  <a:moveTo>
                    <a:pt x="23193" y="2305168"/>
                  </a:moveTo>
                  <a:lnTo>
                    <a:pt x="0" y="2305168"/>
                  </a:lnTo>
                  <a:lnTo>
                    <a:pt x="0" y="2351501"/>
                  </a:lnTo>
                  <a:lnTo>
                    <a:pt x="23193" y="2351501"/>
                  </a:lnTo>
                  <a:lnTo>
                    <a:pt x="23193" y="2305168"/>
                  </a:lnTo>
                  <a:close/>
                </a:path>
                <a:path w="2506980" h="4854575" extrusionOk="0">
                  <a:moveTo>
                    <a:pt x="1688273" y="2226898"/>
                  </a:moveTo>
                  <a:lnTo>
                    <a:pt x="1665101" y="2226898"/>
                  </a:lnTo>
                  <a:lnTo>
                    <a:pt x="1665101" y="2273242"/>
                  </a:lnTo>
                  <a:lnTo>
                    <a:pt x="1688273" y="2273242"/>
                  </a:lnTo>
                  <a:lnTo>
                    <a:pt x="1688273" y="2226898"/>
                  </a:lnTo>
                  <a:close/>
                </a:path>
                <a:path w="2506980" h="4854575" extrusionOk="0">
                  <a:moveTo>
                    <a:pt x="23193" y="2212469"/>
                  </a:moveTo>
                  <a:lnTo>
                    <a:pt x="0" y="2212469"/>
                  </a:lnTo>
                  <a:lnTo>
                    <a:pt x="0" y="2258813"/>
                  </a:lnTo>
                  <a:lnTo>
                    <a:pt x="23193" y="2258813"/>
                  </a:lnTo>
                  <a:lnTo>
                    <a:pt x="23193" y="2212469"/>
                  </a:lnTo>
                  <a:close/>
                </a:path>
                <a:path w="2506980" h="4854575" extrusionOk="0">
                  <a:moveTo>
                    <a:pt x="1688273" y="2134220"/>
                  </a:moveTo>
                  <a:lnTo>
                    <a:pt x="1665101" y="2134220"/>
                  </a:lnTo>
                  <a:lnTo>
                    <a:pt x="1665101" y="2180554"/>
                  </a:lnTo>
                  <a:lnTo>
                    <a:pt x="1688273" y="2180554"/>
                  </a:lnTo>
                  <a:lnTo>
                    <a:pt x="1688273" y="2134220"/>
                  </a:lnTo>
                  <a:close/>
                </a:path>
                <a:path w="2506980" h="4854575" extrusionOk="0">
                  <a:moveTo>
                    <a:pt x="23193" y="2119770"/>
                  </a:moveTo>
                  <a:lnTo>
                    <a:pt x="0" y="2119770"/>
                  </a:lnTo>
                  <a:lnTo>
                    <a:pt x="0" y="2166114"/>
                  </a:lnTo>
                  <a:lnTo>
                    <a:pt x="23193" y="2166114"/>
                  </a:lnTo>
                  <a:lnTo>
                    <a:pt x="23193" y="2119770"/>
                  </a:lnTo>
                  <a:close/>
                </a:path>
                <a:path w="2506980" h="4854575" extrusionOk="0">
                  <a:moveTo>
                    <a:pt x="1688273" y="2041521"/>
                  </a:moveTo>
                  <a:lnTo>
                    <a:pt x="1665101" y="2041521"/>
                  </a:lnTo>
                  <a:lnTo>
                    <a:pt x="1665101" y="2087876"/>
                  </a:lnTo>
                  <a:lnTo>
                    <a:pt x="1688273" y="2087876"/>
                  </a:lnTo>
                  <a:lnTo>
                    <a:pt x="1688273" y="2041521"/>
                  </a:lnTo>
                  <a:close/>
                </a:path>
                <a:path w="2506980" h="4854575" extrusionOk="0">
                  <a:moveTo>
                    <a:pt x="23193" y="2027092"/>
                  </a:moveTo>
                  <a:lnTo>
                    <a:pt x="0" y="2027092"/>
                  </a:lnTo>
                  <a:lnTo>
                    <a:pt x="0" y="2073405"/>
                  </a:lnTo>
                  <a:lnTo>
                    <a:pt x="23193" y="2073405"/>
                  </a:lnTo>
                  <a:lnTo>
                    <a:pt x="23193" y="2027092"/>
                  </a:lnTo>
                  <a:close/>
                </a:path>
                <a:path w="2506980" h="4854575" extrusionOk="0">
                  <a:moveTo>
                    <a:pt x="1688273" y="1948833"/>
                  </a:moveTo>
                  <a:lnTo>
                    <a:pt x="1665101" y="1948833"/>
                  </a:lnTo>
                  <a:lnTo>
                    <a:pt x="1665101" y="1995198"/>
                  </a:lnTo>
                  <a:lnTo>
                    <a:pt x="1688273" y="1995198"/>
                  </a:lnTo>
                  <a:lnTo>
                    <a:pt x="1688273" y="1948833"/>
                  </a:lnTo>
                  <a:close/>
                </a:path>
                <a:path w="2506980" h="4854575" extrusionOk="0">
                  <a:moveTo>
                    <a:pt x="23193" y="1934393"/>
                  </a:moveTo>
                  <a:lnTo>
                    <a:pt x="0" y="1934393"/>
                  </a:lnTo>
                  <a:lnTo>
                    <a:pt x="0" y="1980738"/>
                  </a:lnTo>
                  <a:lnTo>
                    <a:pt x="23193" y="1980738"/>
                  </a:lnTo>
                  <a:lnTo>
                    <a:pt x="23193" y="1934393"/>
                  </a:lnTo>
                  <a:close/>
                </a:path>
                <a:path w="2506980" h="4854575" extrusionOk="0">
                  <a:moveTo>
                    <a:pt x="1688273" y="1856155"/>
                  </a:moveTo>
                  <a:lnTo>
                    <a:pt x="1665101" y="1856155"/>
                  </a:lnTo>
                  <a:lnTo>
                    <a:pt x="1665101" y="1902499"/>
                  </a:lnTo>
                  <a:lnTo>
                    <a:pt x="1688273" y="1902499"/>
                  </a:lnTo>
                  <a:lnTo>
                    <a:pt x="1688273" y="1856155"/>
                  </a:lnTo>
                  <a:close/>
                </a:path>
                <a:path w="2506980" h="4854575" extrusionOk="0">
                  <a:moveTo>
                    <a:pt x="23193" y="1841716"/>
                  </a:moveTo>
                  <a:lnTo>
                    <a:pt x="0" y="1841716"/>
                  </a:lnTo>
                  <a:lnTo>
                    <a:pt x="0" y="1888060"/>
                  </a:lnTo>
                  <a:lnTo>
                    <a:pt x="23193" y="1888060"/>
                  </a:lnTo>
                  <a:lnTo>
                    <a:pt x="23193" y="1841716"/>
                  </a:lnTo>
                  <a:close/>
                </a:path>
                <a:path w="2506980" h="4854575" extrusionOk="0">
                  <a:moveTo>
                    <a:pt x="1688273" y="1763467"/>
                  </a:moveTo>
                  <a:lnTo>
                    <a:pt x="1665101" y="1763467"/>
                  </a:lnTo>
                  <a:lnTo>
                    <a:pt x="1665101" y="1809811"/>
                  </a:lnTo>
                  <a:lnTo>
                    <a:pt x="1688273" y="1809811"/>
                  </a:lnTo>
                  <a:lnTo>
                    <a:pt x="1688273" y="1763467"/>
                  </a:lnTo>
                  <a:close/>
                </a:path>
                <a:path w="2506980" h="4854575" extrusionOk="0">
                  <a:moveTo>
                    <a:pt x="23193" y="1749017"/>
                  </a:moveTo>
                  <a:lnTo>
                    <a:pt x="0" y="1749017"/>
                  </a:lnTo>
                  <a:lnTo>
                    <a:pt x="0" y="1795361"/>
                  </a:lnTo>
                  <a:lnTo>
                    <a:pt x="23193" y="1795361"/>
                  </a:lnTo>
                  <a:lnTo>
                    <a:pt x="23193" y="1749017"/>
                  </a:lnTo>
                  <a:close/>
                </a:path>
                <a:path w="2506980" h="4854575" extrusionOk="0">
                  <a:moveTo>
                    <a:pt x="1688273" y="1670778"/>
                  </a:moveTo>
                  <a:lnTo>
                    <a:pt x="1665101" y="1670778"/>
                  </a:lnTo>
                  <a:lnTo>
                    <a:pt x="1665101" y="1717112"/>
                  </a:lnTo>
                  <a:lnTo>
                    <a:pt x="1688273" y="1717112"/>
                  </a:lnTo>
                  <a:lnTo>
                    <a:pt x="1688273" y="1670778"/>
                  </a:lnTo>
                  <a:close/>
                </a:path>
                <a:path w="2506980" h="4854575" extrusionOk="0">
                  <a:moveTo>
                    <a:pt x="23193" y="1656339"/>
                  </a:moveTo>
                  <a:lnTo>
                    <a:pt x="0" y="1656339"/>
                  </a:lnTo>
                  <a:lnTo>
                    <a:pt x="0" y="1702673"/>
                  </a:lnTo>
                  <a:lnTo>
                    <a:pt x="23193" y="1702673"/>
                  </a:lnTo>
                  <a:lnTo>
                    <a:pt x="23193" y="1656339"/>
                  </a:lnTo>
                  <a:close/>
                </a:path>
                <a:path w="2506980" h="4854575" extrusionOk="0">
                  <a:moveTo>
                    <a:pt x="1688273" y="1578111"/>
                  </a:moveTo>
                  <a:lnTo>
                    <a:pt x="1665101" y="1578111"/>
                  </a:lnTo>
                  <a:lnTo>
                    <a:pt x="1665101" y="1624424"/>
                  </a:lnTo>
                  <a:lnTo>
                    <a:pt x="1688273" y="1624424"/>
                  </a:lnTo>
                  <a:lnTo>
                    <a:pt x="1688273" y="1578111"/>
                  </a:lnTo>
                  <a:close/>
                </a:path>
                <a:path w="2506980" h="4854575" extrusionOk="0">
                  <a:moveTo>
                    <a:pt x="23193" y="1563640"/>
                  </a:moveTo>
                  <a:lnTo>
                    <a:pt x="0" y="1563640"/>
                  </a:lnTo>
                  <a:lnTo>
                    <a:pt x="0" y="1609974"/>
                  </a:lnTo>
                  <a:lnTo>
                    <a:pt x="23193" y="1609974"/>
                  </a:lnTo>
                  <a:lnTo>
                    <a:pt x="23193" y="1563640"/>
                  </a:lnTo>
                  <a:close/>
                </a:path>
                <a:path w="2506980" h="4854575" extrusionOk="0">
                  <a:moveTo>
                    <a:pt x="1688273" y="1485391"/>
                  </a:moveTo>
                  <a:lnTo>
                    <a:pt x="1665101" y="1485391"/>
                  </a:lnTo>
                  <a:lnTo>
                    <a:pt x="1665101" y="1531725"/>
                  </a:lnTo>
                  <a:lnTo>
                    <a:pt x="1688273" y="1531725"/>
                  </a:lnTo>
                  <a:lnTo>
                    <a:pt x="1688273" y="1485391"/>
                  </a:lnTo>
                  <a:close/>
                </a:path>
                <a:path w="2506980" h="4854575" extrusionOk="0">
                  <a:moveTo>
                    <a:pt x="23193" y="1470963"/>
                  </a:moveTo>
                  <a:lnTo>
                    <a:pt x="0" y="1470963"/>
                  </a:lnTo>
                  <a:lnTo>
                    <a:pt x="0" y="1517296"/>
                  </a:lnTo>
                  <a:lnTo>
                    <a:pt x="23193" y="1517296"/>
                  </a:lnTo>
                  <a:lnTo>
                    <a:pt x="23193" y="1470963"/>
                  </a:lnTo>
                  <a:close/>
                </a:path>
                <a:path w="2506980" h="4854575" extrusionOk="0">
                  <a:moveTo>
                    <a:pt x="1688273" y="1392714"/>
                  </a:moveTo>
                  <a:lnTo>
                    <a:pt x="1665101" y="1392714"/>
                  </a:lnTo>
                  <a:lnTo>
                    <a:pt x="1665101" y="1439047"/>
                  </a:lnTo>
                  <a:lnTo>
                    <a:pt x="1688273" y="1439047"/>
                  </a:lnTo>
                  <a:lnTo>
                    <a:pt x="1688273" y="1392714"/>
                  </a:lnTo>
                  <a:close/>
                </a:path>
                <a:path w="2506980" h="4854575" extrusionOk="0">
                  <a:moveTo>
                    <a:pt x="23193" y="1378253"/>
                  </a:moveTo>
                  <a:lnTo>
                    <a:pt x="0" y="1378253"/>
                  </a:lnTo>
                  <a:lnTo>
                    <a:pt x="0" y="1424608"/>
                  </a:lnTo>
                  <a:lnTo>
                    <a:pt x="23193" y="1424608"/>
                  </a:lnTo>
                  <a:lnTo>
                    <a:pt x="23193" y="1378253"/>
                  </a:lnTo>
                  <a:close/>
                </a:path>
                <a:path w="2506980" h="4854575" extrusionOk="0">
                  <a:moveTo>
                    <a:pt x="1688273" y="1300025"/>
                  </a:moveTo>
                  <a:lnTo>
                    <a:pt x="1665101" y="1300025"/>
                  </a:lnTo>
                  <a:lnTo>
                    <a:pt x="1665101" y="1346369"/>
                  </a:lnTo>
                  <a:lnTo>
                    <a:pt x="1688273" y="1346369"/>
                  </a:lnTo>
                  <a:lnTo>
                    <a:pt x="1688273" y="1300025"/>
                  </a:lnTo>
                  <a:close/>
                </a:path>
                <a:path w="2506980" h="4854575" extrusionOk="0">
                  <a:moveTo>
                    <a:pt x="23193" y="1285565"/>
                  </a:moveTo>
                  <a:lnTo>
                    <a:pt x="0" y="1285565"/>
                  </a:lnTo>
                  <a:lnTo>
                    <a:pt x="0" y="1331920"/>
                  </a:lnTo>
                  <a:lnTo>
                    <a:pt x="23193" y="1331920"/>
                  </a:lnTo>
                  <a:lnTo>
                    <a:pt x="23193" y="1285565"/>
                  </a:lnTo>
                  <a:close/>
                </a:path>
                <a:path w="2506980" h="4854575" extrusionOk="0">
                  <a:moveTo>
                    <a:pt x="1688273" y="1207285"/>
                  </a:moveTo>
                  <a:lnTo>
                    <a:pt x="1665101" y="1207285"/>
                  </a:lnTo>
                  <a:lnTo>
                    <a:pt x="1665101" y="1253639"/>
                  </a:lnTo>
                  <a:lnTo>
                    <a:pt x="1688273" y="1253639"/>
                  </a:lnTo>
                  <a:lnTo>
                    <a:pt x="1688273" y="1207285"/>
                  </a:lnTo>
                  <a:close/>
                </a:path>
                <a:path w="2506980" h="4854575" extrusionOk="0">
                  <a:moveTo>
                    <a:pt x="23193" y="1192845"/>
                  </a:moveTo>
                  <a:lnTo>
                    <a:pt x="0" y="1192845"/>
                  </a:lnTo>
                  <a:lnTo>
                    <a:pt x="0" y="1239190"/>
                  </a:lnTo>
                  <a:lnTo>
                    <a:pt x="23193" y="1239190"/>
                  </a:lnTo>
                  <a:lnTo>
                    <a:pt x="23193" y="1192845"/>
                  </a:lnTo>
                  <a:close/>
                </a:path>
                <a:path w="2506980" h="4854575" extrusionOk="0">
                  <a:moveTo>
                    <a:pt x="1688273" y="1114617"/>
                  </a:moveTo>
                  <a:lnTo>
                    <a:pt x="1665101" y="1114617"/>
                  </a:lnTo>
                  <a:lnTo>
                    <a:pt x="1665101" y="1160972"/>
                  </a:lnTo>
                  <a:lnTo>
                    <a:pt x="1688273" y="1160972"/>
                  </a:lnTo>
                  <a:lnTo>
                    <a:pt x="1688273" y="1114617"/>
                  </a:lnTo>
                  <a:close/>
                </a:path>
                <a:path w="2506980" h="4854575" extrusionOk="0">
                  <a:moveTo>
                    <a:pt x="23193" y="1100168"/>
                  </a:moveTo>
                  <a:lnTo>
                    <a:pt x="0" y="1100168"/>
                  </a:lnTo>
                  <a:lnTo>
                    <a:pt x="0" y="1146522"/>
                  </a:lnTo>
                  <a:lnTo>
                    <a:pt x="23193" y="1146522"/>
                  </a:lnTo>
                  <a:lnTo>
                    <a:pt x="23193" y="1100168"/>
                  </a:lnTo>
                  <a:close/>
                </a:path>
                <a:path w="2506980" h="4854575" extrusionOk="0">
                  <a:moveTo>
                    <a:pt x="1688273" y="1021971"/>
                  </a:moveTo>
                  <a:lnTo>
                    <a:pt x="1665101" y="1021971"/>
                  </a:lnTo>
                  <a:lnTo>
                    <a:pt x="1665101" y="1068305"/>
                  </a:lnTo>
                  <a:lnTo>
                    <a:pt x="1688273" y="1068305"/>
                  </a:lnTo>
                  <a:lnTo>
                    <a:pt x="1688273" y="1021971"/>
                  </a:lnTo>
                  <a:close/>
                </a:path>
                <a:path w="2506980" h="4854575" extrusionOk="0">
                  <a:moveTo>
                    <a:pt x="23193" y="1007511"/>
                  </a:moveTo>
                  <a:lnTo>
                    <a:pt x="0" y="1007511"/>
                  </a:lnTo>
                  <a:lnTo>
                    <a:pt x="0" y="1053855"/>
                  </a:lnTo>
                  <a:lnTo>
                    <a:pt x="23193" y="1053855"/>
                  </a:lnTo>
                  <a:lnTo>
                    <a:pt x="23193" y="1007511"/>
                  </a:lnTo>
                  <a:close/>
                </a:path>
                <a:path w="2506980" h="4854575" extrusionOk="0">
                  <a:moveTo>
                    <a:pt x="1688273" y="929251"/>
                  </a:moveTo>
                  <a:lnTo>
                    <a:pt x="1665027" y="929356"/>
                  </a:lnTo>
                  <a:lnTo>
                    <a:pt x="1665027" y="975637"/>
                  </a:lnTo>
                  <a:lnTo>
                    <a:pt x="1688273" y="975637"/>
                  </a:lnTo>
                  <a:lnTo>
                    <a:pt x="1688273" y="929251"/>
                  </a:lnTo>
                  <a:close/>
                </a:path>
                <a:path w="2506980" h="4854575" extrusionOk="0">
                  <a:moveTo>
                    <a:pt x="261" y="914592"/>
                  </a:moveTo>
                  <a:lnTo>
                    <a:pt x="52" y="922341"/>
                  </a:lnTo>
                  <a:lnTo>
                    <a:pt x="52" y="961188"/>
                  </a:lnTo>
                  <a:lnTo>
                    <a:pt x="23193" y="961188"/>
                  </a:lnTo>
                  <a:lnTo>
                    <a:pt x="23201" y="922341"/>
                  </a:lnTo>
                  <a:lnTo>
                    <a:pt x="23402" y="915116"/>
                  </a:lnTo>
                  <a:lnTo>
                    <a:pt x="261" y="914592"/>
                  </a:lnTo>
                  <a:close/>
                </a:path>
                <a:path w="2506980" h="4854575" extrusionOk="0">
                  <a:moveTo>
                    <a:pt x="1683351" y="835642"/>
                  </a:moveTo>
                  <a:lnTo>
                    <a:pt x="1660211" y="837945"/>
                  </a:lnTo>
                  <a:lnTo>
                    <a:pt x="1661251" y="849275"/>
                  </a:lnTo>
                  <a:lnTo>
                    <a:pt x="1662174" y="860654"/>
                  </a:lnTo>
                  <a:lnTo>
                    <a:pt x="1662979" y="872092"/>
                  </a:lnTo>
                  <a:lnTo>
                    <a:pt x="1663666" y="883598"/>
                  </a:lnTo>
                  <a:lnTo>
                    <a:pt x="1686807" y="882342"/>
                  </a:lnTo>
                  <a:lnTo>
                    <a:pt x="1686120" y="870598"/>
                  </a:lnTo>
                  <a:lnTo>
                    <a:pt x="1685315" y="858913"/>
                  </a:lnTo>
                  <a:lnTo>
                    <a:pt x="1684392" y="847268"/>
                  </a:lnTo>
                  <a:lnTo>
                    <a:pt x="1683351" y="835642"/>
                  </a:lnTo>
                  <a:close/>
                </a:path>
                <a:path w="2506980" h="4854575" extrusionOk="0">
                  <a:moveTo>
                    <a:pt x="6439" y="821087"/>
                  </a:moveTo>
                  <a:lnTo>
                    <a:pt x="5227" y="832713"/>
                  </a:lnTo>
                  <a:lnTo>
                    <a:pt x="4122" y="844359"/>
                  </a:lnTo>
                  <a:lnTo>
                    <a:pt x="3155" y="856043"/>
                  </a:lnTo>
                  <a:lnTo>
                    <a:pt x="2355" y="867787"/>
                  </a:lnTo>
                  <a:lnTo>
                    <a:pt x="25391" y="869358"/>
                  </a:lnTo>
                  <a:lnTo>
                    <a:pt x="26236" y="857851"/>
                  </a:lnTo>
                  <a:lnTo>
                    <a:pt x="27198" y="846414"/>
                  </a:lnTo>
                  <a:lnTo>
                    <a:pt x="28277" y="835035"/>
                  </a:lnTo>
                  <a:lnTo>
                    <a:pt x="29475" y="823705"/>
                  </a:lnTo>
                  <a:lnTo>
                    <a:pt x="6439" y="821087"/>
                  </a:lnTo>
                  <a:close/>
                </a:path>
                <a:path w="2506980" h="4854575" extrusionOk="0">
                  <a:moveTo>
                    <a:pt x="1669949" y="742870"/>
                  </a:moveTo>
                  <a:lnTo>
                    <a:pt x="1647227" y="747163"/>
                  </a:lnTo>
                  <a:lnTo>
                    <a:pt x="1649288" y="758412"/>
                  </a:lnTo>
                  <a:lnTo>
                    <a:pt x="1651232" y="769701"/>
                  </a:lnTo>
                  <a:lnTo>
                    <a:pt x="1653058" y="781029"/>
                  </a:lnTo>
                  <a:lnTo>
                    <a:pt x="1654766" y="792397"/>
                  </a:lnTo>
                  <a:lnTo>
                    <a:pt x="1677697" y="789151"/>
                  </a:lnTo>
                  <a:lnTo>
                    <a:pt x="1675971" y="777487"/>
                  </a:lnTo>
                  <a:lnTo>
                    <a:pt x="1674098" y="765892"/>
                  </a:lnTo>
                  <a:lnTo>
                    <a:pt x="1672087" y="754356"/>
                  </a:lnTo>
                  <a:lnTo>
                    <a:pt x="1669949" y="742870"/>
                  </a:lnTo>
                  <a:close/>
                </a:path>
                <a:path w="2506980" h="4854575" extrusionOk="0">
                  <a:moveTo>
                    <a:pt x="21098" y="728524"/>
                  </a:moveTo>
                  <a:lnTo>
                    <a:pt x="18803" y="740010"/>
                  </a:lnTo>
                  <a:lnTo>
                    <a:pt x="16635" y="751534"/>
                  </a:lnTo>
                  <a:lnTo>
                    <a:pt x="14605" y="763098"/>
                  </a:lnTo>
                  <a:lnTo>
                    <a:pt x="12722" y="774701"/>
                  </a:lnTo>
                  <a:lnTo>
                    <a:pt x="35653" y="778261"/>
                  </a:lnTo>
                  <a:lnTo>
                    <a:pt x="37459" y="766956"/>
                  </a:lnTo>
                  <a:lnTo>
                    <a:pt x="39422" y="755670"/>
                  </a:lnTo>
                  <a:lnTo>
                    <a:pt x="41543" y="744424"/>
                  </a:lnTo>
                  <a:lnTo>
                    <a:pt x="43820" y="733236"/>
                  </a:lnTo>
                  <a:lnTo>
                    <a:pt x="21098" y="728524"/>
                  </a:lnTo>
                  <a:close/>
                </a:path>
                <a:path w="2506980" h="4854575" extrusionOk="0">
                  <a:moveTo>
                    <a:pt x="1648274" y="651773"/>
                  </a:moveTo>
                  <a:lnTo>
                    <a:pt x="1625971" y="658160"/>
                  </a:lnTo>
                  <a:lnTo>
                    <a:pt x="1629068" y="669115"/>
                  </a:lnTo>
                  <a:lnTo>
                    <a:pt x="1632057" y="680149"/>
                  </a:lnTo>
                  <a:lnTo>
                    <a:pt x="1634909" y="691261"/>
                  </a:lnTo>
                  <a:lnTo>
                    <a:pt x="1637594" y="702452"/>
                  </a:lnTo>
                  <a:lnTo>
                    <a:pt x="1660106" y="697112"/>
                  </a:lnTo>
                  <a:lnTo>
                    <a:pt x="1657359" y="685684"/>
                  </a:lnTo>
                  <a:lnTo>
                    <a:pt x="1654465" y="674325"/>
                  </a:lnTo>
                  <a:lnTo>
                    <a:pt x="1651433" y="663024"/>
                  </a:lnTo>
                  <a:lnTo>
                    <a:pt x="1648274" y="651773"/>
                  </a:lnTo>
                  <a:close/>
                </a:path>
                <a:path w="2506980" h="4854575" extrusionOk="0">
                  <a:moveTo>
                    <a:pt x="44134" y="637742"/>
                  </a:moveTo>
                  <a:lnTo>
                    <a:pt x="40816" y="648931"/>
                  </a:lnTo>
                  <a:lnTo>
                    <a:pt x="37616" y="660189"/>
                  </a:lnTo>
                  <a:lnTo>
                    <a:pt x="34534" y="671506"/>
                  </a:lnTo>
                  <a:lnTo>
                    <a:pt x="31569" y="682871"/>
                  </a:lnTo>
                  <a:lnTo>
                    <a:pt x="53977" y="688630"/>
                  </a:lnTo>
                  <a:lnTo>
                    <a:pt x="56865" y="677456"/>
                  </a:lnTo>
                  <a:lnTo>
                    <a:pt x="59880" y="666380"/>
                  </a:lnTo>
                  <a:lnTo>
                    <a:pt x="63033" y="655382"/>
                  </a:lnTo>
                  <a:lnTo>
                    <a:pt x="66333" y="644443"/>
                  </a:lnTo>
                  <a:lnTo>
                    <a:pt x="44134" y="637742"/>
                  </a:lnTo>
                  <a:close/>
                </a:path>
                <a:path w="2506980" h="4854575" extrusionOk="0">
                  <a:moveTo>
                    <a:pt x="1618118" y="562980"/>
                  </a:moveTo>
                  <a:lnTo>
                    <a:pt x="1596548" y="571461"/>
                  </a:lnTo>
                  <a:lnTo>
                    <a:pt x="1600651" y="582102"/>
                  </a:lnTo>
                  <a:lnTo>
                    <a:pt x="1604637" y="592822"/>
                  </a:lnTo>
                  <a:lnTo>
                    <a:pt x="1608504" y="603620"/>
                  </a:lnTo>
                  <a:lnTo>
                    <a:pt x="1612254" y="614496"/>
                  </a:lnTo>
                  <a:lnTo>
                    <a:pt x="1634243" y="606957"/>
                  </a:lnTo>
                  <a:lnTo>
                    <a:pt x="1630354" y="595889"/>
                  </a:lnTo>
                  <a:lnTo>
                    <a:pt x="1626377" y="584851"/>
                  </a:lnTo>
                  <a:lnTo>
                    <a:pt x="1622301" y="573871"/>
                  </a:lnTo>
                  <a:lnTo>
                    <a:pt x="1618118" y="562980"/>
                  </a:lnTo>
                  <a:close/>
                </a:path>
                <a:path w="2506980" h="4854575" extrusionOk="0">
                  <a:moveTo>
                    <a:pt x="75547" y="549472"/>
                  </a:moveTo>
                  <a:lnTo>
                    <a:pt x="71192" y="560287"/>
                  </a:lnTo>
                  <a:lnTo>
                    <a:pt x="66935" y="571199"/>
                  </a:lnTo>
                  <a:lnTo>
                    <a:pt x="62795" y="582191"/>
                  </a:lnTo>
                  <a:lnTo>
                    <a:pt x="58794" y="593241"/>
                  </a:lnTo>
                  <a:lnTo>
                    <a:pt x="80678" y="600989"/>
                  </a:lnTo>
                  <a:lnTo>
                    <a:pt x="84540" y="590189"/>
                  </a:lnTo>
                  <a:lnTo>
                    <a:pt x="88570" y="579458"/>
                  </a:lnTo>
                  <a:lnTo>
                    <a:pt x="92737" y="568786"/>
                  </a:lnTo>
                  <a:lnTo>
                    <a:pt x="97012" y="558163"/>
                  </a:lnTo>
                  <a:lnTo>
                    <a:pt x="75547" y="549472"/>
                  </a:lnTo>
                  <a:close/>
                </a:path>
                <a:path w="2506980" h="4854575" extrusionOk="0">
                  <a:moveTo>
                    <a:pt x="1579690" y="477433"/>
                  </a:moveTo>
                  <a:lnTo>
                    <a:pt x="1559062" y="488008"/>
                  </a:lnTo>
                  <a:lnTo>
                    <a:pt x="1564171" y="498194"/>
                  </a:lnTo>
                  <a:lnTo>
                    <a:pt x="1569153" y="508479"/>
                  </a:lnTo>
                  <a:lnTo>
                    <a:pt x="1574037" y="518842"/>
                  </a:lnTo>
                  <a:lnTo>
                    <a:pt x="1578852" y="529263"/>
                  </a:lnTo>
                  <a:lnTo>
                    <a:pt x="1599898" y="519735"/>
                  </a:lnTo>
                  <a:lnTo>
                    <a:pt x="1595047" y="509076"/>
                  </a:lnTo>
                  <a:lnTo>
                    <a:pt x="1590069" y="498466"/>
                  </a:lnTo>
                  <a:lnTo>
                    <a:pt x="1584953" y="487915"/>
                  </a:lnTo>
                  <a:lnTo>
                    <a:pt x="1579690" y="477433"/>
                  </a:lnTo>
                  <a:close/>
                </a:path>
                <a:path w="2506980" h="4854575" extrusionOk="0">
                  <a:moveTo>
                    <a:pt x="115232" y="464449"/>
                  </a:moveTo>
                  <a:lnTo>
                    <a:pt x="109855" y="474853"/>
                  </a:lnTo>
                  <a:lnTo>
                    <a:pt x="104547" y="485387"/>
                  </a:lnTo>
                  <a:lnTo>
                    <a:pt x="99417" y="495856"/>
                  </a:lnTo>
                  <a:lnTo>
                    <a:pt x="94395" y="506437"/>
                  </a:lnTo>
                  <a:lnTo>
                    <a:pt x="115336" y="516280"/>
                  </a:lnTo>
                  <a:lnTo>
                    <a:pt x="120264" y="505891"/>
                  </a:lnTo>
                  <a:lnTo>
                    <a:pt x="125310" y="495600"/>
                  </a:lnTo>
                  <a:lnTo>
                    <a:pt x="130506" y="485325"/>
                  </a:lnTo>
                  <a:lnTo>
                    <a:pt x="135755" y="475234"/>
                  </a:lnTo>
                  <a:lnTo>
                    <a:pt x="115232" y="464449"/>
                  </a:lnTo>
                  <a:close/>
                </a:path>
                <a:path w="2506980" h="4854575" extrusionOk="0">
                  <a:moveTo>
                    <a:pt x="1533199" y="396074"/>
                  </a:moveTo>
                  <a:lnTo>
                    <a:pt x="1513723" y="408534"/>
                  </a:lnTo>
                  <a:lnTo>
                    <a:pt x="1519791" y="418172"/>
                  </a:lnTo>
                  <a:lnTo>
                    <a:pt x="1525751" y="427918"/>
                  </a:lnTo>
                  <a:lnTo>
                    <a:pt x="1531614" y="437763"/>
                  </a:lnTo>
                  <a:lnTo>
                    <a:pt x="1537387" y="447695"/>
                  </a:lnTo>
                  <a:lnTo>
                    <a:pt x="1557491" y="436177"/>
                  </a:lnTo>
                  <a:lnTo>
                    <a:pt x="1551605" y="426009"/>
                  </a:lnTo>
                  <a:lnTo>
                    <a:pt x="1545581" y="415929"/>
                  </a:lnTo>
                  <a:lnTo>
                    <a:pt x="1539439" y="405948"/>
                  </a:lnTo>
                  <a:lnTo>
                    <a:pt x="1533199" y="396074"/>
                  </a:lnTo>
                  <a:close/>
                </a:path>
                <a:path w="2506980" h="4854575" extrusionOk="0">
                  <a:moveTo>
                    <a:pt x="162979" y="383823"/>
                  </a:moveTo>
                  <a:lnTo>
                    <a:pt x="156596" y="393602"/>
                  </a:lnTo>
                  <a:lnTo>
                    <a:pt x="150322" y="403469"/>
                  </a:lnTo>
                  <a:lnTo>
                    <a:pt x="144146" y="413434"/>
                  </a:lnTo>
                  <a:lnTo>
                    <a:pt x="138058" y="423508"/>
                  </a:lnTo>
                  <a:lnTo>
                    <a:pt x="158058" y="435340"/>
                  </a:lnTo>
                  <a:lnTo>
                    <a:pt x="163928" y="425500"/>
                  </a:lnTo>
                  <a:lnTo>
                    <a:pt x="169916" y="415759"/>
                  </a:lnTo>
                  <a:lnTo>
                    <a:pt x="176022" y="406096"/>
                  </a:lnTo>
                  <a:lnTo>
                    <a:pt x="182245" y="396493"/>
                  </a:lnTo>
                  <a:lnTo>
                    <a:pt x="162979" y="383823"/>
                  </a:lnTo>
                  <a:close/>
                </a:path>
                <a:path w="2506980" h="4854575" extrusionOk="0">
                  <a:moveTo>
                    <a:pt x="1478855" y="319532"/>
                  </a:moveTo>
                  <a:lnTo>
                    <a:pt x="1460740" y="333877"/>
                  </a:lnTo>
                  <a:lnTo>
                    <a:pt x="1467751" y="342887"/>
                  </a:lnTo>
                  <a:lnTo>
                    <a:pt x="1474654" y="352004"/>
                  </a:lnTo>
                  <a:lnTo>
                    <a:pt x="1481458" y="361221"/>
                  </a:lnTo>
                  <a:lnTo>
                    <a:pt x="1488174" y="370525"/>
                  </a:lnTo>
                  <a:lnTo>
                    <a:pt x="1507022" y="357122"/>
                  </a:lnTo>
                  <a:lnTo>
                    <a:pt x="1500147" y="347582"/>
                  </a:lnTo>
                  <a:lnTo>
                    <a:pt x="1493174" y="338131"/>
                  </a:lnTo>
                  <a:lnTo>
                    <a:pt x="1486083" y="328777"/>
                  </a:lnTo>
                  <a:lnTo>
                    <a:pt x="1478855" y="319532"/>
                  </a:lnTo>
                  <a:close/>
                </a:path>
                <a:path w="2506980" h="4854575" extrusionOk="0">
                  <a:moveTo>
                    <a:pt x="218475" y="308118"/>
                  </a:moveTo>
                  <a:lnTo>
                    <a:pt x="211150" y="317269"/>
                  </a:lnTo>
                  <a:lnTo>
                    <a:pt x="203933" y="326508"/>
                  </a:lnTo>
                  <a:lnTo>
                    <a:pt x="196815" y="335845"/>
                  </a:lnTo>
                  <a:lnTo>
                    <a:pt x="189784" y="345290"/>
                  </a:lnTo>
                  <a:lnTo>
                    <a:pt x="208422" y="359007"/>
                  </a:lnTo>
                  <a:lnTo>
                    <a:pt x="215296" y="349797"/>
                  </a:lnTo>
                  <a:lnTo>
                    <a:pt x="222257" y="340696"/>
                  </a:lnTo>
                  <a:lnTo>
                    <a:pt x="229317" y="331693"/>
                  </a:lnTo>
                  <a:lnTo>
                    <a:pt x="236484" y="322778"/>
                  </a:lnTo>
                  <a:lnTo>
                    <a:pt x="218475" y="308118"/>
                  </a:lnTo>
                  <a:close/>
                </a:path>
                <a:path w="2506980" h="4854575" extrusionOk="0">
                  <a:moveTo>
                    <a:pt x="1416972" y="249063"/>
                  </a:moveTo>
                  <a:lnTo>
                    <a:pt x="1400428" y="265188"/>
                  </a:lnTo>
                  <a:lnTo>
                    <a:pt x="1408363" y="273414"/>
                  </a:lnTo>
                  <a:lnTo>
                    <a:pt x="1416161" y="281758"/>
                  </a:lnTo>
                  <a:lnTo>
                    <a:pt x="1423840" y="290220"/>
                  </a:lnTo>
                  <a:lnTo>
                    <a:pt x="1431422" y="298799"/>
                  </a:lnTo>
                  <a:lnTo>
                    <a:pt x="1448908" y="283512"/>
                  </a:lnTo>
                  <a:lnTo>
                    <a:pt x="1441091" y="274698"/>
                  </a:lnTo>
                  <a:lnTo>
                    <a:pt x="1433176" y="266012"/>
                  </a:lnTo>
                  <a:lnTo>
                    <a:pt x="1425143" y="257464"/>
                  </a:lnTo>
                  <a:lnTo>
                    <a:pt x="1416972" y="249063"/>
                  </a:lnTo>
                  <a:close/>
                </a:path>
                <a:path w="2506980" h="4854575" extrusionOk="0">
                  <a:moveTo>
                    <a:pt x="281614" y="238592"/>
                  </a:moveTo>
                  <a:lnTo>
                    <a:pt x="273286" y="246898"/>
                  </a:lnTo>
                  <a:lnTo>
                    <a:pt x="265096" y="255332"/>
                  </a:lnTo>
                  <a:lnTo>
                    <a:pt x="257024" y="263903"/>
                  </a:lnTo>
                  <a:lnTo>
                    <a:pt x="249050" y="272622"/>
                  </a:lnTo>
                  <a:lnTo>
                    <a:pt x="266222" y="288119"/>
                  </a:lnTo>
                  <a:lnTo>
                    <a:pt x="274021" y="279678"/>
                  </a:lnTo>
                  <a:lnTo>
                    <a:pt x="281889" y="271326"/>
                  </a:lnTo>
                  <a:lnTo>
                    <a:pt x="289855" y="263072"/>
                  </a:lnTo>
                  <a:lnTo>
                    <a:pt x="297949" y="254926"/>
                  </a:lnTo>
                  <a:lnTo>
                    <a:pt x="281614" y="238592"/>
                  </a:lnTo>
                  <a:close/>
                </a:path>
                <a:path w="2506980" h="4854575" extrusionOk="0">
                  <a:moveTo>
                    <a:pt x="1348178" y="185400"/>
                  </a:moveTo>
                  <a:lnTo>
                    <a:pt x="1333414" y="203305"/>
                  </a:lnTo>
                  <a:lnTo>
                    <a:pt x="1342153" y="210607"/>
                  </a:lnTo>
                  <a:lnTo>
                    <a:pt x="1350783" y="218056"/>
                  </a:lnTo>
                  <a:lnTo>
                    <a:pt x="1359315" y="225642"/>
                  </a:lnTo>
                  <a:lnTo>
                    <a:pt x="1367759" y="233356"/>
                  </a:lnTo>
                  <a:lnTo>
                    <a:pt x="1383465" y="216289"/>
                  </a:lnTo>
                  <a:lnTo>
                    <a:pt x="1374786" y="208414"/>
                  </a:lnTo>
                  <a:lnTo>
                    <a:pt x="1366018" y="200648"/>
                  </a:lnTo>
                  <a:lnTo>
                    <a:pt x="1357152" y="192980"/>
                  </a:lnTo>
                  <a:lnTo>
                    <a:pt x="1348178" y="185400"/>
                  </a:lnTo>
                  <a:close/>
                </a:path>
                <a:path w="2506980" h="4854575" extrusionOk="0">
                  <a:moveTo>
                    <a:pt x="351769" y="175871"/>
                  </a:moveTo>
                  <a:lnTo>
                    <a:pt x="342638" y="183310"/>
                  </a:lnTo>
                  <a:lnTo>
                    <a:pt x="333615" y="190858"/>
                  </a:lnTo>
                  <a:lnTo>
                    <a:pt x="324690" y="198503"/>
                  </a:lnTo>
                  <a:lnTo>
                    <a:pt x="315854" y="206237"/>
                  </a:lnTo>
                  <a:lnTo>
                    <a:pt x="331246" y="223514"/>
                  </a:lnTo>
                  <a:lnTo>
                    <a:pt x="339847" y="215955"/>
                  </a:lnTo>
                  <a:lnTo>
                    <a:pt x="348536" y="208514"/>
                  </a:lnTo>
                  <a:lnTo>
                    <a:pt x="357323" y="201191"/>
                  </a:lnTo>
                  <a:lnTo>
                    <a:pt x="366219" y="193986"/>
                  </a:lnTo>
                  <a:lnTo>
                    <a:pt x="351769" y="175871"/>
                  </a:lnTo>
                  <a:close/>
                </a:path>
                <a:path w="2506980" h="4854575" extrusionOk="0">
                  <a:moveTo>
                    <a:pt x="1272788" y="129695"/>
                  </a:moveTo>
                  <a:lnTo>
                    <a:pt x="1260118" y="149066"/>
                  </a:lnTo>
                  <a:lnTo>
                    <a:pt x="1269581" y="155363"/>
                  </a:lnTo>
                  <a:lnTo>
                    <a:pt x="1278966" y="161827"/>
                  </a:lnTo>
                  <a:lnTo>
                    <a:pt x="1288272" y="168429"/>
                  </a:lnTo>
                  <a:lnTo>
                    <a:pt x="1297499" y="175138"/>
                  </a:lnTo>
                  <a:lnTo>
                    <a:pt x="1311321" y="156605"/>
                  </a:lnTo>
                  <a:lnTo>
                    <a:pt x="1301840" y="149632"/>
                  </a:lnTo>
                  <a:lnTo>
                    <a:pt x="1292251" y="142835"/>
                  </a:lnTo>
                  <a:lnTo>
                    <a:pt x="1282564" y="136196"/>
                  </a:lnTo>
                  <a:lnTo>
                    <a:pt x="1272788" y="129695"/>
                  </a:lnTo>
                  <a:close/>
                </a:path>
                <a:path w="2506980" h="4854575" extrusionOk="0">
                  <a:moveTo>
                    <a:pt x="428311" y="121423"/>
                  </a:moveTo>
                  <a:lnTo>
                    <a:pt x="418395" y="127766"/>
                  </a:lnTo>
                  <a:lnTo>
                    <a:pt x="408587" y="134236"/>
                  </a:lnTo>
                  <a:lnTo>
                    <a:pt x="398876" y="140844"/>
                  </a:lnTo>
                  <a:lnTo>
                    <a:pt x="389255" y="147600"/>
                  </a:lnTo>
                  <a:lnTo>
                    <a:pt x="402657" y="166447"/>
                  </a:lnTo>
                  <a:lnTo>
                    <a:pt x="412042" y="159910"/>
                  </a:lnTo>
                  <a:lnTo>
                    <a:pt x="421505" y="153490"/>
                  </a:lnTo>
                  <a:lnTo>
                    <a:pt x="431047" y="147187"/>
                  </a:lnTo>
                  <a:lnTo>
                    <a:pt x="440667" y="141003"/>
                  </a:lnTo>
                  <a:lnTo>
                    <a:pt x="428311" y="121423"/>
                  </a:lnTo>
                  <a:close/>
                </a:path>
                <a:path w="2506980" h="4854575" extrusionOk="0">
                  <a:moveTo>
                    <a:pt x="1191534" y="82785"/>
                  </a:moveTo>
                  <a:lnTo>
                    <a:pt x="1181063" y="103517"/>
                  </a:lnTo>
                  <a:lnTo>
                    <a:pt x="1191233" y="108699"/>
                  </a:lnTo>
                  <a:lnTo>
                    <a:pt x="1201324" y="114027"/>
                  </a:lnTo>
                  <a:lnTo>
                    <a:pt x="1211337" y="119494"/>
                  </a:lnTo>
                  <a:lnTo>
                    <a:pt x="1221271" y="125087"/>
                  </a:lnTo>
                  <a:lnTo>
                    <a:pt x="1232894" y="105088"/>
                  </a:lnTo>
                  <a:lnTo>
                    <a:pt x="1222647" y="99277"/>
                  </a:lnTo>
                  <a:lnTo>
                    <a:pt x="1212332" y="93622"/>
                  </a:lnTo>
                  <a:lnTo>
                    <a:pt x="1201957" y="88125"/>
                  </a:lnTo>
                  <a:lnTo>
                    <a:pt x="1191534" y="82785"/>
                  </a:lnTo>
                  <a:close/>
                </a:path>
                <a:path w="2506980" h="4854575" extrusionOk="0">
                  <a:moveTo>
                    <a:pt x="510612" y="75979"/>
                  </a:moveTo>
                  <a:lnTo>
                    <a:pt x="500050" y="81146"/>
                  </a:lnTo>
                  <a:lnTo>
                    <a:pt x="489566" y="86450"/>
                  </a:lnTo>
                  <a:lnTo>
                    <a:pt x="479160" y="91911"/>
                  </a:lnTo>
                  <a:lnTo>
                    <a:pt x="468833" y="97549"/>
                  </a:lnTo>
                  <a:lnTo>
                    <a:pt x="479933" y="117758"/>
                  </a:lnTo>
                  <a:lnTo>
                    <a:pt x="490006" y="112323"/>
                  </a:lnTo>
                  <a:lnTo>
                    <a:pt x="500128" y="107025"/>
                  </a:lnTo>
                  <a:lnTo>
                    <a:pt x="510310" y="101884"/>
                  </a:lnTo>
                  <a:lnTo>
                    <a:pt x="520560" y="96921"/>
                  </a:lnTo>
                  <a:lnTo>
                    <a:pt x="510612" y="75979"/>
                  </a:lnTo>
                  <a:close/>
                </a:path>
                <a:path w="2506980" h="4854575" extrusionOk="0">
                  <a:moveTo>
                    <a:pt x="1105149" y="45613"/>
                  </a:moveTo>
                  <a:lnTo>
                    <a:pt x="1097296" y="67393"/>
                  </a:lnTo>
                  <a:lnTo>
                    <a:pt x="1108016" y="71381"/>
                  </a:lnTo>
                  <a:lnTo>
                    <a:pt x="1118657" y="75508"/>
                  </a:lnTo>
                  <a:lnTo>
                    <a:pt x="1129219" y="79791"/>
                  </a:lnTo>
                  <a:lnTo>
                    <a:pt x="1139703" y="84251"/>
                  </a:lnTo>
                  <a:lnTo>
                    <a:pt x="1148917" y="62890"/>
                  </a:lnTo>
                  <a:lnTo>
                    <a:pt x="1138059" y="58335"/>
                  </a:lnTo>
                  <a:lnTo>
                    <a:pt x="1127151" y="53938"/>
                  </a:lnTo>
                  <a:lnTo>
                    <a:pt x="1116184" y="49697"/>
                  </a:lnTo>
                  <a:lnTo>
                    <a:pt x="1105149" y="45613"/>
                  </a:lnTo>
                  <a:close/>
                </a:path>
                <a:path w="2506980" h="4854575" extrusionOk="0">
                  <a:moveTo>
                    <a:pt x="597521" y="40587"/>
                  </a:moveTo>
                  <a:lnTo>
                    <a:pt x="586423" y="44435"/>
                  </a:lnTo>
                  <a:lnTo>
                    <a:pt x="575414" y="48440"/>
                  </a:lnTo>
                  <a:lnTo>
                    <a:pt x="564464" y="52603"/>
                  </a:lnTo>
                  <a:lnTo>
                    <a:pt x="553543" y="56922"/>
                  </a:lnTo>
                  <a:lnTo>
                    <a:pt x="562234" y="78387"/>
                  </a:lnTo>
                  <a:lnTo>
                    <a:pt x="572855" y="74207"/>
                  </a:lnTo>
                  <a:lnTo>
                    <a:pt x="583516" y="70154"/>
                  </a:lnTo>
                  <a:lnTo>
                    <a:pt x="594216" y="66239"/>
                  </a:lnTo>
                  <a:lnTo>
                    <a:pt x="604955" y="62471"/>
                  </a:lnTo>
                  <a:lnTo>
                    <a:pt x="597521" y="40587"/>
                  </a:lnTo>
                  <a:close/>
                </a:path>
                <a:path w="2506980" h="4854575" extrusionOk="0">
                  <a:moveTo>
                    <a:pt x="1014890" y="19122"/>
                  </a:moveTo>
                  <a:lnTo>
                    <a:pt x="1009655" y="41739"/>
                  </a:lnTo>
                  <a:lnTo>
                    <a:pt x="1020785" y="44349"/>
                  </a:lnTo>
                  <a:lnTo>
                    <a:pt x="1031866" y="47145"/>
                  </a:lnTo>
                  <a:lnTo>
                    <a:pt x="1042888" y="50117"/>
                  </a:lnTo>
                  <a:lnTo>
                    <a:pt x="1053842" y="53257"/>
                  </a:lnTo>
                  <a:lnTo>
                    <a:pt x="1060438" y="31059"/>
                  </a:lnTo>
                  <a:lnTo>
                    <a:pt x="1049110" y="27780"/>
                  </a:lnTo>
                  <a:lnTo>
                    <a:pt x="1037743" y="24698"/>
                  </a:lnTo>
                  <a:lnTo>
                    <a:pt x="1026336" y="21812"/>
                  </a:lnTo>
                  <a:lnTo>
                    <a:pt x="1014890" y="19122"/>
                  </a:lnTo>
                  <a:close/>
                </a:path>
                <a:path w="2506980" h="4854575" extrusionOk="0">
                  <a:moveTo>
                    <a:pt x="688198" y="15876"/>
                  </a:moveTo>
                  <a:lnTo>
                    <a:pt x="676631" y="18389"/>
                  </a:lnTo>
                  <a:lnTo>
                    <a:pt x="665162" y="21059"/>
                  </a:lnTo>
                  <a:lnTo>
                    <a:pt x="653772" y="23886"/>
                  </a:lnTo>
                  <a:lnTo>
                    <a:pt x="642441" y="26870"/>
                  </a:lnTo>
                  <a:lnTo>
                    <a:pt x="648514" y="49173"/>
                  </a:lnTo>
                  <a:lnTo>
                    <a:pt x="659529" y="46269"/>
                  </a:lnTo>
                  <a:lnTo>
                    <a:pt x="670594" y="43532"/>
                  </a:lnTo>
                  <a:lnTo>
                    <a:pt x="681718" y="40972"/>
                  </a:lnTo>
                  <a:lnTo>
                    <a:pt x="692910" y="38598"/>
                  </a:lnTo>
                  <a:lnTo>
                    <a:pt x="688198" y="15876"/>
                  </a:lnTo>
                  <a:close/>
                </a:path>
                <a:path w="2506980" h="4854575" extrusionOk="0">
                  <a:moveTo>
                    <a:pt x="922118" y="3939"/>
                  </a:moveTo>
                  <a:lnTo>
                    <a:pt x="919710" y="26870"/>
                  </a:lnTo>
                  <a:lnTo>
                    <a:pt x="931077" y="28129"/>
                  </a:lnTo>
                  <a:lnTo>
                    <a:pt x="942405" y="29554"/>
                  </a:lnTo>
                  <a:lnTo>
                    <a:pt x="953694" y="31155"/>
                  </a:lnTo>
                  <a:lnTo>
                    <a:pt x="964944" y="32944"/>
                  </a:lnTo>
                  <a:lnTo>
                    <a:pt x="968713" y="10117"/>
                  </a:lnTo>
                  <a:lnTo>
                    <a:pt x="957133" y="8312"/>
                  </a:lnTo>
                  <a:lnTo>
                    <a:pt x="945494" y="6675"/>
                  </a:lnTo>
                  <a:lnTo>
                    <a:pt x="933816" y="5214"/>
                  </a:lnTo>
                  <a:lnTo>
                    <a:pt x="922118" y="3939"/>
                  </a:lnTo>
                  <a:close/>
                </a:path>
                <a:path w="2506980" h="4854575" extrusionOk="0">
                  <a:moveTo>
                    <a:pt x="781180" y="2473"/>
                  </a:moveTo>
                  <a:lnTo>
                    <a:pt x="769436" y="3558"/>
                  </a:lnTo>
                  <a:lnTo>
                    <a:pt x="757751" y="4790"/>
                  </a:lnTo>
                  <a:lnTo>
                    <a:pt x="746106" y="6199"/>
                  </a:lnTo>
                  <a:lnTo>
                    <a:pt x="734480" y="7813"/>
                  </a:lnTo>
                  <a:lnTo>
                    <a:pt x="737830" y="30745"/>
                  </a:lnTo>
                  <a:lnTo>
                    <a:pt x="749080" y="29192"/>
                  </a:lnTo>
                  <a:lnTo>
                    <a:pt x="760369" y="27826"/>
                  </a:lnTo>
                  <a:lnTo>
                    <a:pt x="771697" y="26636"/>
                  </a:lnTo>
                  <a:lnTo>
                    <a:pt x="783065" y="25614"/>
                  </a:lnTo>
                  <a:lnTo>
                    <a:pt x="781180" y="2473"/>
                  </a:lnTo>
                  <a:close/>
                </a:path>
                <a:path w="2506980" h="4854575" extrusionOk="0">
                  <a:moveTo>
                    <a:pt x="874292" y="23101"/>
                  </a:moveTo>
                  <a:lnTo>
                    <a:pt x="838142" y="23101"/>
                  </a:lnTo>
                  <a:lnTo>
                    <a:pt x="850707" y="23140"/>
                  </a:lnTo>
                  <a:lnTo>
                    <a:pt x="858560" y="23258"/>
                  </a:lnTo>
                  <a:lnTo>
                    <a:pt x="874266" y="23729"/>
                  </a:lnTo>
                  <a:lnTo>
                    <a:pt x="874292" y="23101"/>
                  </a:lnTo>
                  <a:close/>
                </a:path>
                <a:path w="2506980" h="4854575" extrusionOk="0">
                  <a:moveTo>
                    <a:pt x="851929" y="0"/>
                  </a:moveTo>
                  <a:lnTo>
                    <a:pt x="828194" y="65"/>
                  </a:lnTo>
                  <a:lnTo>
                    <a:pt x="828718" y="23206"/>
                  </a:lnTo>
                  <a:lnTo>
                    <a:pt x="833325" y="23206"/>
                  </a:lnTo>
                  <a:lnTo>
                    <a:pt x="838142" y="23101"/>
                  </a:lnTo>
                  <a:lnTo>
                    <a:pt x="874292" y="23101"/>
                  </a:lnTo>
                  <a:lnTo>
                    <a:pt x="875208" y="588"/>
                  </a:lnTo>
                  <a:lnTo>
                    <a:pt x="867435" y="314"/>
                  </a:lnTo>
                  <a:lnTo>
                    <a:pt x="859672" y="117"/>
                  </a:lnTo>
                  <a:lnTo>
                    <a:pt x="851929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1"/>
            <p:cNvSpPr/>
            <p:nvPr/>
          </p:nvSpPr>
          <p:spPr>
            <a:xfrm>
              <a:off x="16501666" y="5222427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638" y="0"/>
                  </a:moveTo>
                  <a:lnTo>
                    <a:pt x="0" y="23161"/>
                  </a:lnTo>
                  <a:lnTo>
                    <a:pt x="7832" y="23381"/>
                  </a:lnTo>
                  <a:lnTo>
                    <a:pt x="15643" y="23486"/>
                  </a:lnTo>
                  <a:lnTo>
                    <a:pt x="23486" y="23486"/>
                  </a:lnTo>
                  <a:lnTo>
                    <a:pt x="23486" y="324"/>
                  </a:lnTo>
                  <a:lnTo>
                    <a:pt x="8240" y="230"/>
                  </a:lnTo>
                  <a:lnTo>
                    <a:pt x="638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1;p1"/>
            <p:cNvSpPr/>
            <p:nvPr/>
          </p:nvSpPr>
          <p:spPr>
            <a:xfrm>
              <a:off x="12452751" y="5726296"/>
              <a:ext cx="1530350" cy="5761990"/>
            </a:xfrm>
            <a:custGeom>
              <a:avLst/>
              <a:gdLst/>
              <a:ahLst/>
              <a:cxnLst/>
              <a:rect l="l" t="t" r="r" b="b"/>
              <a:pathLst>
                <a:path w="1530350" h="5761990" extrusionOk="0">
                  <a:moveTo>
                    <a:pt x="46281" y="2265847"/>
                  </a:moveTo>
                  <a:lnTo>
                    <a:pt x="0" y="2265847"/>
                  </a:lnTo>
                  <a:lnTo>
                    <a:pt x="0" y="4811874"/>
                  </a:lnTo>
                  <a:lnTo>
                    <a:pt x="1213" y="4865679"/>
                  </a:lnTo>
                  <a:lnTo>
                    <a:pt x="4809" y="4918708"/>
                  </a:lnTo>
                  <a:lnTo>
                    <a:pt x="10722" y="4970877"/>
                  </a:lnTo>
                  <a:lnTo>
                    <a:pt x="18889" y="5022108"/>
                  </a:lnTo>
                  <a:lnTo>
                    <a:pt x="29243" y="5072319"/>
                  </a:lnTo>
                  <a:lnTo>
                    <a:pt x="41720" y="5121430"/>
                  </a:lnTo>
                  <a:lnTo>
                    <a:pt x="56254" y="5169359"/>
                  </a:lnTo>
                  <a:lnTo>
                    <a:pt x="72781" y="5216026"/>
                  </a:lnTo>
                  <a:lnTo>
                    <a:pt x="91235" y="5261351"/>
                  </a:lnTo>
                  <a:lnTo>
                    <a:pt x="111552" y="5305252"/>
                  </a:lnTo>
                  <a:lnTo>
                    <a:pt x="133665" y="5347648"/>
                  </a:lnTo>
                  <a:lnTo>
                    <a:pt x="157511" y="5388459"/>
                  </a:lnTo>
                  <a:lnTo>
                    <a:pt x="183024" y="5427605"/>
                  </a:lnTo>
                  <a:lnTo>
                    <a:pt x="210139" y="5465003"/>
                  </a:lnTo>
                  <a:lnTo>
                    <a:pt x="238791" y="5500574"/>
                  </a:lnTo>
                  <a:lnTo>
                    <a:pt x="268914" y="5534237"/>
                  </a:lnTo>
                  <a:lnTo>
                    <a:pt x="300445" y="5565911"/>
                  </a:lnTo>
                  <a:lnTo>
                    <a:pt x="333317" y="5595516"/>
                  </a:lnTo>
                  <a:lnTo>
                    <a:pt x="367466" y="5622969"/>
                  </a:lnTo>
                  <a:lnTo>
                    <a:pt x="402827" y="5648192"/>
                  </a:lnTo>
                  <a:lnTo>
                    <a:pt x="439334" y="5671102"/>
                  </a:lnTo>
                  <a:lnTo>
                    <a:pt x="476922" y="5691619"/>
                  </a:lnTo>
                  <a:lnTo>
                    <a:pt x="515527" y="5709663"/>
                  </a:lnTo>
                  <a:lnTo>
                    <a:pt x="555083" y="5725153"/>
                  </a:lnTo>
                  <a:lnTo>
                    <a:pt x="595525" y="5738007"/>
                  </a:lnTo>
                  <a:lnTo>
                    <a:pt x="636789" y="5748146"/>
                  </a:lnTo>
                  <a:lnTo>
                    <a:pt x="678809" y="5755487"/>
                  </a:lnTo>
                  <a:lnTo>
                    <a:pt x="721519" y="5759952"/>
                  </a:lnTo>
                  <a:lnTo>
                    <a:pt x="764856" y="5761458"/>
                  </a:lnTo>
                  <a:lnTo>
                    <a:pt x="808195" y="5759952"/>
                  </a:lnTo>
                  <a:lnTo>
                    <a:pt x="850908" y="5755487"/>
                  </a:lnTo>
                  <a:lnTo>
                    <a:pt x="892930" y="5748146"/>
                  </a:lnTo>
                  <a:lnTo>
                    <a:pt x="934196" y="5738007"/>
                  </a:lnTo>
                  <a:lnTo>
                    <a:pt x="974642" y="5725153"/>
                  </a:lnTo>
                  <a:lnTo>
                    <a:pt x="1000228" y="5715134"/>
                  </a:lnTo>
                  <a:lnTo>
                    <a:pt x="764856" y="5715134"/>
                  </a:lnTo>
                  <a:lnTo>
                    <a:pt x="722699" y="5713598"/>
                  </a:lnTo>
                  <a:lnTo>
                    <a:pt x="681175" y="5709046"/>
                  </a:lnTo>
                  <a:lnTo>
                    <a:pt x="640352" y="5701565"/>
                  </a:lnTo>
                  <a:lnTo>
                    <a:pt x="600298" y="5691238"/>
                  </a:lnTo>
                  <a:lnTo>
                    <a:pt x="561081" y="5678152"/>
                  </a:lnTo>
                  <a:lnTo>
                    <a:pt x="522768" y="5662391"/>
                  </a:lnTo>
                  <a:lnTo>
                    <a:pt x="485428" y="5644042"/>
                  </a:lnTo>
                  <a:lnTo>
                    <a:pt x="449129" y="5623190"/>
                  </a:lnTo>
                  <a:lnTo>
                    <a:pt x="413938" y="5599919"/>
                  </a:lnTo>
                  <a:lnTo>
                    <a:pt x="379924" y="5574316"/>
                  </a:lnTo>
                  <a:lnTo>
                    <a:pt x="347154" y="5546466"/>
                  </a:lnTo>
                  <a:lnTo>
                    <a:pt x="315697" y="5516453"/>
                  </a:lnTo>
                  <a:lnTo>
                    <a:pt x="285619" y="5484364"/>
                  </a:lnTo>
                  <a:lnTo>
                    <a:pt x="256990" y="5450284"/>
                  </a:lnTo>
                  <a:lnTo>
                    <a:pt x="229877" y="5414298"/>
                  </a:lnTo>
                  <a:lnTo>
                    <a:pt x="204348" y="5376491"/>
                  </a:lnTo>
                  <a:lnTo>
                    <a:pt x="180471" y="5336949"/>
                  </a:lnTo>
                  <a:lnTo>
                    <a:pt x="158314" y="5295757"/>
                  </a:lnTo>
                  <a:lnTo>
                    <a:pt x="137945" y="5253000"/>
                  </a:lnTo>
                  <a:lnTo>
                    <a:pt x="119431" y="5208765"/>
                  </a:lnTo>
                  <a:lnTo>
                    <a:pt x="102841" y="5163135"/>
                  </a:lnTo>
                  <a:lnTo>
                    <a:pt x="88243" y="5116198"/>
                  </a:lnTo>
                  <a:lnTo>
                    <a:pt x="75704" y="5068037"/>
                  </a:lnTo>
                  <a:lnTo>
                    <a:pt x="65293" y="5018738"/>
                  </a:lnTo>
                  <a:lnTo>
                    <a:pt x="57077" y="4968387"/>
                  </a:lnTo>
                  <a:lnTo>
                    <a:pt x="51124" y="4917069"/>
                  </a:lnTo>
                  <a:lnTo>
                    <a:pt x="47503" y="4864870"/>
                  </a:lnTo>
                  <a:lnTo>
                    <a:pt x="46281" y="4811874"/>
                  </a:lnTo>
                  <a:lnTo>
                    <a:pt x="46281" y="2265847"/>
                  </a:lnTo>
                  <a:close/>
                </a:path>
                <a:path w="1530350" h="5761990" extrusionOk="0">
                  <a:moveTo>
                    <a:pt x="1529785" y="1884015"/>
                  </a:moveTo>
                  <a:lnTo>
                    <a:pt x="1518362" y="1891096"/>
                  </a:lnTo>
                  <a:lnTo>
                    <a:pt x="1506827" y="1898007"/>
                  </a:lnTo>
                  <a:lnTo>
                    <a:pt x="1495187" y="1904742"/>
                  </a:lnTo>
                  <a:lnTo>
                    <a:pt x="1483452" y="1911292"/>
                  </a:lnTo>
                  <a:lnTo>
                    <a:pt x="1483452" y="4811874"/>
                  </a:lnTo>
                  <a:lnTo>
                    <a:pt x="1482230" y="4864870"/>
                  </a:lnTo>
                  <a:lnTo>
                    <a:pt x="1478608" y="4917069"/>
                  </a:lnTo>
                  <a:lnTo>
                    <a:pt x="1472656" y="4968387"/>
                  </a:lnTo>
                  <a:lnTo>
                    <a:pt x="1464440" y="5018738"/>
                  </a:lnTo>
                  <a:lnTo>
                    <a:pt x="1454029" y="5068037"/>
                  </a:lnTo>
                  <a:lnTo>
                    <a:pt x="1441490" y="5116198"/>
                  </a:lnTo>
                  <a:lnTo>
                    <a:pt x="1426892" y="5163135"/>
                  </a:lnTo>
                  <a:lnTo>
                    <a:pt x="1410303" y="5208765"/>
                  </a:lnTo>
                  <a:lnTo>
                    <a:pt x="1391789" y="5253000"/>
                  </a:lnTo>
                  <a:lnTo>
                    <a:pt x="1371420" y="5295757"/>
                  </a:lnTo>
                  <a:lnTo>
                    <a:pt x="1349263" y="5336949"/>
                  </a:lnTo>
                  <a:lnTo>
                    <a:pt x="1325386" y="5376491"/>
                  </a:lnTo>
                  <a:lnTo>
                    <a:pt x="1299857" y="5414298"/>
                  </a:lnTo>
                  <a:lnTo>
                    <a:pt x="1272743" y="5450284"/>
                  </a:lnTo>
                  <a:lnTo>
                    <a:pt x="1244114" y="5484364"/>
                  </a:lnTo>
                  <a:lnTo>
                    <a:pt x="1214036" y="5516453"/>
                  </a:lnTo>
                  <a:lnTo>
                    <a:pt x="1182578" y="5546466"/>
                  </a:lnTo>
                  <a:lnTo>
                    <a:pt x="1149807" y="5574316"/>
                  </a:lnTo>
                  <a:lnTo>
                    <a:pt x="1115792" y="5599919"/>
                  </a:lnTo>
                  <a:lnTo>
                    <a:pt x="1080600" y="5623190"/>
                  </a:lnTo>
                  <a:lnTo>
                    <a:pt x="1044300" y="5644042"/>
                  </a:lnTo>
                  <a:lnTo>
                    <a:pt x="1006958" y="5662391"/>
                  </a:lnTo>
                  <a:lnTo>
                    <a:pt x="968644" y="5678152"/>
                  </a:lnTo>
                  <a:lnTo>
                    <a:pt x="929425" y="5691238"/>
                  </a:lnTo>
                  <a:lnTo>
                    <a:pt x="889368" y="5701565"/>
                  </a:lnTo>
                  <a:lnTo>
                    <a:pt x="848543" y="5709046"/>
                  </a:lnTo>
                  <a:lnTo>
                    <a:pt x="807016" y="5713598"/>
                  </a:lnTo>
                  <a:lnTo>
                    <a:pt x="764856" y="5715134"/>
                  </a:lnTo>
                  <a:lnTo>
                    <a:pt x="1000228" y="5715134"/>
                  </a:lnTo>
                  <a:lnTo>
                    <a:pt x="1052809" y="5691619"/>
                  </a:lnTo>
                  <a:lnTo>
                    <a:pt x="1090401" y="5671102"/>
                  </a:lnTo>
                  <a:lnTo>
                    <a:pt x="1126911" y="5648192"/>
                  </a:lnTo>
                  <a:lnTo>
                    <a:pt x="1162275" y="5622969"/>
                  </a:lnTo>
                  <a:lnTo>
                    <a:pt x="1196427" y="5595516"/>
                  </a:lnTo>
                  <a:lnTo>
                    <a:pt x="1229303" y="5565911"/>
                  </a:lnTo>
                  <a:lnTo>
                    <a:pt x="1260837" y="5534237"/>
                  </a:lnTo>
                  <a:lnTo>
                    <a:pt x="1290964" y="5500574"/>
                  </a:lnTo>
                  <a:lnTo>
                    <a:pt x="1319619" y="5465003"/>
                  </a:lnTo>
                  <a:lnTo>
                    <a:pt x="1346737" y="5427605"/>
                  </a:lnTo>
                  <a:lnTo>
                    <a:pt x="1372253" y="5388459"/>
                  </a:lnTo>
                  <a:lnTo>
                    <a:pt x="1396102" y="5347648"/>
                  </a:lnTo>
                  <a:lnTo>
                    <a:pt x="1418218" y="5305252"/>
                  </a:lnTo>
                  <a:lnTo>
                    <a:pt x="1438537" y="5261351"/>
                  </a:lnTo>
                  <a:lnTo>
                    <a:pt x="1456994" y="5216026"/>
                  </a:lnTo>
                  <a:lnTo>
                    <a:pt x="1473523" y="5169359"/>
                  </a:lnTo>
                  <a:lnTo>
                    <a:pt x="1488059" y="5121430"/>
                  </a:lnTo>
                  <a:lnTo>
                    <a:pt x="1500537" y="5072319"/>
                  </a:lnTo>
                  <a:lnTo>
                    <a:pt x="1510893" y="5022108"/>
                  </a:lnTo>
                  <a:lnTo>
                    <a:pt x="1519061" y="4970877"/>
                  </a:lnTo>
                  <a:lnTo>
                    <a:pt x="1524976" y="4918708"/>
                  </a:lnTo>
                  <a:lnTo>
                    <a:pt x="1528572" y="4865679"/>
                  </a:lnTo>
                  <a:lnTo>
                    <a:pt x="1529785" y="4811874"/>
                  </a:lnTo>
                  <a:lnTo>
                    <a:pt x="1529785" y="1884015"/>
                  </a:lnTo>
                  <a:close/>
                </a:path>
                <a:path w="1530350" h="5761990" extrusionOk="0">
                  <a:moveTo>
                    <a:pt x="1529785" y="0"/>
                  </a:moveTo>
                  <a:lnTo>
                    <a:pt x="1483452" y="0"/>
                  </a:lnTo>
                  <a:lnTo>
                    <a:pt x="1483452" y="1858037"/>
                  </a:lnTo>
                  <a:lnTo>
                    <a:pt x="1495215" y="1850978"/>
                  </a:lnTo>
                  <a:lnTo>
                    <a:pt x="1506854" y="1843730"/>
                  </a:lnTo>
                  <a:lnTo>
                    <a:pt x="1518376" y="1836287"/>
                  </a:lnTo>
                  <a:lnTo>
                    <a:pt x="1529785" y="1828645"/>
                  </a:lnTo>
                  <a:lnTo>
                    <a:pt x="1529785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12;p1"/>
            <p:cNvSpPr/>
            <p:nvPr/>
          </p:nvSpPr>
          <p:spPr>
            <a:xfrm>
              <a:off x="11298703" y="7899492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"/>
            <p:cNvSpPr/>
            <p:nvPr/>
          </p:nvSpPr>
          <p:spPr>
            <a:xfrm>
              <a:off x="11298703" y="6237001"/>
              <a:ext cx="1189355" cy="1684020"/>
            </a:xfrm>
            <a:custGeom>
              <a:avLst/>
              <a:gdLst/>
              <a:ahLst/>
              <a:cxnLst/>
              <a:rect l="l" t="t" r="r" b="b"/>
              <a:pathLst>
                <a:path w="1189354" h="1684020" extrusionOk="0">
                  <a:moveTo>
                    <a:pt x="1188770" y="1636894"/>
                  </a:moveTo>
                  <a:lnTo>
                    <a:pt x="1165608" y="1636894"/>
                  </a:lnTo>
                  <a:lnTo>
                    <a:pt x="1165608" y="1683751"/>
                  </a:lnTo>
                  <a:lnTo>
                    <a:pt x="1188770" y="1683751"/>
                  </a:lnTo>
                  <a:lnTo>
                    <a:pt x="1188770" y="1636894"/>
                  </a:lnTo>
                  <a:close/>
                </a:path>
                <a:path w="1189354" h="1684020" extrusionOk="0">
                  <a:moveTo>
                    <a:pt x="23151" y="1557284"/>
                  </a:moveTo>
                  <a:lnTo>
                    <a:pt x="0" y="1557284"/>
                  </a:lnTo>
                  <a:lnTo>
                    <a:pt x="0" y="1604110"/>
                  </a:lnTo>
                  <a:lnTo>
                    <a:pt x="23151" y="1604110"/>
                  </a:lnTo>
                  <a:lnTo>
                    <a:pt x="23151" y="1557284"/>
                  </a:lnTo>
                  <a:close/>
                </a:path>
                <a:path w="1189354" h="1684020" extrusionOk="0">
                  <a:moveTo>
                    <a:pt x="1188770" y="1543253"/>
                  </a:moveTo>
                  <a:lnTo>
                    <a:pt x="1165608" y="1543253"/>
                  </a:lnTo>
                  <a:lnTo>
                    <a:pt x="1165608" y="1590068"/>
                  </a:lnTo>
                  <a:lnTo>
                    <a:pt x="1188770" y="1590068"/>
                  </a:lnTo>
                  <a:lnTo>
                    <a:pt x="1188770" y="1543253"/>
                  </a:lnTo>
                  <a:close/>
                </a:path>
                <a:path w="1189354" h="1684020" extrusionOk="0">
                  <a:moveTo>
                    <a:pt x="23151" y="1463632"/>
                  </a:moveTo>
                  <a:lnTo>
                    <a:pt x="0" y="1463632"/>
                  </a:lnTo>
                  <a:lnTo>
                    <a:pt x="0" y="1510448"/>
                  </a:lnTo>
                  <a:lnTo>
                    <a:pt x="23151" y="1510448"/>
                  </a:lnTo>
                  <a:lnTo>
                    <a:pt x="23151" y="1463632"/>
                  </a:lnTo>
                  <a:close/>
                </a:path>
                <a:path w="1189354" h="1684020" extrusionOk="0">
                  <a:moveTo>
                    <a:pt x="1188770" y="1449612"/>
                  </a:moveTo>
                  <a:lnTo>
                    <a:pt x="1165608" y="1449612"/>
                  </a:lnTo>
                  <a:lnTo>
                    <a:pt x="1165608" y="1496406"/>
                  </a:lnTo>
                  <a:lnTo>
                    <a:pt x="1188770" y="1496406"/>
                  </a:lnTo>
                  <a:lnTo>
                    <a:pt x="1188770" y="1449612"/>
                  </a:lnTo>
                  <a:close/>
                </a:path>
                <a:path w="1189354" h="1684020" extrusionOk="0">
                  <a:moveTo>
                    <a:pt x="23151" y="1369960"/>
                  </a:moveTo>
                  <a:lnTo>
                    <a:pt x="0" y="1369960"/>
                  </a:lnTo>
                  <a:lnTo>
                    <a:pt x="0" y="1416775"/>
                  </a:lnTo>
                  <a:lnTo>
                    <a:pt x="23151" y="1416775"/>
                  </a:lnTo>
                  <a:lnTo>
                    <a:pt x="23151" y="1369960"/>
                  </a:lnTo>
                  <a:close/>
                </a:path>
                <a:path w="1189354" h="1684020" extrusionOk="0">
                  <a:moveTo>
                    <a:pt x="1188770" y="1355929"/>
                  </a:moveTo>
                  <a:lnTo>
                    <a:pt x="1165608" y="1355929"/>
                  </a:lnTo>
                  <a:lnTo>
                    <a:pt x="1165608" y="1402765"/>
                  </a:lnTo>
                  <a:lnTo>
                    <a:pt x="1188770" y="1402765"/>
                  </a:lnTo>
                  <a:lnTo>
                    <a:pt x="1188770" y="1355929"/>
                  </a:lnTo>
                  <a:close/>
                </a:path>
                <a:path w="1189354" h="1684020" extrusionOk="0">
                  <a:moveTo>
                    <a:pt x="23151" y="1276319"/>
                  </a:moveTo>
                  <a:lnTo>
                    <a:pt x="0" y="1276319"/>
                  </a:lnTo>
                  <a:lnTo>
                    <a:pt x="0" y="1323134"/>
                  </a:lnTo>
                  <a:lnTo>
                    <a:pt x="23151" y="1323134"/>
                  </a:lnTo>
                  <a:lnTo>
                    <a:pt x="23151" y="1276319"/>
                  </a:lnTo>
                  <a:close/>
                </a:path>
                <a:path w="1189354" h="1684020" extrusionOk="0">
                  <a:moveTo>
                    <a:pt x="1188770" y="1262256"/>
                  </a:moveTo>
                  <a:lnTo>
                    <a:pt x="1165608" y="1262256"/>
                  </a:lnTo>
                  <a:lnTo>
                    <a:pt x="1165608" y="1309092"/>
                  </a:lnTo>
                  <a:lnTo>
                    <a:pt x="1188770" y="1309092"/>
                  </a:lnTo>
                  <a:lnTo>
                    <a:pt x="1188770" y="1262256"/>
                  </a:lnTo>
                  <a:close/>
                </a:path>
                <a:path w="1189354" h="1684020" extrusionOk="0">
                  <a:moveTo>
                    <a:pt x="23151" y="1182657"/>
                  </a:moveTo>
                  <a:lnTo>
                    <a:pt x="0" y="1182657"/>
                  </a:lnTo>
                  <a:lnTo>
                    <a:pt x="0" y="1229472"/>
                  </a:lnTo>
                  <a:lnTo>
                    <a:pt x="23151" y="1229472"/>
                  </a:lnTo>
                  <a:lnTo>
                    <a:pt x="23151" y="1182657"/>
                  </a:lnTo>
                  <a:close/>
                </a:path>
                <a:path w="1189354" h="1684020" extrusionOk="0">
                  <a:moveTo>
                    <a:pt x="1188770" y="1168626"/>
                  </a:moveTo>
                  <a:lnTo>
                    <a:pt x="1165608" y="1168626"/>
                  </a:lnTo>
                  <a:lnTo>
                    <a:pt x="1165608" y="1215462"/>
                  </a:lnTo>
                  <a:lnTo>
                    <a:pt x="1188770" y="1215462"/>
                  </a:lnTo>
                  <a:lnTo>
                    <a:pt x="1188770" y="1168626"/>
                  </a:lnTo>
                  <a:close/>
                </a:path>
                <a:path w="1189354" h="1684020" extrusionOk="0">
                  <a:moveTo>
                    <a:pt x="23151" y="1089015"/>
                  </a:moveTo>
                  <a:lnTo>
                    <a:pt x="0" y="1089015"/>
                  </a:lnTo>
                  <a:lnTo>
                    <a:pt x="0" y="1135799"/>
                  </a:lnTo>
                  <a:lnTo>
                    <a:pt x="23151" y="1135799"/>
                  </a:lnTo>
                  <a:lnTo>
                    <a:pt x="23151" y="1089015"/>
                  </a:lnTo>
                  <a:close/>
                </a:path>
                <a:path w="1189354" h="1684020" extrusionOk="0">
                  <a:moveTo>
                    <a:pt x="1188770" y="1074974"/>
                  </a:moveTo>
                  <a:lnTo>
                    <a:pt x="1165608" y="1074974"/>
                  </a:lnTo>
                  <a:lnTo>
                    <a:pt x="1165608" y="1121800"/>
                  </a:lnTo>
                  <a:lnTo>
                    <a:pt x="1188770" y="1121800"/>
                  </a:lnTo>
                  <a:lnTo>
                    <a:pt x="1188770" y="1074974"/>
                  </a:lnTo>
                  <a:close/>
                </a:path>
                <a:path w="1189354" h="1684020" extrusionOk="0">
                  <a:moveTo>
                    <a:pt x="23151" y="995353"/>
                  </a:moveTo>
                  <a:lnTo>
                    <a:pt x="0" y="995353"/>
                  </a:lnTo>
                  <a:lnTo>
                    <a:pt x="0" y="1042169"/>
                  </a:lnTo>
                  <a:lnTo>
                    <a:pt x="23151" y="1042169"/>
                  </a:lnTo>
                  <a:lnTo>
                    <a:pt x="23151" y="995353"/>
                  </a:lnTo>
                  <a:close/>
                </a:path>
                <a:path w="1189354" h="1684020" extrusionOk="0">
                  <a:moveTo>
                    <a:pt x="1188770" y="981312"/>
                  </a:moveTo>
                  <a:lnTo>
                    <a:pt x="1165608" y="981312"/>
                  </a:lnTo>
                  <a:lnTo>
                    <a:pt x="1165608" y="1028127"/>
                  </a:lnTo>
                  <a:lnTo>
                    <a:pt x="1188770" y="1028127"/>
                  </a:lnTo>
                  <a:lnTo>
                    <a:pt x="1188770" y="981312"/>
                  </a:lnTo>
                  <a:close/>
                </a:path>
                <a:path w="1189354" h="1684020" extrusionOk="0">
                  <a:moveTo>
                    <a:pt x="23151" y="901670"/>
                  </a:moveTo>
                  <a:lnTo>
                    <a:pt x="0" y="901670"/>
                  </a:lnTo>
                  <a:lnTo>
                    <a:pt x="0" y="948496"/>
                  </a:lnTo>
                  <a:lnTo>
                    <a:pt x="23151" y="948496"/>
                  </a:lnTo>
                  <a:lnTo>
                    <a:pt x="23151" y="901670"/>
                  </a:lnTo>
                  <a:close/>
                </a:path>
                <a:path w="1189354" h="1684020" extrusionOk="0">
                  <a:moveTo>
                    <a:pt x="1188770" y="887681"/>
                  </a:moveTo>
                  <a:lnTo>
                    <a:pt x="1165608" y="887681"/>
                  </a:lnTo>
                  <a:lnTo>
                    <a:pt x="1165608" y="934486"/>
                  </a:lnTo>
                  <a:lnTo>
                    <a:pt x="1188770" y="934486"/>
                  </a:lnTo>
                  <a:lnTo>
                    <a:pt x="1188770" y="887681"/>
                  </a:lnTo>
                  <a:close/>
                </a:path>
                <a:path w="1189354" h="1684020" extrusionOk="0">
                  <a:moveTo>
                    <a:pt x="23151" y="807987"/>
                  </a:moveTo>
                  <a:lnTo>
                    <a:pt x="0" y="807987"/>
                  </a:lnTo>
                  <a:lnTo>
                    <a:pt x="0" y="854855"/>
                  </a:lnTo>
                  <a:lnTo>
                    <a:pt x="23151" y="854855"/>
                  </a:lnTo>
                  <a:lnTo>
                    <a:pt x="23151" y="807987"/>
                  </a:lnTo>
                  <a:close/>
                </a:path>
                <a:path w="1189354" h="1684020" extrusionOk="0">
                  <a:moveTo>
                    <a:pt x="1188770" y="793998"/>
                  </a:moveTo>
                  <a:lnTo>
                    <a:pt x="1165608" y="793998"/>
                  </a:lnTo>
                  <a:lnTo>
                    <a:pt x="1165608" y="840845"/>
                  </a:lnTo>
                  <a:lnTo>
                    <a:pt x="1188770" y="840845"/>
                  </a:lnTo>
                  <a:lnTo>
                    <a:pt x="1188770" y="793998"/>
                  </a:lnTo>
                  <a:close/>
                </a:path>
                <a:path w="1189354" h="1684020" extrusionOk="0">
                  <a:moveTo>
                    <a:pt x="23151" y="714346"/>
                  </a:moveTo>
                  <a:lnTo>
                    <a:pt x="0" y="714346"/>
                  </a:lnTo>
                  <a:lnTo>
                    <a:pt x="0" y="761193"/>
                  </a:lnTo>
                  <a:lnTo>
                    <a:pt x="23151" y="761193"/>
                  </a:lnTo>
                  <a:lnTo>
                    <a:pt x="23151" y="714346"/>
                  </a:lnTo>
                  <a:close/>
                </a:path>
                <a:path w="1189354" h="1684020" extrusionOk="0">
                  <a:moveTo>
                    <a:pt x="1188770" y="700273"/>
                  </a:moveTo>
                  <a:lnTo>
                    <a:pt x="1165629" y="700409"/>
                  </a:lnTo>
                  <a:lnTo>
                    <a:pt x="1165629" y="747183"/>
                  </a:lnTo>
                  <a:lnTo>
                    <a:pt x="1188770" y="747183"/>
                  </a:lnTo>
                  <a:lnTo>
                    <a:pt x="1188770" y="700273"/>
                  </a:lnTo>
                  <a:close/>
                </a:path>
                <a:path w="1189354" h="1684020" extrusionOk="0">
                  <a:moveTo>
                    <a:pt x="4408" y="619700"/>
                  </a:moveTo>
                  <a:lnTo>
                    <a:pt x="3308" y="631440"/>
                  </a:lnTo>
                  <a:lnTo>
                    <a:pt x="2366" y="643238"/>
                  </a:lnTo>
                  <a:lnTo>
                    <a:pt x="1581" y="655092"/>
                  </a:lnTo>
                  <a:lnTo>
                    <a:pt x="952" y="666997"/>
                  </a:lnTo>
                  <a:lnTo>
                    <a:pt x="24093" y="668075"/>
                  </a:lnTo>
                  <a:lnTo>
                    <a:pt x="24721" y="656493"/>
                  </a:lnTo>
                  <a:lnTo>
                    <a:pt x="25507" y="644960"/>
                  </a:lnTo>
                  <a:lnTo>
                    <a:pt x="26449" y="633471"/>
                  </a:lnTo>
                  <a:lnTo>
                    <a:pt x="27548" y="622024"/>
                  </a:lnTo>
                  <a:lnTo>
                    <a:pt x="4408" y="619700"/>
                  </a:lnTo>
                  <a:close/>
                </a:path>
                <a:path w="1189354" h="1684020" extrusionOk="0">
                  <a:moveTo>
                    <a:pt x="1182801" y="605564"/>
                  </a:moveTo>
                  <a:lnTo>
                    <a:pt x="1159765" y="608308"/>
                  </a:lnTo>
                  <a:lnTo>
                    <a:pt x="1161082" y="619723"/>
                  </a:lnTo>
                  <a:lnTo>
                    <a:pt x="1162213" y="631184"/>
                  </a:lnTo>
                  <a:lnTo>
                    <a:pt x="1163167" y="642696"/>
                  </a:lnTo>
                  <a:lnTo>
                    <a:pt x="1163954" y="654264"/>
                  </a:lnTo>
                  <a:lnTo>
                    <a:pt x="1187094" y="652798"/>
                  </a:lnTo>
                  <a:lnTo>
                    <a:pt x="1186291" y="640898"/>
                  </a:lnTo>
                  <a:lnTo>
                    <a:pt x="1185301" y="629056"/>
                  </a:lnTo>
                  <a:lnTo>
                    <a:pt x="1184135" y="617277"/>
                  </a:lnTo>
                  <a:lnTo>
                    <a:pt x="1182801" y="605564"/>
                  </a:lnTo>
                  <a:close/>
                </a:path>
                <a:path w="1189354" h="1684020" extrusionOk="0">
                  <a:moveTo>
                    <a:pt x="19591" y="525954"/>
                  </a:moveTo>
                  <a:lnTo>
                    <a:pt x="17096" y="537512"/>
                  </a:lnTo>
                  <a:lnTo>
                    <a:pt x="14787" y="549143"/>
                  </a:lnTo>
                  <a:lnTo>
                    <a:pt x="12655" y="560847"/>
                  </a:lnTo>
                  <a:lnTo>
                    <a:pt x="10690" y="572623"/>
                  </a:lnTo>
                  <a:lnTo>
                    <a:pt x="33517" y="576277"/>
                  </a:lnTo>
                  <a:lnTo>
                    <a:pt x="35464" y="564841"/>
                  </a:lnTo>
                  <a:lnTo>
                    <a:pt x="37548" y="553479"/>
                  </a:lnTo>
                  <a:lnTo>
                    <a:pt x="39790" y="542192"/>
                  </a:lnTo>
                  <a:lnTo>
                    <a:pt x="42208" y="530980"/>
                  </a:lnTo>
                  <a:lnTo>
                    <a:pt x="19591" y="525954"/>
                  </a:lnTo>
                  <a:close/>
                </a:path>
                <a:path w="1189354" h="1684020" extrusionOk="0">
                  <a:moveTo>
                    <a:pt x="1166048" y="512101"/>
                  </a:moveTo>
                  <a:lnTo>
                    <a:pt x="1143535" y="517515"/>
                  </a:lnTo>
                  <a:lnTo>
                    <a:pt x="1146127" y="528690"/>
                  </a:lnTo>
                  <a:lnTo>
                    <a:pt x="1148561" y="539943"/>
                  </a:lnTo>
                  <a:lnTo>
                    <a:pt x="1150839" y="551275"/>
                  </a:lnTo>
                  <a:lnTo>
                    <a:pt x="1152959" y="562686"/>
                  </a:lnTo>
                  <a:lnTo>
                    <a:pt x="1175786" y="558571"/>
                  </a:lnTo>
                  <a:lnTo>
                    <a:pt x="1173587" y="546851"/>
                  </a:lnTo>
                  <a:lnTo>
                    <a:pt x="1171231" y="535195"/>
                  </a:lnTo>
                  <a:lnTo>
                    <a:pt x="1168718" y="523609"/>
                  </a:lnTo>
                  <a:lnTo>
                    <a:pt x="1166048" y="512101"/>
                  </a:lnTo>
                  <a:close/>
                </a:path>
                <a:path w="1189354" h="1684020" extrusionOk="0">
                  <a:moveTo>
                    <a:pt x="45663" y="434617"/>
                  </a:moveTo>
                  <a:lnTo>
                    <a:pt x="41771" y="445802"/>
                  </a:lnTo>
                  <a:lnTo>
                    <a:pt x="38085" y="457084"/>
                  </a:lnTo>
                  <a:lnTo>
                    <a:pt x="34575" y="468457"/>
                  </a:lnTo>
                  <a:lnTo>
                    <a:pt x="31213" y="479914"/>
                  </a:lnTo>
                  <a:lnTo>
                    <a:pt x="53516" y="486238"/>
                  </a:lnTo>
                  <a:lnTo>
                    <a:pt x="56797" y="475128"/>
                  </a:lnTo>
                  <a:lnTo>
                    <a:pt x="60204" y="464100"/>
                  </a:lnTo>
                  <a:lnTo>
                    <a:pt x="63750" y="453155"/>
                  </a:lnTo>
                  <a:lnTo>
                    <a:pt x="67442" y="442292"/>
                  </a:lnTo>
                  <a:lnTo>
                    <a:pt x="45663" y="434617"/>
                  </a:lnTo>
                  <a:close/>
                </a:path>
                <a:path w="1189354" h="1684020" extrusionOk="0">
                  <a:moveTo>
                    <a:pt x="1138405" y="421235"/>
                  </a:moveTo>
                  <a:lnTo>
                    <a:pt x="1116730" y="429276"/>
                  </a:lnTo>
                  <a:lnTo>
                    <a:pt x="1120640" y="440072"/>
                  </a:lnTo>
                  <a:lnTo>
                    <a:pt x="1124374" y="450959"/>
                  </a:lnTo>
                  <a:lnTo>
                    <a:pt x="1127950" y="461936"/>
                  </a:lnTo>
                  <a:lnTo>
                    <a:pt x="1131389" y="473003"/>
                  </a:lnTo>
                  <a:lnTo>
                    <a:pt x="1153587" y="466270"/>
                  </a:lnTo>
                  <a:lnTo>
                    <a:pt x="1150037" y="454870"/>
                  </a:lnTo>
                  <a:lnTo>
                    <a:pt x="1146310" y="443568"/>
                  </a:lnTo>
                  <a:lnTo>
                    <a:pt x="1142426" y="432358"/>
                  </a:lnTo>
                  <a:lnTo>
                    <a:pt x="1138405" y="421235"/>
                  </a:lnTo>
                  <a:close/>
                </a:path>
                <a:path w="1189354" h="1684020" extrusionOk="0">
                  <a:moveTo>
                    <a:pt x="82521" y="347069"/>
                  </a:moveTo>
                  <a:lnTo>
                    <a:pt x="77337" y="357691"/>
                  </a:lnTo>
                  <a:lnTo>
                    <a:pt x="72311" y="368438"/>
                  </a:lnTo>
                  <a:lnTo>
                    <a:pt x="67442" y="379299"/>
                  </a:lnTo>
                  <a:lnTo>
                    <a:pt x="62731" y="390262"/>
                  </a:lnTo>
                  <a:lnTo>
                    <a:pt x="83986" y="399267"/>
                  </a:lnTo>
                  <a:lnTo>
                    <a:pt x="88602" y="388644"/>
                  </a:lnTo>
                  <a:lnTo>
                    <a:pt x="93345" y="378122"/>
                  </a:lnTo>
                  <a:lnTo>
                    <a:pt x="98225" y="367704"/>
                  </a:lnTo>
                  <a:lnTo>
                    <a:pt x="103253" y="357394"/>
                  </a:lnTo>
                  <a:lnTo>
                    <a:pt x="82521" y="347069"/>
                  </a:lnTo>
                  <a:close/>
                </a:path>
                <a:path w="1189354" h="1684020" extrusionOk="0">
                  <a:moveTo>
                    <a:pt x="1099872" y="334368"/>
                  </a:moveTo>
                  <a:lnTo>
                    <a:pt x="1079244" y="345080"/>
                  </a:lnTo>
                  <a:lnTo>
                    <a:pt x="1084506" y="355285"/>
                  </a:lnTo>
                  <a:lnTo>
                    <a:pt x="1089610" y="365604"/>
                  </a:lnTo>
                  <a:lnTo>
                    <a:pt x="1094558" y="376036"/>
                  </a:lnTo>
                  <a:lnTo>
                    <a:pt x="1099348" y="386576"/>
                  </a:lnTo>
                  <a:lnTo>
                    <a:pt x="1120499" y="377205"/>
                  </a:lnTo>
                  <a:lnTo>
                    <a:pt x="1115554" y="366305"/>
                  </a:lnTo>
                  <a:lnTo>
                    <a:pt x="1110460" y="355531"/>
                  </a:lnTo>
                  <a:lnTo>
                    <a:pt x="1105230" y="344885"/>
                  </a:lnTo>
                  <a:lnTo>
                    <a:pt x="1099872" y="334368"/>
                  </a:lnTo>
                  <a:close/>
                </a:path>
                <a:path w="1189354" h="1684020" extrusionOk="0">
                  <a:moveTo>
                    <a:pt x="130372" y="264831"/>
                  </a:moveTo>
                  <a:lnTo>
                    <a:pt x="123836" y="274699"/>
                  </a:lnTo>
                  <a:lnTo>
                    <a:pt x="117428" y="284739"/>
                  </a:lnTo>
                  <a:lnTo>
                    <a:pt x="111157" y="294917"/>
                  </a:lnTo>
                  <a:lnTo>
                    <a:pt x="105033" y="305196"/>
                  </a:lnTo>
                  <a:lnTo>
                    <a:pt x="125137" y="316819"/>
                  </a:lnTo>
                  <a:lnTo>
                    <a:pt x="130981" y="306874"/>
                  </a:lnTo>
                  <a:lnTo>
                    <a:pt x="137022" y="297040"/>
                  </a:lnTo>
                  <a:lnTo>
                    <a:pt x="143219" y="287346"/>
                  </a:lnTo>
                  <a:lnTo>
                    <a:pt x="149534" y="277825"/>
                  </a:lnTo>
                  <a:lnTo>
                    <a:pt x="130372" y="264831"/>
                  </a:lnTo>
                  <a:close/>
                </a:path>
                <a:path w="1189354" h="1684020" extrusionOk="0">
                  <a:moveTo>
                    <a:pt x="1050449" y="253135"/>
                  </a:moveTo>
                  <a:lnTo>
                    <a:pt x="1031497" y="266465"/>
                  </a:lnTo>
                  <a:lnTo>
                    <a:pt x="1037986" y="275895"/>
                  </a:lnTo>
                  <a:lnTo>
                    <a:pt x="1044376" y="285482"/>
                  </a:lnTo>
                  <a:lnTo>
                    <a:pt x="1050610" y="295184"/>
                  </a:lnTo>
                  <a:lnTo>
                    <a:pt x="1056627" y="304956"/>
                  </a:lnTo>
                  <a:lnTo>
                    <a:pt x="1076417" y="292935"/>
                  </a:lnTo>
                  <a:lnTo>
                    <a:pt x="1070180" y="282824"/>
                  </a:lnTo>
                  <a:lnTo>
                    <a:pt x="1063747" y="272796"/>
                  </a:lnTo>
                  <a:lnTo>
                    <a:pt x="1057157" y="262886"/>
                  </a:lnTo>
                  <a:lnTo>
                    <a:pt x="1050449" y="253135"/>
                  </a:lnTo>
                  <a:close/>
                </a:path>
                <a:path w="1189354" h="1684020" extrusionOk="0">
                  <a:moveTo>
                    <a:pt x="188905" y="189797"/>
                  </a:moveTo>
                  <a:lnTo>
                    <a:pt x="181035" y="198682"/>
                  </a:lnTo>
                  <a:lnTo>
                    <a:pt x="173303" y="207746"/>
                  </a:lnTo>
                  <a:lnTo>
                    <a:pt x="165728" y="216964"/>
                  </a:lnTo>
                  <a:lnTo>
                    <a:pt x="158330" y="226309"/>
                  </a:lnTo>
                  <a:lnTo>
                    <a:pt x="176549" y="240570"/>
                  </a:lnTo>
                  <a:lnTo>
                    <a:pt x="183710" y="231520"/>
                  </a:lnTo>
                  <a:lnTo>
                    <a:pt x="191038" y="222610"/>
                  </a:lnTo>
                  <a:lnTo>
                    <a:pt x="198504" y="213868"/>
                  </a:lnTo>
                  <a:lnTo>
                    <a:pt x="206077" y="205325"/>
                  </a:lnTo>
                  <a:lnTo>
                    <a:pt x="188905" y="189797"/>
                  </a:lnTo>
                  <a:close/>
                </a:path>
                <a:path w="1189354" h="1684020" extrusionOk="0">
                  <a:moveTo>
                    <a:pt x="990242" y="179305"/>
                  </a:moveTo>
                  <a:lnTo>
                    <a:pt x="973383" y="195179"/>
                  </a:lnTo>
                  <a:lnTo>
                    <a:pt x="981174" y="203569"/>
                  </a:lnTo>
                  <a:lnTo>
                    <a:pt x="988828" y="212159"/>
                  </a:lnTo>
                  <a:lnTo>
                    <a:pt x="996325" y="220907"/>
                  </a:lnTo>
                  <a:lnTo>
                    <a:pt x="1003644" y="229775"/>
                  </a:lnTo>
                  <a:lnTo>
                    <a:pt x="1021654" y="215189"/>
                  </a:lnTo>
                  <a:lnTo>
                    <a:pt x="1014022" y="205974"/>
                  </a:lnTo>
                  <a:lnTo>
                    <a:pt x="1006223" y="196901"/>
                  </a:lnTo>
                  <a:lnTo>
                    <a:pt x="998286" y="188001"/>
                  </a:lnTo>
                  <a:lnTo>
                    <a:pt x="990242" y="179305"/>
                  </a:lnTo>
                  <a:close/>
                </a:path>
                <a:path w="1189354" h="1684020" extrusionOk="0">
                  <a:moveTo>
                    <a:pt x="257803" y="123977"/>
                  </a:moveTo>
                  <a:lnTo>
                    <a:pt x="248661" y="131618"/>
                  </a:lnTo>
                  <a:lnTo>
                    <a:pt x="239636" y="139450"/>
                  </a:lnTo>
                  <a:lnTo>
                    <a:pt x="230769" y="147451"/>
                  </a:lnTo>
                  <a:lnTo>
                    <a:pt x="222097" y="155599"/>
                  </a:lnTo>
                  <a:lnTo>
                    <a:pt x="238118" y="172331"/>
                  </a:lnTo>
                  <a:lnTo>
                    <a:pt x="246473" y="164486"/>
                  </a:lnTo>
                  <a:lnTo>
                    <a:pt x="255015" y="156774"/>
                  </a:lnTo>
                  <a:lnTo>
                    <a:pt x="263695" y="149231"/>
                  </a:lnTo>
                  <a:lnTo>
                    <a:pt x="272462" y="141892"/>
                  </a:lnTo>
                  <a:lnTo>
                    <a:pt x="257803" y="123977"/>
                  </a:lnTo>
                  <a:close/>
                </a:path>
                <a:path w="1189354" h="1684020" extrusionOk="0">
                  <a:moveTo>
                    <a:pt x="919773" y="115066"/>
                  </a:moveTo>
                  <a:lnTo>
                    <a:pt x="905637" y="133348"/>
                  </a:lnTo>
                  <a:lnTo>
                    <a:pt x="914562" y="140450"/>
                  </a:lnTo>
                  <a:lnTo>
                    <a:pt x="923398" y="147767"/>
                  </a:lnTo>
                  <a:lnTo>
                    <a:pt x="932097" y="155279"/>
                  </a:lnTo>
                  <a:lnTo>
                    <a:pt x="940610" y="162970"/>
                  </a:lnTo>
                  <a:lnTo>
                    <a:pt x="956316" y="145871"/>
                  </a:lnTo>
                  <a:lnTo>
                    <a:pt x="947411" y="137875"/>
                  </a:lnTo>
                  <a:lnTo>
                    <a:pt x="938319" y="130060"/>
                  </a:lnTo>
                  <a:lnTo>
                    <a:pt x="929090" y="122450"/>
                  </a:lnTo>
                  <a:lnTo>
                    <a:pt x="919773" y="115066"/>
                  </a:lnTo>
                  <a:close/>
                </a:path>
                <a:path w="1189354" h="1684020" extrusionOk="0">
                  <a:moveTo>
                    <a:pt x="336440" y="69748"/>
                  </a:moveTo>
                  <a:lnTo>
                    <a:pt x="326235" y="75749"/>
                  </a:lnTo>
                  <a:lnTo>
                    <a:pt x="316061" y="82020"/>
                  </a:lnTo>
                  <a:lnTo>
                    <a:pt x="305945" y="88534"/>
                  </a:lnTo>
                  <a:lnTo>
                    <a:pt x="295917" y="95266"/>
                  </a:lnTo>
                  <a:lnTo>
                    <a:pt x="309111" y="114344"/>
                  </a:lnTo>
                  <a:lnTo>
                    <a:pt x="318685" y="107873"/>
                  </a:lnTo>
                  <a:lnTo>
                    <a:pt x="328377" y="101621"/>
                  </a:lnTo>
                  <a:lnTo>
                    <a:pt x="338148" y="95614"/>
                  </a:lnTo>
                  <a:lnTo>
                    <a:pt x="347957" y="89873"/>
                  </a:lnTo>
                  <a:lnTo>
                    <a:pt x="336440" y="69748"/>
                  </a:lnTo>
                  <a:close/>
                </a:path>
                <a:path w="1189354" h="1684020" extrusionOk="0">
                  <a:moveTo>
                    <a:pt x="839984" y="62827"/>
                  </a:moveTo>
                  <a:lnTo>
                    <a:pt x="828990" y="83224"/>
                  </a:lnTo>
                  <a:lnTo>
                    <a:pt x="838880" y="88714"/>
                  </a:lnTo>
                  <a:lnTo>
                    <a:pt x="848741" y="94461"/>
                  </a:lnTo>
                  <a:lnTo>
                    <a:pt x="858542" y="100445"/>
                  </a:lnTo>
                  <a:lnTo>
                    <a:pt x="868256" y="106647"/>
                  </a:lnTo>
                  <a:lnTo>
                    <a:pt x="880926" y="87297"/>
                  </a:lnTo>
                  <a:lnTo>
                    <a:pt x="870862" y="80820"/>
                  </a:lnTo>
                  <a:lnTo>
                    <a:pt x="860651" y="74567"/>
                  </a:lnTo>
                  <a:lnTo>
                    <a:pt x="850342" y="68562"/>
                  </a:lnTo>
                  <a:lnTo>
                    <a:pt x="839984" y="62827"/>
                  </a:lnTo>
                  <a:close/>
                </a:path>
                <a:path w="1189354" h="1684020" extrusionOk="0">
                  <a:moveTo>
                    <a:pt x="423138" y="29665"/>
                  </a:moveTo>
                  <a:lnTo>
                    <a:pt x="411992" y="33804"/>
                  </a:lnTo>
                  <a:lnTo>
                    <a:pt x="400875" y="38210"/>
                  </a:lnTo>
                  <a:lnTo>
                    <a:pt x="389816" y="42882"/>
                  </a:lnTo>
                  <a:lnTo>
                    <a:pt x="378847" y="47822"/>
                  </a:lnTo>
                  <a:lnTo>
                    <a:pt x="388585" y="68795"/>
                  </a:lnTo>
                  <a:lnTo>
                    <a:pt x="399083" y="64099"/>
                  </a:lnTo>
                  <a:lnTo>
                    <a:pt x="409670" y="59646"/>
                  </a:lnTo>
                  <a:lnTo>
                    <a:pt x="420316" y="55449"/>
                  </a:lnTo>
                  <a:lnTo>
                    <a:pt x="430992" y="51518"/>
                  </a:lnTo>
                  <a:lnTo>
                    <a:pt x="423138" y="29665"/>
                  </a:lnTo>
                  <a:close/>
                </a:path>
                <a:path w="1189354" h="1684020" extrusionOk="0">
                  <a:moveTo>
                    <a:pt x="752238" y="25100"/>
                  </a:moveTo>
                  <a:lnTo>
                    <a:pt x="745013" y="47141"/>
                  </a:lnTo>
                  <a:lnTo>
                    <a:pt x="755828" y="50793"/>
                  </a:lnTo>
                  <a:lnTo>
                    <a:pt x="766583" y="54707"/>
                  </a:lnTo>
                  <a:lnTo>
                    <a:pt x="777261" y="58871"/>
                  </a:lnTo>
                  <a:lnTo>
                    <a:pt x="787839" y="63277"/>
                  </a:lnTo>
                  <a:lnTo>
                    <a:pt x="796949" y="42011"/>
                  </a:lnTo>
                  <a:lnTo>
                    <a:pt x="785943" y="37420"/>
                  </a:lnTo>
                  <a:lnTo>
                    <a:pt x="774790" y="33057"/>
                  </a:lnTo>
                  <a:lnTo>
                    <a:pt x="763539" y="28942"/>
                  </a:lnTo>
                  <a:lnTo>
                    <a:pt x="752238" y="25100"/>
                  </a:lnTo>
                  <a:close/>
                </a:path>
                <a:path w="1189354" h="1684020" extrusionOk="0">
                  <a:moveTo>
                    <a:pt x="515806" y="6096"/>
                  </a:moveTo>
                  <a:lnTo>
                    <a:pt x="504088" y="8055"/>
                  </a:lnTo>
                  <a:lnTo>
                    <a:pt x="492351" y="10326"/>
                  </a:lnTo>
                  <a:lnTo>
                    <a:pt x="480614" y="12895"/>
                  </a:lnTo>
                  <a:lnTo>
                    <a:pt x="468896" y="15750"/>
                  </a:lnTo>
                  <a:lnTo>
                    <a:pt x="474655" y="38168"/>
                  </a:lnTo>
                  <a:lnTo>
                    <a:pt x="485779" y="35458"/>
                  </a:lnTo>
                  <a:lnTo>
                    <a:pt x="496971" y="33019"/>
                  </a:lnTo>
                  <a:lnTo>
                    <a:pt x="508183" y="30859"/>
                  </a:lnTo>
                  <a:lnTo>
                    <a:pt x="519366" y="28985"/>
                  </a:lnTo>
                  <a:lnTo>
                    <a:pt x="515806" y="6096"/>
                  </a:lnTo>
                  <a:close/>
                </a:path>
                <a:path w="1189354" h="1684020" extrusionOk="0">
                  <a:moveTo>
                    <a:pt x="658943" y="4064"/>
                  </a:moveTo>
                  <a:lnTo>
                    <a:pt x="656011" y="27048"/>
                  </a:lnTo>
                  <a:lnTo>
                    <a:pt x="667257" y="28625"/>
                  </a:lnTo>
                  <a:lnTo>
                    <a:pt x="678523" y="30476"/>
                  </a:lnTo>
                  <a:lnTo>
                    <a:pt x="689789" y="32592"/>
                  </a:lnTo>
                  <a:lnTo>
                    <a:pt x="701036" y="34964"/>
                  </a:lnTo>
                  <a:lnTo>
                    <a:pt x="706062" y="12399"/>
                  </a:lnTo>
                  <a:lnTo>
                    <a:pt x="694326" y="9882"/>
                  </a:lnTo>
                  <a:lnTo>
                    <a:pt x="682542" y="7647"/>
                  </a:lnTo>
                  <a:lnTo>
                    <a:pt x="670737" y="5704"/>
                  </a:lnTo>
                  <a:lnTo>
                    <a:pt x="658943" y="4064"/>
                  </a:lnTo>
                  <a:close/>
                </a:path>
                <a:path w="1189354" h="1684020" extrusionOk="0">
                  <a:moveTo>
                    <a:pt x="586329" y="0"/>
                  </a:moveTo>
                  <a:lnTo>
                    <a:pt x="578644" y="182"/>
                  </a:lnTo>
                  <a:lnTo>
                    <a:pt x="570979" y="486"/>
                  </a:lnTo>
                  <a:lnTo>
                    <a:pt x="563344" y="912"/>
                  </a:lnTo>
                  <a:lnTo>
                    <a:pt x="564705" y="24011"/>
                  </a:lnTo>
                  <a:lnTo>
                    <a:pt x="572165" y="23626"/>
                  </a:lnTo>
                  <a:lnTo>
                    <a:pt x="579626" y="23352"/>
                  </a:lnTo>
                  <a:lnTo>
                    <a:pt x="587086" y="23187"/>
                  </a:lnTo>
                  <a:lnTo>
                    <a:pt x="610469" y="23187"/>
                  </a:lnTo>
                  <a:lnTo>
                    <a:pt x="611196" y="232"/>
                  </a:lnTo>
                  <a:lnTo>
                    <a:pt x="605541" y="43"/>
                  </a:lnTo>
                  <a:lnTo>
                    <a:pt x="586329" y="0"/>
                  </a:lnTo>
                  <a:close/>
                </a:path>
                <a:path w="1189354" h="1684020" extrusionOk="0">
                  <a:moveTo>
                    <a:pt x="610469" y="23187"/>
                  </a:moveTo>
                  <a:lnTo>
                    <a:pt x="587086" y="23187"/>
                  </a:lnTo>
                  <a:lnTo>
                    <a:pt x="605122" y="23215"/>
                  </a:lnTo>
                  <a:lnTo>
                    <a:pt x="610463" y="23383"/>
                  </a:lnTo>
                  <a:lnTo>
                    <a:pt x="610469" y="23187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114;p1"/>
            <p:cNvSpPr/>
            <p:nvPr/>
          </p:nvSpPr>
          <p:spPr>
            <a:xfrm>
              <a:off x="12464311" y="7980563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115;p1"/>
            <p:cNvSpPr/>
            <p:nvPr/>
          </p:nvSpPr>
          <p:spPr>
            <a:xfrm>
              <a:off x="9346406" y="7911068"/>
              <a:ext cx="1987550" cy="2175510"/>
            </a:xfrm>
            <a:custGeom>
              <a:avLst/>
              <a:gdLst/>
              <a:ahLst/>
              <a:cxnLst/>
              <a:rect l="l" t="t" r="r" b="b"/>
              <a:pathLst>
                <a:path w="1987550" h="2175509" extrusionOk="0">
                  <a:moveTo>
                    <a:pt x="1987080" y="0"/>
                  </a:moveTo>
                  <a:lnTo>
                    <a:pt x="1940768" y="0"/>
                  </a:lnTo>
                  <a:lnTo>
                    <a:pt x="1940768" y="1225679"/>
                  </a:lnTo>
                  <a:lnTo>
                    <a:pt x="1939513" y="1273577"/>
                  </a:lnTo>
                  <a:lnTo>
                    <a:pt x="1935792" y="1320832"/>
                  </a:lnTo>
                  <a:lnTo>
                    <a:pt x="1929667" y="1367381"/>
                  </a:lnTo>
                  <a:lnTo>
                    <a:pt x="1921200" y="1413162"/>
                  </a:lnTo>
                  <a:lnTo>
                    <a:pt x="1910455" y="1458111"/>
                  </a:lnTo>
                  <a:lnTo>
                    <a:pt x="1897495" y="1502166"/>
                  </a:lnTo>
                  <a:lnTo>
                    <a:pt x="1882383" y="1545264"/>
                  </a:lnTo>
                  <a:lnTo>
                    <a:pt x="1865181" y="1587342"/>
                  </a:lnTo>
                  <a:lnTo>
                    <a:pt x="1845953" y="1628336"/>
                  </a:lnTo>
                  <a:lnTo>
                    <a:pt x="1824760" y="1668184"/>
                  </a:lnTo>
                  <a:lnTo>
                    <a:pt x="1801667" y="1706824"/>
                  </a:lnTo>
                  <a:lnTo>
                    <a:pt x="1776737" y="1744192"/>
                  </a:lnTo>
                  <a:lnTo>
                    <a:pt x="1750031" y="1780225"/>
                  </a:lnTo>
                  <a:lnTo>
                    <a:pt x="1721613" y="1814861"/>
                  </a:lnTo>
                  <a:lnTo>
                    <a:pt x="1691546" y="1848036"/>
                  </a:lnTo>
                  <a:lnTo>
                    <a:pt x="1659892" y="1879688"/>
                  </a:lnTo>
                  <a:lnTo>
                    <a:pt x="1626715" y="1909754"/>
                  </a:lnTo>
                  <a:lnTo>
                    <a:pt x="1592078" y="1938171"/>
                  </a:lnTo>
                  <a:lnTo>
                    <a:pt x="1556043" y="1964875"/>
                  </a:lnTo>
                  <a:lnTo>
                    <a:pt x="1518673" y="1989805"/>
                  </a:lnTo>
                  <a:lnTo>
                    <a:pt x="1480032" y="2012897"/>
                  </a:lnTo>
                  <a:lnTo>
                    <a:pt x="1440181" y="2034088"/>
                  </a:lnTo>
                  <a:lnTo>
                    <a:pt x="1399185" y="2053315"/>
                  </a:lnTo>
                  <a:lnTo>
                    <a:pt x="1357106" y="2070516"/>
                  </a:lnTo>
                  <a:lnTo>
                    <a:pt x="1314006" y="2085628"/>
                  </a:lnTo>
                  <a:lnTo>
                    <a:pt x="1269949" y="2098587"/>
                  </a:lnTo>
                  <a:lnTo>
                    <a:pt x="1224998" y="2109331"/>
                  </a:lnTo>
                  <a:lnTo>
                    <a:pt x="1179215" y="2117797"/>
                  </a:lnTo>
                  <a:lnTo>
                    <a:pt x="1132664" y="2123923"/>
                  </a:lnTo>
                  <a:lnTo>
                    <a:pt x="1085407" y="2127644"/>
                  </a:lnTo>
                  <a:lnTo>
                    <a:pt x="1037507" y="2128898"/>
                  </a:lnTo>
                  <a:lnTo>
                    <a:pt x="0" y="2128898"/>
                  </a:lnTo>
                  <a:lnTo>
                    <a:pt x="0" y="2175232"/>
                  </a:lnTo>
                  <a:lnTo>
                    <a:pt x="1037507" y="2175232"/>
                  </a:lnTo>
                  <a:lnTo>
                    <a:pt x="1086300" y="2173994"/>
                  </a:lnTo>
                  <a:lnTo>
                    <a:pt x="1134461" y="2170320"/>
                  </a:lnTo>
                  <a:lnTo>
                    <a:pt x="1181929" y="2164270"/>
                  </a:lnTo>
                  <a:lnTo>
                    <a:pt x="1228645" y="2155905"/>
                  </a:lnTo>
                  <a:lnTo>
                    <a:pt x="1274548" y="2145285"/>
                  </a:lnTo>
                  <a:lnTo>
                    <a:pt x="1319578" y="2132469"/>
                  </a:lnTo>
                  <a:lnTo>
                    <a:pt x="1363675" y="2117518"/>
                  </a:lnTo>
                  <a:lnTo>
                    <a:pt x="1406779" y="2100492"/>
                  </a:lnTo>
                  <a:lnTo>
                    <a:pt x="1448830" y="2081451"/>
                  </a:lnTo>
                  <a:lnTo>
                    <a:pt x="1489768" y="2060455"/>
                  </a:lnTo>
                  <a:lnTo>
                    <a:pt x="1529532" y="2037565"/>
                  </a:lnTo>
                  <a:lnTo>
                    <a:pt x="1568063" y="2012840"/>
                  </a:lnTo>
                  <a:lnTo>
                    <a:pt x="1605301" y="1986340"/>
                  </a:lnTo>
                  <a:lnTo>
                    <a:pt x="1641185" y="1958126"/>
                  </a:lnTo>
                  <a:lnTo>
                    <a:pt x="1675654" y="1928258"/>
                  </a:lnTo>
                  <a:lnTo>
                    <a:pt x="1708650" y="1896796"/>
                  </a:lnTo>
                  <a:lnTo>
                    <a:pt x="1740112" y="1863801"/>
                  </a:lnTo>
                  <a:lnTo>
                    <a:pt x="1769980" y="1829331"/>
                  </a:lnTo>
                  <a:lnTo>
                    <a:pt x="1798194" y="1793448"/>
                  </a:lnTo>
                  <a:lnTo>
                    <a:pt x="1824693" y="1756211"/>
                  </a:lnTo>
                  <a:lnTo>
                    <a:pt x="1849417" y="1717680"/>
                  </a:lnTo>
                  <a:lnTo>
                    <a:pt x="1872307" y="1677917"/>
                  </a:lnTo>
                  <a:lnTo>
                    <a:pt x="1893303" y="1636980"/>
                  </a:lnTo>
                  <a:lnTo>
                    <a:pt x="1912343" y="1594930"/>
                  </a:lnTo>
                  <a:lnTo>
                    <a:pt x="1929369" y="1551828"/>
                  </a:lnTo>
                  <a:lnTo>
                    <a:pt x="1944319" y="1507733"/>
                  </a:lnTo>
                  <a:lnTo>
                    <a:pt x="1957135" y="1462705"/>
                  </a:lnTo>
                  <a:lnTo>
                    <a:pt x="1967755" y="1416804"/>
                  </a:lnTo>
                  <a:lnTo>
                    <a:pt x="1976120" y="1370091"/>
                  </a:lnTo>
                  <a:lnTo>
                    <a:pt x="1982169" y="1322626"/>
                  </a:lnTo>
                  <a:lnTo>
                    <a:pt x="1985842" y="1274469"/>
                  </a:lnTo>
                  <a:lnTo>
                    <a:pt x="1987080" y="1225679"/>
                  </a:lnTo>
                  <a:lnTo>
                    <a:pt x="1987080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116;p1"/>
            <p:cNvSpPr/>
            <p:nvPr/>
          </p:nvSpPr>
          <p:spPr>
            <a:xfrm>
              <a:off x="16783919" y="8607025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8" y="4704"/>
                  </a:lnTo>
                  <a:lnTo>
                    <a:pt x="141436" y="18197"/>
                  </a:lnTo>
                  <a:lnTo>
                    <a:pt x="102098" y="39549"/>
                  </a:lnTo>
                  <a:lnTo>
                    <a:pt x="67825" y="67827"/>
                  </a:lnTo>
                  <a:lnTo>
                    <a:pt x="39547" y="102103"/>
                  </a:lnTo>
                  <a:lnTo>
                    <a:pt x="18197" y="141445"/>
                  </a:lnTo>
                  <a:lnTo>
                    <a:pt x="4704" y="184922"/>
                  </a:lnTo>
                  <a:lnTo>
                    <a:pt x="0" y="231605"/>
                  </a:lnTo>
                  <a:lnTo>
                    <a:pt x="4704" y="278280"/>
                  </a:lnTo>
                  <a:lnTo>
                    <a:pt x="18197" y="321750"/>
                  </a:lnTo>
                  <a:lnTo>
                    <a:pt x="39547" y="361085"/>
                  </a:lnTo>
                  <a:lnTo>
                    <a:pt x="67825" y="395354"/>
                  </a:lnTo>
                  <a:lnTo>
                    <a:pt x="102098" y="423627"/>
                  </a:lnTo>
                  <a:lnTo>
                    <a:pt x="141436" y="444974"/>
                  </a:lnTo>
                  <a:lnTo>
                    <a:pt x="184908" y="458465"/>
                  </a:lnTo>
                  <a:lnTo>
                    <a:pt x="231584" y="463169"/>
                  </a:lnTo>
                  <a:lnTo>
                    <a:pt x="278258" y="458465"/>
                  </a:lnTo>
                  <a:lnTo>
                    <a:pt x="321731" y="444974"/>
                  </a:lnTo>
                  <a:lnTo>
                    <a:pt x="361072" y="423627"/>
                  </a:lnTo>
                  <a:lnTo>
                    <a:pt x="395350" y="395354"/>
                  </a:lnTo>
                  <a:lnTo>
                    <a:pt x="423632" y="361085"/>
                  </a:lnTo>
                  <a:lnTo>
                    <a:pt x="444987" y="321750"/>
                  </a:lnTo>
                  <a:lnTo>
                    <a:pt x="458484" y="278280"/>
                  </a:lnTo>
                  <a:lnTo>
                    <a:pt x="463190" y="231605"/>
                  </a:lnTo>
                  <a:lnTo>
                    <a:pt x="458484" y="184922"/>
                  </a:lnTo>
                  <a:lnTo>
                    <a:pt x="444987" y="141445"/>
                  </a:lnTo>
                  <a:lnTo>
                    <a:pt x="423632" y="102103"/>
                  </a:lnTo>
                  <a:lnTo>
                    <a:pt x="395350" y="67827"/>
                  </a:lnTo>
                  <a:lnTo>
                    <a:pt x="361072" y="39549"/>
                  </a:lnTo>
                  <a:lnTo>
                    <a:pt x="321731" y="18197"/>
                  </a:lnTo>
                  <a:lnTo>
                    <a:pt x="278258" y="4704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117;p1"/>
            <p:cNvSpPr/>
            <p:nvPr/>
          </p:nvSpPr>
          <p:spPr>
            <a:xfrm>
              <a:off x="15066273" y="5884585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5" y="4704"/>
                  </a:lnTo>
                  <a:lnTo>
                    <a:pt x="141432" y="18195"/>
                  </a:lnTo>
                  <a:lnTo>
                    <a:pt x="102093" y="39544"/>
                  </a:lnTo>
                  <a:lnTo>
                    <a:pt x="67821" y="67818"/>
                  </a:lnTo>
                  <a:lnTo>
                    <a:pt x="39545" y="102088"/>
                  </a:lnTo>
                  <a:lnTo>
                    <a:pt x="18195" y="141423"/>
                  </a:lnTo>
                  <a:lnTo>
                    <a:pt x="4704" y="184891"/>
                  </a:lnTo>
                  <a:lnTo>
                    <a:pt x="0" y="231563"/>
                  </a:lnTo>
                  <a:lnTo>
                    <a:pt x="4704" y="278237"/>
                  </a:lnTo>
                  <a:lnTo>
                    <a:pt x="18195" y="321712"/>
                  </a:lnTo>
                  <a:lnTo>
                    <a:pt x="39545" y="361055"/>
                  </a:lnTo>
                  <a:lnTo>
                    <a:pt x="67821" y="395334"/>
                  </a:lnTo>
                  <a:lnTo>
                    <a:pt x="102093" y="423618"/>
                  </a:lnTo>
                  <a:lnTo>
                    <a:pt x="141432" y="444975"/>
                  </a:lnTo>
                  <a:lnTo>
                    <a:pt x="184905" y="458473"/>
                  </a:lnTo>
                  <a:lnTo>
                    <a:pt x="231584" y="463179"/>
                  </a:lnTo>
                  <a:lnTo>
                    <a:pt x="278256" y="458473"/>
                  </a:lnTo>
                  <a:lnTo>
                    <a:pt x="321726" y="444975"/>
                  </a:lnTo>
                  <a:lnTo>
                    <a:pt x="361062" y="423618"/>
                  </a:lnTo>
                  <a:lnTo>
                    <a:pt x="395334" y="395334"/>
                  </a:lnTo>
                  <a:lnTo>
                    <a:pt x="423611" y="361055"/>
                  </a:lnTo>
                  <a:lnTo>
                    <a:pt x="444961" y="321712"/>
                  </a:lnTo>
                  <a:lnTo>
                    <a:pt x="458454" y="278237"/>
                  </a:lnTo>
                  <a:lnTo>
                    <a:pt x="463158" y="231563"/>
                  </a:lnTo>
                  <a:lnTo>
                    <a:pt x="458454" y="184891"/>
                  </a:lnTo>
                  <a:lnTo>
                    <a:pt x="444961" y="141423"/>
                  </a:lnTo>
                  <a:lnTo>
                    <a:pt x="423611" y="102088"/>
                  </a:lnTo>
                  <a:lnTo>
                    <a:pt x="395334" y="67818"/>
                  </a:lnTo>
                  <a:lnTo>
                    <a:pt x="361062" y="39544"/>
                  </a:lnTo>
                  <a:lnTo>
                    <a:pt x="321726" y="18195"/>
                  </a:lnTo>
                  <a:lnTo>
                    <a:pt x="278256" y="4704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118;p1"/>
            <p:cNvSpPr/>
            <p:nvPr/>
          </p:nvSpPr>
          <p:spPr>
            <a:xfrm>
              <a:off x="2" y="7546314"/>
              <a:ext cx="2192020" cy="2604770"/>
            </a:xfrm>
            <a:custGeom>
              <a:avLst/>
              <a:gdLst/>
              <a:ahLst/>
              <a:cxnLst/>
              <a:rect l="l" t="t" r="r" b="b"/>
              <a:pathLst>
                <a:path w="2192020" h="2604770" extrusionOk="0">
                  <a:moveTo>
                    <a:pt x="0" y="2431601"/>
                  </a:moveTo>
                  <a:lnTo>
                    <a:pt x="0" y="2485987"/>
                  </a:lnTo>
                  <a:lnTo>
                    <a:pt x="43036" y="2509938"/>
                  </a:lnTo>
                  <a:lnTo>
                    <a:pt x="87401" y="2531397"/>
                  </a:lnTo>
                  <a:lnTo>
                    <a:pt x="133016" y="2550277"/>
                  </a:lnTo>
                  <a:lnTo>
                    <a:pt x="179797" y="2566492"/>
                  </a:lnTo>
                  <a:lnTo>
                    <a:pt x="227665" y="2579953"/>
                  </a:lnTo>
                  <a:lnTo>
                    <a:pt x="276538" y="2590574"/>
                  </a:lnTo>
                  <a:lnTo>
                    <a:pt x="326334" y="2598268"/>
                  </a:lnTo>
                  <a:lnTo>
                    <a:pt x="376973" y="2602948"/>
                  </a:lnTo>
                  <a:lnTo>
                    <a:pt x="428374" y="2604528"/>
                  </a:lnTo>
                  <a:lnTo>
                    <a:pt x="482203" y="2602795"/>
                  </a:lnTo>
                  <a:lnTo>
                    <a:pt x="535190" y="2597665"/>
                  </a:lnTo>
                  <a:lnTo>
                    <a:pt x="587243" y="2589237"/>
                  </a:lnTo>
                  <a:lnTo>
                    <a:pt x="638269" y="2577609"/>
                  </a:lnTo>
                  <a:lnTo>
                    <a:pt x="688175" y="2562883"/>
                  </a:lnTo>
                  <a:lnTo>
                    <a:pt x="701056" y="2558194"/>
                  </a:lnTo>
                  <a:lnTo>
                    <a:pt x="428374" y="2558194"/>
                  </a:lnTo>
                  <a:lnTo>
                    <a:pt x="376630" y="2556499"/>
                  </a:lnTo>
                  <a:lnTo>
                    <a:pt x="325709" y="2551480"/>
                  </a:lnTo>
                  <a:lnTo>
                    <a:pt x="275703" y="2543237"/>
                  </a:lnTo>
                  <a:lnTo>
                    <a:pt x="226702" y="2531868"/>
                  </a:lnTo>
                  <a:lnTo>
                    <a:pt x="178799" y="2517472"/>
                  </a:lnTo>
                  <a:lnTo>
                    <a:pt x="132085" y="2500148"/>
                  </a:lnTo>
                  <a:lnTo>
                    <a:pt x="86653" y="2479996"/>
                  </a:lnTo>
                  <a:lnTo>
                    <a:pt x="42594" y="2457114"/>
                  </a:lnTo>
                  <a:lnTo>
                    <a:pt x="0" y="2431601"/>
                  </a:lnTo>
                  <a:close/>
                </a:path>
                <a:path w="2192020" h="2604770" extrusionOk="0">
                  <a:moveTo>
                    <a:pt x="2191818" y="0"/>
                  </a:moveTo>
                  <a:lnTo>
                    <a:pt x="2141209" y="1243"/>
                  </a:lnTo>
                  <a:lnTo>
                    <a:pt x="2091304" y="4932"/>
                  </a:lnTo>
                  <a:lnTo>
                    <a:pt x="2042175" y="11001"/>
                  </a:lnTo>
                  <a:lnTo>
                    <a:pt x="1993891" y="19386"/>
                  </a:lnTo>
                  <a:lnTo>
                    <a:pt x="1946523" y="30023"/>
                  </a:lnTo>
                  <a:lnTo>
                    <a:pt x="1900144" y="42846"/>
                  </a:lnTo>
                  <a:lnTo>
                    <a:pt x="1854823" y="57792"/>
                  </a:lnTo>
                  <a:lnTo>
                    <a:pt x="1810633" y="74796"/>
                  </a:lnTo>
                  <a:lnTo>
                    <a:pt x="1767643" y="93793"/>
                  </a:lnTo>
                  <a:lnTo>
                    <a:pt x="1725925" y="114719"/>
                  </a:lnTo>
                  <a:lnTo>
                    <a:pt x="1685550" y="137510"/>
                  </a:lnTo>
                  <a:lnTo>
                    <a:pt x="1646588" y="162101"/>
                  </a:lnTo>
                  <a:lnTo>
                    <a:pt x="1609112" y="188428"/>
                  </a:lnTo>
                  <a:lnTo>
                    <a:pt x="1573191" y="216426"/>
                  </a:lnTo>
                  <a:lnTo>
                    <a:pt x="1538898" y="246030"/>
                  </a:lnTo>
                  <a:lnTo>
                    <a:pt x="1506302" y="277177"/>
                  </a:lnTo>
                  <a:lnTo>
                    <a:pt x="1475475" y="309801"/>
                  </a:lnTo>
                  <a:lnTo>
                    <a:pt x="1446488" y="343838"/>
                  </a:lnTo>
                  <a:lnTo>
                    <a:pt x="1419412" y="379225"/>
                  </a:lnTo>
                  <a:lnTo>
                    <a:pt x="1394318" y="415895"/>
                  </a:lnTo>
                  <a:lnTo>
                    <a:pt x="1371276" y="453786"/>
                  </a:lnTo>
                  <a:lnTo>
                    <a:pt x="1350359" y="492831"/>
                  </a:lnTo>
                  <a:lnTo>
                    <a:pt x="1331637" y="532968"/>
                  </a:lnTo>
                  <a:lnTo>
                    <a:pt x="1315180" y="574131"/>
                  </a:lnTo>
                  <a:lnTo>
                    <a:pt x="1301061" y="616256"/>
                  </a:lnTo>
                  <a:lnTo>
                    <a:pt x="1289349" y="659278"/>
                  </a:lnTo>
                  <a:lnTo>
                    <a:pt x="1280117" y="703134"/>
                  </a:lnTo>
                  <a:lnTo>
                    <a:pt x="1273434" y="747757"/>
                  </a:lnTo>
                  <a:lnTo>
                    <a:pt x="1269372" y="793085"/>
                  </a:lnTo>
                  <a:lnTo>
                    <a:pt x="1268003" y="839052"/>
                  </a:lnTo>
                  <a:lnTo>
                    <a:pt x="1268003" y="1654965"/>
                  </a:lnTo>
                  <a:lnTo>
                    <a:pt x="1266568" y="1708080"/>
                  </a:lnTo>
                  <a:lnTo>
                    <a:pt x="1262318" y="1760395"/>
                  </a:lnTo>
                  <a:lnTo>
                    <a:pt x="1255332" y="1811824"/>
                  </a:lnTo>
                  <a:lnTo>
                    <a:pt x="1245690" y="1862280"/>
                  </a:lnTo>
                  <a:lnTo>
                    <a:pt x="1233472" y="1911679"/>
                  </a:lnTo>
                  <a:lnTo>
                    <a:pt x="1218757" y="1959933"/>
                  </a:lnTo>
                  <a:lnTo>
                    <a:pt x="1201627" y="2006957"/>
                  </a:lnTo>
                  <a:lnTo>
                    <a:pt x="1182159" y="2052666"/>
                  </a:lnTo>
                  <a:lnTo>
                    <a:pt x="1160435" y="2096972"/>
                  </a:lnTo>
                  <a:lnTo>
                    <a:pt x="1136535" y="2139791"/>
                  </a:lnTo>
                  <a:lnTo>
                    <a:pt x="1110537" y="2181037"/>
                  </a:lnTo>
                  <a:lnTo>
                    <a:pt x="1082522" y="2220623"/>
                  </a:lnTo>
                  <a:lnTo>
                    <a:pt x="1052570" y="2258464"/>
                  </a:lnTo>
                  <a:lnTo>
                    <a:pt x="1020761" y="2294473"/>
                  </a:lnTo>
                  <a:lnTo>
                    <a:pt x="987175" y="2328566"/>
                  </a:lnTo>
                  <a:lnTo>
                    <a:pt x="951890" y="2360655"/>
                  </a:lnTo>
                  <a:lnTo>
                    <a:pt x="914988" y="2390655"/>
                  </a:lnTo>
                  <a:lnTo>
                    <a:pt x="876549" y="2418481"/>
                  </a:lnTo>
                  <a:lnTo>
                    <a:pt x="841990" y="2440806"/>
                  </a:lnTo>
                  <a:lnTo>
                    <a:pt x="784648" y="2472790"/>
                  </a:lnTo>
                  <a:lnTo>
                    <a:pt x="737522" y="2494764"/>
                  </a:lnTo>
                  <a:lnTo>
                    <a:pt x="688962" y="2513671"/>
                  </a:lnTo>
                  <a:lnTo>
                    <a:pt x="639074" y="2529395"/>
                  </a:lnTo>
                  <a:lnTo>
                    <a:pt x="587966" y="2541824"/>
                  </a:lnTo>
                  <a:lnTo>
                    <a:pt x="535742" y="2550842"/>
                  </a:lnTo>
                  <a:lnTo>
                    <a:pt x="482510" y="2556337"/>
                  </a:lnTo>
                  <a:lnTo>
                    <a:pt x="428374" y="2558194"/>
                  </a:lnTo>
                  <a:lnTo>
                    <a:pt x="701056" y="2558194"/>
                  </a:lnTo>
                  <a:lnTo>
                    <a:pt x="736866" y="2545158"/>
                  </a:lnTo>
                  <a:lnTo>
                    <a:pt x="784251" y="2524532"/>
                  </a:lnTo>
                  <a:lnTo>
                    <a:pt x="830236" y="2501107"/>
                  </a:lnTo>
                  <a:lnTo>
                    <a:pt x="865133" y="2480915"/>
                  </a:lnTo>
                  <a:lnTo>
                    <a:pt x="915159" y="2448012"/>
                  </a:lnTo>
                  <a:lnTo>
                    <a:pt x="952414" y="2420167"/>
                  </a:lnTo>
                  <a:lnTo>
                    <a:pt x="988248" y="2390366"/>
                  </a:lnTo>
                  <a:lnTo>
                    <a:pt x="1022593" y="2358684"/>
                  </a:lnTo>
                  <a:lnTo>
                    <a:pt x="1055380" y="2325191"/>
                  </a:lnTo>
                  <a:lnTo>
                    <a:pt x="1086543" y="2289961"/>
                  </a:lnTo>
                  <a:lnTo>
                    <a:pt x="1116014" y="2253067"/>
                  </a:lnTo>
                  <a:lnTo>
                    <a:pt x="1143724" y="2214580"/>
                  </a:lnTo>
                  <a:lnTo>
                    <a:pt x="1169606" y="2174574"/>
                  </a:lnTo>
                  <a:lnTo>
                    <a:pt x="1193593" y="2133120"/>
                  </a:lnTo>
                  <a:lnTo>
                    <a:pt x="1215616" y="2090293"/>
                  </a:lnTo>
                  <a:lnTo>
                    <a:pt x="1235609" y="2046163"/>
                  </a:lnTo>
                  <a:lnTo>
                    <a:pt x="1253503" y="2000804"/>
                  </a:lnTo>
                  <a:lnTo>
                    <a:pt x="1269231" y="1954288"/>
                  </a:lnTo>
                  <a:lnTo>
                    <a:pt x="1282725" y="1906688"/>
                  </a:lnTo>
                  <a:lnTo>
                    <a:pt x="1293917" y="1858077"/>
                  </a:lnTo>
                  <a:lnTo>
                    <a:pt x="1302740" y="1808526"/>
                  </a:lnTo>
                  <a:lnTo>
                    <a:pt x="1309126" y="1758109"/>
                  </a:lnTo>
                  <a:lnTo>
                    <a:pt x="1313007" y="1706897"/>
                  </a:lnTo>
                  <a:lnTo>
                    <a:pt x="1314316" y="1654965"/>
                  </a:lnTo>
                  <a:lnTo>
                    <a:pt x="1314316" y="839052"/>
                  </a:lnTo>
                  <a:lnTo>
                    <a:pt x="1315707" y="794135"/>
                  </a:lnTo>
                  <a:lnTo>
                    <a:pt x="1319833" y="749867"/>
                  </a:lnTo>
                  <a:lnTo>
                    <a:pt x="1326619" y="706315"/>
                  </a:lnTo>
                  <a:lnTo>
                    <a:pt x="1335988" y="663547"/>
                  </a:lnTo>
                  <a:lnTo>
                    <a:pt x="1347868" y="621630"/>
                  </a:lnTo>
                  <a:lnTo>
                    <a:pt x="1362183" y="580631"/>
                  </a:lnTo>
                  <a:lnTo>
                    <a:pt x="1378859" y="540619"/>
                  </a:lnTo>
                  <a:lnTo>
                    <a:pt x="1397821" y="501660"/>
                  </a:lnTo>
                  <a:lnTo>
                    <a:pt x="1418994" y="463822"/>
                  </a:lnTo>
                  <a:lnTo>
                    <a:pt x="1442304" y="427172"/>
                  </a:lnTo>
                  <a:lnTo>
                    <a:pt x="1467675" y="391779"/>
                  </a:lnTo>
                  <a:lnTo>
                    <a:pt x="1495034" y="357708"/>
                  </a:lnTo>
                  <a:lnTo>
                    <a:pt x="1524305" y="325028"/>
                  </a:lnTo>
                  <a:lnTo>
                    <a:pt x="1555414" y="293806"/>
                  </a:lnTo>
                  <a:lnTo>
                    <a:pt x="1588287" y="264110"/>
                  </a:lnTo>
                  <a:lnTo>
                    <a:pt x="1622848" y="236007"/>
                  </a:lnTo>
                  <a:lnTo>
                    <a:pt x="1659023" y="209564"/>
                  </a:lnTo>
                  <a:lnTo>
                    <a:pt x="1696736" y="184849"/>
                  </a:lnTo>
                  <a:lnTo>
                    <a:pt x="1735915" y="161929"/>
                  </a:lnTo>
                  <a:lnTo>
                    <a:pt x="1776483" y="140873"/>
                  </a:lnTo>
                  <a:lnTo>
                    <a:pt x="1818367" y="121746"/>
                  </a:lnTo>
                  <a:lnTo>
                    <a:pt x="1861490" y="104617"/>
                  </a:lnTo>
                  <a:lnTo>
                    <a:pt x="1905780" y="89553"/>
                  </a:lnTo>
                  <a:lnTo>
                    <a:pt x="1951161" y="76622"/>
                  </a:lnTo>
                  <a:lnTo>
                    <a:pt x="1997558" y="65890"/>
                  </a:lnTo>
                  <a:lnTo>
                    <a:pt x="2044897" y="57426"/>
                  </a:lnTo>
                  <a:lnTo>
                    <a:pt x="2093103" y="51297"/>
                  </a:lnTo>
                  <a:lnTo>
                    <a:pt x="2142101" y="47570"/>
                  </a:lnTo>
                  <a:lnTo>
                    <a:pt x="2191818" y="46312"/>
                  </a:lnTo>
                  <a:lnTo>
                    <a:pt x="2191818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119;p1"/>
            <p:cNvSpPr/>
            <p:nvPr/>
          </p:nvSpPr>
          <p:spPr>
            <a:xfrm>
              <a:off x="4746044" y="7089092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120;p1"/>
            <p:cNvSpPr/>
            <p:nvPr/>
          </p:nvSpPr>
          <p:spPr>
            <a:xfrm>
              <a:off x="2262904" y="7147008"/>
              <a:ext cx="2506345" cy="4854575"/>
            </a:xfrm>
            <a:custGeom>
              <a:avLst/>
              <a:gdLst/>
              <a:ahLst/>
              <a:cxnLst/>
              <a:rect l="l" t="t" r="r" b="b"/>
              <a:pathLst>
                <a:path w="2506345" h="4854575" extrusionOk="0">
                  <a:moveTo>
                    <a:pt x="1631992" y="4830376"/>
                  </a:moveTo>
                  <a:lnTo>
                    <a:pt x="1662127" y="4854155"/>
                  </a:lnTo>
                  <a:lnTo>
                    <a:pt x="1672807" y="4854093"/>
                  </a:lnTo>
                  <a:lnTo>
                    <a:pt x="1678095" y="4853967"/>
                  </a:lnTo>
                  <a:lnTo>
                    <a:pt x="1677606" y="4830931"/>
                  </a:lnTo>
                  <a:lnTo>
                    <a:pt x="1655567" y="4830927"/>
                  </a:lnTo>
                  <a:lnTo>
                    <a:pt x="1639841" y="4830632"/>
                  </a:lnTo>
                  <a:lnTo>
                    <a:pt x="1631992" y="4830376"/>
                  </a:lnTo>
                  <a:close/>
                </a:path>
                <a:path w="2506345" h="4854575" extrusionOk="0">
                  <a:moveTo>
                    <a:pt x="1677603" y="4830805"/>
                  </a:moveTo>
                  <a:lnTo>
                    <a:pt x="1672881" y="4830931"/>
                  </a:lnTo>
                  <a:lnTo>
                    <a:pt x="1677606" y="4830931"/>
                  </a:lnTo>
                  <a:close/>
                </a:path>
                <a:path w="2506345" h="4854575" extrusionOk="0">
                  <a:moveTo>
                    <a:pt x="1768469" y="4823329"/>
                  </a:moveTo>
                  <a:lnTo>
                    <a:pt x="1757209" y="4824882"/>
                  </a:lnTo>
                  <a:lnTo>
                    <a:pt x="1745903" y="4826253"/>
                  </a:lnTo>
                  <a:lnTo>
                    <a:pt x="1734548" y="4827455"/>
                  </a:lnTo>
                  <a:lnTo>
                    <a:pt x="1723141" y="4828502"/>
                  </a:lnTo>
                  <a:lnTo>
                    <a:pt x="1725046" y="4851569"/>
                  </a:lnTo>
                  <a:lnTo>
                    <a:pt x="1736798" y="4850512"/>
                  </a:lnTo>
                  <a:lnTo>
                    <a:pt x="1748504" y="4849275"/>
                  </a:lnTo>
                  <a:lnTo>
                    <a:pt x="1760159" y="4847863"/>
                  </a:lnTo>
                  <a:lnTo>
                    <a:pt x="1771757" y="4846281"/>
                  </a:lnTo>
                  <a:lnTo>
                    <a:pt x="1768469" y="4823329"/>
                  </a:lnTo>
                  <a:close/>
                </a:path>
                <a:path w="2506345" h="4854575" extrusionOk="0">
                  <a:moveTo>
                    <a:pt x="1541293" y="4821120"/>
                  </a:moveTo>
                  <a:lnTo>
                    <a:pt x="1572432" y="4848905"/>
                  </a:lnTo>
                  <a:lnTo>
                    <a:pt x="1584161" y="4850187"/>
                  </a:lnTo>
                  <a:lnTo>
                    <a:pt x="1586475" y="4827151"/>
                  </a:lnTo>
                  <a:lnTo>
                    <a:pt x="1575136" y="4825892"/>
                  </a:lnTo>
                  <a:lnTo>
                    <a:pt x="1563829" y="4824469"/>
                  </a:lnTo>
                  <a:lnTo>
                    <a:pt x="1552549" y="4822879"/>
                  </a:lnTo>
                  <a:lnTo>
                    <a:pt x="1541293" y="4821120"/>
                  </a:lnTo>
                  <a:close/>
                </a:path>
                <a:path w="2506345" h="4854575" extrusionOk="0">
                  <a:moveTo>
                    <a:pt x="1857723" y="4804837"/>
                  </a:moveTo>
                  <a:lnTo>
                    <a:pt x="1846722" y="4807756"/>
                  </a:lnTo>
                  <a:lnTo>
                    <a:pt x="1835662" y="4810506"/>
                  </a:lnTo>
                  <a:lnTo>
                    <a:pt x="1824550" y="4813082"/>
                  </a:lnTo>
                  <a:lnTo>
                    <a:pt x="1813389" y="4815476"/>
                  </a:lnTo>
                  <a:lnTo>
                    <a:pt x="1818101" y="4838177"/>
                  </a:lnTo>
                  <a:lnTo>
                    <a:pt x="1829610" y="4835677"/>
                  </a:lnTo>
                  <a:lnTo>
                    <a:pt x="1841065" y="4833016"/>
                  </a:lnTo>
                  <a:lnTo>
                    <a:pt x="1852467" y="4830192"/>
                  </a:lnTo>
                  <a:lnTo>
                    <a:pt x="1863817" y="4827203"/>
                  </a:lnTo>
                  <a:lnTo>
                    <a:pt x="1857723" y="4804837"/>
                  </a:lnTo>
                  <a:close/>
                </a:path>
                <a:path w="2506345" h="4854575" extrusionOk="0">
                  <a:moveTo>
                    <a:pt x="1452374" y="4800817"/>
                  </a:moveTo>
                  <a:lnTo>
                    <a:pt x="1479933" y="4832205"/>
                  </a:lnTo>
                  <a:lnTo>
                    <a:pt x="1491399" y="4834920"/>
                  </a:lnTo>
                  <a:lnTo>
                    <a:pt x="1496561" y="4812377"/>
                  </a:lnTo>
                  <a:lnTo>
                    <a:pt x="1485428" y="4809722"/>
                  </a:lnTo>
                  <a:lnTo>
                    <a:pt x="1474350" y="4806919"/>
                  </a:lnTo>
                  <a:lnTo>
                    <a:pt x="1463331" y="4803954"/>
                  </a:lnTo>
                  <a:lnTo>
                    <a:pt x="1452374" y="4800817"/>
                  </a:lnTo>
                  <a:close/>
                </a:path>
                <a:path w="2506345" h="4854575" extrusionOk="0">
                  <a:moveTo>
                    <a:pt x="1943972" y="4775624"/>
                  </a:moveTo>
                  <a:lnTo>
                    <a:pt x="1933392" y="4779836"/>
                  </a:lnTo>
                  <a:lnTo>
                    <a:pt x="1922750" y="4783897"/>
                  </a:lnTo>
                  <a:lnTo>
                    <a:pt x="1912049" y="4787803"/>
                  </a:lnTo>
                  <a:lnTo>
                    <a:pt x="1901292" y="4791550"/>
                  </a:lnTo>
                  <a:lnTo>
                    <a:pt x="1908674" y="4813507"/>
                  </a:lnTo>
                  <a:lnTo>
                    <a:pt x="1919786" y="4809631"/>
                  </a:lnTo>
                  <a:lnTo>
                    <a:pt x="1930832" y="4805602"/>
                  </a:lnTo>
                  <a:lnTo>
                    <a:pt x="1941809" y="4801415"/>
                  </a:lnTo>
                  <a:lnTo>
                    <a:pt x="1952715" y="4797068"/>
                  </a:lnTo>
                  <a:lnTo>
                    <a:pt x="1943972" y="4775624"/>
                  </a:lnTo>
                  <a:close/>
                </a:path>
                <a:path w="2506345" h="4854575" extrusionOk="0">
                  <a:moveTo>
                    <a:pt x="1366513" y="4769854"/>
                  </a:moveTo>
                  <a:lnTo>
                    <a:pt x="1390044" y="4804348"/>
                  </a:lnTo>
                  <a:lnTo>
                    <a:pt x="1401067" y="4808439"/>
                  </a:lnTo>
                  <a:lnTo>
                    <a:pt x="1408941" y="4786660"/>
                  </a:lnTo>
                  <a:lnTo>
                    <a:pt x="1398252" y="4782694"/>
                  </a:lnTo>
                  <a:lnTo>
                    <a:pt x="1387613" y="4778571"/>
                  </a:lnTo>
                  <a:lnTo>
                    <a:pt x="1377031" y="4774291"/>
                  </a:lnTo>
                  <a:lnTo>
                    <a:pt x="1366513" y="4769854"/>
                  </a:lnTo>
                  <a:close/>
                </a:path>
                <a:path w="2506345" h="4854575" extrusionOk="0">
                  <a:moveTo>
                    <a:pt x="2026252" y="4736285"/>
                  </a:moveTo>
                  <a:lnTo>
                    <a:pt x="2016213" y="4741738"/>
                  </a:lnTo>
                  <a:lnTo>
                    <a:pt x="2006106" y="4747038"/>
                  </a:lnTo>
                  <a:lnTo>
                    <a:pt x="1995928" y="4752181"/>
                  </a:lnTo>
                  <a:lnTo>
                    <a:pt x="1985677" y="4757164"/>
                  </a:lnTo>
                  <a:lnTo>
                    <a:pt x="1995677" y="4778063"/>
                  </a:lnTo>
                  <a:lnTo>
                    <a:pt x="2006229" y="4772929"/>
                  </a:lnTo>
                  <a:lnTo>
                    <a:pt x="2016713" y="4767628"/>
                  </a:lnTo>
                  <a:lnTo>
                    <a:pt x="2027126" y="4762168"/>
                  </a:lnTo>
                  <a:lnTo>
                    <a:pt x="2037466" y="4756556"/>
                  </a:lnTo>
                  <a:lnTo>
                    <a:pt x="2026252" y="4736285"/>
                  </a:lnTo>
                  <a:close/>
                </a:path>
                <a:path w="2506345" h="4854575" extrusionOk="0">
                  <a:moveTo>
                    <a:pt x="1284987" y="4728934"/>
                  </a:moveTo>
                  <a:lnTo>
                    <a:pt x="1273374" y="4748965"/>
                  </a:lnTo>
                  <a:lnTo>
                    <a:pt x="1283613" y="4754783"/>
                  </a:lnTo>
                  <a:lnTo>
                    <a:pt x="1293917" y="4760442"/>
                  </a:lnTo>
                  <a:lnTo>
                    <a:pt x="1304298" y="4765947"/>
                  </a:lnTo>
                  <a:lnTo>
                    <a:pt x="1314766" y="4771299"/>
                  </a:lnTo>
                  <a:lnTo>
                    <a:pt x="1325111" y="4750588"/>
                  </a:lnTo>
                  <a:lnTo>
                    <a:pt x="1314970" y="4745401"/>
                  </a:lnTo>
                  <a:lnTo>
                    <a:pt x="1304903" y="4740063"/>
                  </a:lnTo>
                  <a:lnTo>
                    <a:pt x="1294909" y="4734575"/>
                  </a:lnTo>
                  <a:lnTo>
                    <a:pt x="1284987" y="4728934"/>
                  </a:lnTo>
                  <a:close/>
                </a:path>
                <a:path w="2506345" h="4854575" extrusionOk="0">
                  <a:moveTo>
                    <a:pt x="2103569" y="4687585"/>
                  </a:moveTo>
                  <a:lnTo>
                    <a:pt x="2094185" y="4694165"/>
                  </a:lnTo>
                  <a:lnTo>
                    <a:pt x="2084723" y="4700596"/>
                  </a:lnTo>
                  <a:lnTo>
                    <a:pt x="2075184" y="4706887"/>
                  </a:lnTo>
                  <a:lnTo>
                    <a:pt x="2065570" y="4713050"/>
                  </a:lnTo>
                  <a:lnTo>
                    <a:pt x="2077936" y="4732651"/>
                  </a:lnTo>
                  <a:lnTo>
                    <a:pt x="2087823" y="4726311"/>
                  </a:lnTo>
                  <a:lnTo>
                    <a:pt x="2097629" y="4719834"/>
                  </a:lnTo>
                  <a:lnTo>
                    <a:pt x="2107353" y="4713213"/>
                  </a:lnTo>
                  <a:lnTo>
                    <a:pt x="2116993" y="4706443"/>
                  </a:lnTo>
                  <a:lnTo>
                    <a:pt x="2103569" y="4687585"/>
                  </a:lnTo>
                  <a:close/>
                </a:path>
                <a:path w="2506345" h="4854575" extrusionOk="0">
                  <a:moveTo>
                    <a:pt x="1208727" y="4678894"/>
                  </a:moveTo>
                  <a:lnTo>
                    <a:pt x="1194958" y="4697511"/>
                  </a:lnTo>
                  <a:lnTo>
                    <a:pt x="1204454" y="4704437"/>
                  </a:lnTo>
                  <a:lnTo>
                    <a:pt x="1214027" y="4711221"/>
                  </a:lnTo>
                  <a:lnTo>
                    <a:pt x="1223687" y="4717862"/>
                  </a:lnTo>
                  <a:lnTo>
                    <a:pt x="1233449" y="4724358"/>
                  </a:lnTo>
                  <a:lnTo>
                    <a:pt x="1246140" y="4704998"/>
                  </a:lnTo>
                  <a:lnTo>
                    <a:pt x="1236667" y="4698673"/>
                  </a:lnTo>
                  <a:lnTo>
                    <a:pt x="1227280" y="4692224"/>
                  </a:lnTo>
                  <a:lnTo>
                    <a:pt x="1217970" y="4685636"/>
                  </a:lnTo>
                  <a:lnTo>
                    <a:pt x="1208727" y="4678894"/>
                  </a:lnTo>
                  <a:close/>
                </a:path>
                <a:path w="2506345" h="4854575" extrusionOk="0">
                  <a:moveTo>
                    <a:pt x="2175043" y="4630497"/>
                  </a:moveTo>
                  <a:lnTo>
                    <a:pt x="2166436" y="4638071"/>
                  </a:lnTo>
                  <a:lnTo>
                    <a:pt x="2157737" y="4645522"/>
                  </a:lnTo>
                  <a:lnTo>
                    <a:pt x="2148948" y="4652845"/>
                  </a:lnTo>
                  <a:lnTo>
                    <a:pt x="2140070" y="4660036"/>
                  </a:lnTo>
                  <a:lnTo>
                    <a:pt x="2154552" y="4678119"/>
                  </a:lnTo>
                  <a:lnTo>
                    <a:pt x="2163662" y="4670729"/>
                  </a:lnTo>
                  <a:lnTo>
                    <a:pt x="2172687" y="4663210"/>
                  </a:lnTo>
                  <a:lnTo>
                    <a:pt x="2181619" y="4655559"/>
                  </a:lnTo>
                  <a:lnTo>
                    <a:pt x="2190446" y="4647774"/>
                  </a:lnTo>
                  <a:lnTo>
                    <a:pt x="2175043" y="4630497"/>
                  </a:lnTo>
                  <a:close/>
                </a:path>
                <a:path w="2506345" h="4854575" extrusionOk="0">
                  <a:moveTo>
                    <a:pt x="1138488" y="4620738"/>
                  </a:moveTo>
                  <a:lnTo>
                    <a:pt x="1122740" y="4637722"/>
                  </a:lnTo>
                  <a:lnTo>
                    <a:pt x="1131431" y="4645635"/>
                  </a:lnTo>
                  <a:lnTo>
                    <a:pt x="1140210" y="4653417"/>
                  </a:lnTo>
                  <a:lnTo>
                    <a:pt x="1149072" y="4661071"/>
                  </a:lnTo>
                  <a:lnTo>
                    <a:pt x="1158017" y="4668601"/>
                  </a:lnTo>
                  <a:lnTo>
                    <a:pt x="1172833" y="4650779"/>
                  </a:lnTo>
                  <a:lnTo>
                    <a:pt x="1164087" y="4643442"/>
                  </a:lnTo>
                  <a:lnTo>
                    <a:pt x="1155453" y="4635991"/>
                  </a:lnTo>
                  <a:lnTo>
                    <a:pt x="1146922" y="4628423"/>
                  </a:lnTo>
                  <a:lnTo>
                    <a:pt x="1138488" y="4620738"/>
                  </a:lnTo>
                  <a:close/>
                </a:path>
                <a:path w="2506345" h="4854575" extrusionOk="0">
                  <a:moveTo>
                    <a:pt x="2239973" y="4565955"/>
                  </a:moveTo>
                  <a:lnTo>
                    <a:pt x="2232232" y="4574388"/>
                  </a:lnTo>
                  <a:lnTo>
                    <a:pt x="2224385" y="4582724"/>
                  </a:lnTo>
                  <a:lnTo>
                    <a:pt x="2216431" y="4590957"/>
                  </a:lnTo>
                  <a:lnTo>
                    <a:pt x="2208372" y="4599085"/>
                  </a:lnTo>
                  <a:lnTo>
                    <a:pt x="2224717" y="4615513"/>
                  </a:lnTo>
                  <a:lnTo>
                    <a:pt x="2232961" y="4607176"/>
                  </a:lnTo>
                  <a:lnTo>
                    <a:pt x="2241120" y="4598722"/>
                  </a:lnTo>
                  <a:lnTo>
                    <a:pt x="2249192" y="4590156"/>
                  </a:lnTo>
                  <a:lnTo>
                    <a:pt x="2257177" y="4581483"/>
                  </a:lnTo>
                  <a:lnTo>
                    <a:pt x="2239973" y="4565955"/>
                  </a:lnTo>
                  <a:close/>
                </a:path>
                <a:path w="2506345" h="4854575" extrusionOk="0">
                  <a:moveTo>
                    <a:pt x="1074794" y="4555295"/>
                  </a:moveTo>
                  <a:lnTo>
                    <a:pt x="1057370" y="4570572"/>
                  </a:lnTo>
                  <a:lnTo>
                    <a:pt x="1065188" y="4579358"/>
                  </a:lnTo>
                  <a:lnTo>
                    <a:pt x="1073099" y="4588030"/>
                  </a:lnTo>
                  <a:lnTo>
                    <a:pt x="1081114" y="4596588"/>
                  </a:lnTo>
                  <a:lnTo>
                    <a:pt x="1089244" y="4605032"/>
                  </a:lnTo>
                  <a:lnTo>
                    <a:pt x="1105809" y="4588875"/>
                  </a:lnTo>
                  <a:lnTo>
                    <a:pt x="1097904" y="4580645"/>
                  </a:lnTo>
                  <a:lnTo>
                    <a:pt x="1090101" y="4572305"/>
                  </a:lnTo>
                  <a:lnTo>
                    <a:pt x="1082398" y="4563855"/>
                  </a:lnTo>
                  <a:lnTo>
                    <a:pt x="1074794" y="4555295"/>
                  </a:lnTo>
                  <a:close/>
                </a:path>
                <a:path w="2506345" h="4854575" extrusionOk="0">
                  <a:moveTo>
                    <a:pt x="2297804" y="4495088"/>
                  </a:moveTo>
                  <a:lnTo>
                    <a:pt x="2290967" y="4504277"/>
                  </a:lnTo>
                  <a:lnTo>
                    <a:pt x="2284023" y="4513374"/>
                  </a:lnTo>
                  <a:lnTo>
                    <a:pt x="2276967" y="4522374"/>
                  </a:lnTo>
                  <a:lnTo>
                    <a:pt x="2269794" y="4531275"/>
                  </a:lnTo>
                  <a:lnTo>
                    <a:pt x="2287752" y="4545903"/>
                  </a:lnTo>
                  <a:lnTo>
                    <a:pt x="2295095" y="4536790"/>
                  </a:lnTo>
                  <a:lnTo>
                    <a:pt x="2302329" y="4527565"/>
                  </a:lnTo>
                  <a:lnTo>
                    <a:pt x="2309455" y="4518231"/>
                  </a:lnTo>
                  <a:lnTo>
                    <a:pt x="2316473" y="4508794"/>
                  </a:lnTo>
                  <a:lnTo>
                    <a:pt x="2297804" y="4495088"/>
                  </a:lnTo>
                  <a:close/>
                </a:path>
                <a:path w="2506345" h="4854575" extrusionOk="0">
                  <a:moveTo>
                    <a:pt x="1018115" y="4483538"/>
                  </a:moveTo>
                  <a:lnTo>
                    <a:pt x="999247" y="4496931"/>
                  </a:lnTo>
                  <a:lnTo>
                    <a:pt x="1006104" y="4506467"/>
                  </a:lnTo>
                  <a:lnTo>
                    <a:pt x="1013083" y="4515912"/>
                  </a:lnTo>
                  <a:lnTo>
                    <a:pt x="1020169" y="4525258"/>
                  </a:lnTo>
                  <a:lnTo>
                    <a:pt x="1027350" y="4534500"/>
                  </a:lnTo>
                  <a:lnTo>
                    <a:pt x="1045528" y="4520124"/>
                  </a:lnTo>
                  <a:lnTo>
                    <a:pt x="1038521" y="4511134"/>
                  </a:lnTo>
                  <a:lnTo>
                    <a:pt x="1031617" y="4502039"/>
                  </a:lnTo>
                  <a:lnTo>
                    <a:pt x="1024816" y="4492840"/>
                  </a:lnTo>
                  <a:lnTo>
                    <a:pt x="1018115" y="4483538"/>
                  </a:lnTo>
                  <a:close/>
                </a:path>
                <a:path w="2506345" h="4854575" extrusionOk="0">
                  <a:moveTo>
                    <a:pt x="2348179" y="4418745"/>
                  </a:moveTo>
                  <a:lnTo>
                    <a:pt x="2342303" y="4428571"/>
                  </a:lnTo>
                  <a:lnTo>
                    <a:pt x="2336313" y="4438316"/>
                  </a:lnTo>
                  <a:lnTo>
                    <a:pt x="2330209" y="4447969"/>
                  </a:lnTo>
                  <a:lnTo>
                    <a:pt x="2323992" y="4457518"/>
                  </a:lnTo>
                  <a:lnTo>
                    <a:pt x="2343300" y="4470293"/>
                  </a:lnTo>
                  <a:lnTo>
                    <a:pt x="2349688" y="4460496"/>
                  </a:lnTo>
                  <a:lnTo>
                    <a:pt x="2355957" y="4450598"/>
                  </a:lnTo>
                  <a:lnTo>
                    <a:pt x="2362103" y="4440600"/>
                  </a:lnTo>
                  <a:lnTo>
                    <a:pt x="2368126" y="4430503"/>
                  </a:lnTo>
                  <a:lnTo>
                    <a:pt x="2348179" y="4418745"/>
                  </a:lnTo>
                  <a:close/>
                </a:path>
                <a:path w="2506345" h="4854575" extrusionOk="0">
                  <a:moveTo>
                    <a:pt x="968891" y="4406431"/>
                  </a:moveTo>
                  <a:lnTo>
                    <a:pt x="948808" y="4417886"/>
                  </a:lnTo>
                  <a:lnTo>
                    <a:pt x="954685" y="4428052"/>
                  </a:lnTo>
                  <a:lnTo>
                    <a:pt x="960685" y="4438133"/>
                  </a:lnTo>
                  <a:lnTo>
                    <a:pt x="966799" y="4448129"/>
                  </a:lnTo>
                  <a:lnTo>
                    <a:pt x="973017" y="4458042"/>
                  </a:lnTo>
                  <a:lnTo>
                    <a:pt x="992556" y="4445592"/>
                  </a:lnTo>
                  <a:lnTo>
                    <a:pt x="986486" y="4435923"/>
                  </a:lnTo>
                  <a:lnTo>
                    <a:pt x="980523" y="4426172"/>
                  </a:lnTo>
                  <a:lnTo>
                    <a:pt x="974661" y="4416341"/>
                  </a:lnTo>
                  <a:lnTo>
                    <a:pt x="968891" y="4406431"/>
                  </a:lnTo>
                  <a:close/>
                </a:path>
                <a:path w="2506345" h="4854575" extrusionOk="0">
                  <a:moveTo>
                    <a:pt x="2390890" y="4337794"/>
                  </a:moveTo>
                  <a:lnTo>
                    <a:pt x="2385972" y="4348150"/>
                  </a:lnTo>
                  <a:lnTo>
                    <a:pt x="2380936" y="4358439"/>
                  </a:lnTo>
                  <a:lnTo>
                    <a:pt x="2375752" y="4368743"/>
                  </a:lnTo>
                  <a:lnTo>
                    <a:pt x="2370566" y="4378809"/>
                  </a:lnTo>
                  <a:lnTo>
                    <a:pt x="2391016" y="4389594"/>
                  </a:lnTo>
                  <a:lnTo>
                    <a:pt x="2396392" y="4379206"/>
                  </a:lnTo>
                  <a:lnTo>
                    <a:pt x="2401708" y="4368659"/>
                  </a:lnTo>
                  <a:lnTo>
                    <a:pt x="2406831" y="4358206"/>
                  </a:lnTo>
                  <a:lnTo>
                    <a:pt x="2411884" y="4347595"/>
                  </a:lnTo>
                  <a:lnTo>
                    <a:pt x="2390890" y="4337794"/>
                  </a:lnTo>
                  <a:close/>
                </a:path>
                <a:path w="2506345" h="4854575" extrusionOk="0">
                  <a:moveTo>
                    <a:pt x="927437" y="4324768"/>
                  </a:moveTo>
                  <a:lnTo>
                    <a:pt x="906286" y="4334297"/>
                  </a:lnTo>
                  <a:lnTo>
                    <a:pt x="911201" y="4344978"/>
                  </a:lnTo>
                  <a:lnTo>
                    <a:pt x="916210" y="4355593"/>
                  </a:lnTo>
                  <a:lnTo>
                    <a:pt x="921317" y="4366136"/>
                  </a:lnTo>
                  <a:lnTo>
                    <a:pt x="926526" y="4376599"/>
                  </a:lnTo>
                  <a:lnTo>
                    <a:pt x="947185" y="4366086"/>
                  </a:lnTo>
                  <a:lnTo>
                    <a:pt x="942082" y="4355885"/>
                  </a:lnTo>
                  <a:lnTo>
                    <a:pt x="937084" y="4345600"/>
                  </a:lnTo>
                  <a:lnTo>
                    <a:pt x="932199" y="4335229"/>
                  </a:lnTo>
                  <a:lnTo>
                    <a:pt x="927437" y="4324768"/>
                  </a:lnTo>
                  <a:close/>
                </a:path>
                <a:path w="2506345" h="4854575" extrusionOk="0">
                  <a:moveTo>
                    <a:pt x="2425643" y="4253064"/>
                  </a:moveTo>
                  <a:lnTo>
                    <a:pt x="2421723" y="4263859"/>
                  </a:lnTo>
                  <a:lnTo>
                    <a:pt x="2417689" y="4274588"/>
                  </a:lnTo>
                  <a:lnTo>
                    <a:pt x="2413535" y="4285256"/>
                  </a:lnTo>
                  <a:lnTo>
                    <a:pt x="2409256" y="4295869"/>
                  </a:lnTo>
                  <a:lnTo>
                    <a:pt x="2430690" y="4304612"/>
                  </a:lnTo>
                  <a:lnTo>
                    <a:pt x="2435071" y="4293777"/>
                  </a:lnTo>
                  <a:lnTo>
                    <a:pt x="2439317" y="4282877"/>
                  </a:lnTo>
                  <a:lnTo>
                    <a:pt x="2443434" y="4271902"/>
                  </a:lnTo>
                  <a:lnTo>
                    <a:pt x="2447433" y="4260844"/>
                  </a:lnTo>
                  <a:lnTo>
                    <a:pt x="2425643" y="4253064"/>
                  </a:lnTo>
                  <a:close/>
                </a:path>
                <a:path w="2506345" h="4854575" extrusionOk="0">
                  <a:moveTo>
                    <a:pt x="893951" y="4239609"/>
                  </a:moveTo>
                  <a:lnTo>
                    <a:pt x="872004" y="4247053"/>
                  </a:lnTo>
                  <a:lnTo>
                    <a:pt x="875868" y="4258165"/>
                  </a:lnTo>
                  <a:lnTo>
                    <a:pt x="879842" y="4269201"/>
                  </a:lnTo>
                  <a:lnTo>
                    <a:pt x="883925" y="4280168"/>
                  </a:lnTo>
                  <a:lnTo>
                    <a:pt x="888119" y="4291073"/>
                  </a:lnTo>
                  <a:lnTo>
                    <a:pt x="909710" y="4282592"/>
                  </a:lnTo>
                  <a:lnTo>
                    <a:pt x="905591" y="4271960"/>
                  </a:lnTo>
                  <a:lnTo>
                    <a:pt x="901591" y="4261253"/>
                  </a:lnTo>
                  <a:lnTo>
                    <a:pt x="897711" y="4250470"/>
                  </a:lnTo>
                  <a:lnTo>
                    <a:pt x="893951" y="4239609"/>
                  </a:lnTo>
                  <a:close/>
                </a:path>
                <a:path w="2506345" h="4854575" extrusionOk="0">
                  <a:moveTo>
                    <a:pt x="2452228" y="4165475"/>
                  </a:moveTo>
                  <a:lnTo>
                    <a:pt x="2449350" y="4176598"/>
                  </a:lnTo>
                  <a:lnTo>
                    <a:pt x="2446344" y="4187663"/>
                  </a:lnTo>
                  <a:lnTo>
                    <a:pt x="2443220" y="4198664"/>
                  </a:lnTo>
                  <a:lnTo>
                    <a:pt x="2439988" y="4209599"/>
                  </a:lnTo>
                  <a:lnTo>
                    <a:pt x="2462144" y="4216321"/>
                  </a:lnTo>
                  <a:lnTo>
                    <a:pt x="2465445" y="4205137"/>
                  </a:lnTo>
                  <a:lnTo>
                    <a:pt x="2468648" y="4193886"/>
                  </a:lnTo>
                  <a:lnTo>
                    <a:pt x="2471743" y="4182571"/>
                  </a:lnTo>
                  <a:lnTo>
                    <a:pt x="2474720" y="4171192"/>
                  </a:lnTo>
                  <a:lnTo>
                    <a:pt x="2452228" y="4165475"/>
                  </a:lnTo>
                  <a:close/>
                </a:path>
                <a:path w="2506345" h="4854575" extrusionOk="0">
                  <a:moveTo>
                    <a:pt x="868622" y="4151622"/>
                  </a:moveTo>
                  <a:lnTo>
                    <a:pt x="846078" y="4156972"/>
                  </a:lnTo>
                  <a:lnTo>
                    <a:pt x="848865" y="4168393"/>
                  </a:lnTo>
                  <a:lnTo>
                    <a:pt x="851786" y="4179757"/>
                  </a:lnTo>
                  <a:lnTo>
                    <a:pt x="854835" y="4191066"/>
                  </a:lnTo>
                  <a:lnTo>
                    <a:pt x="858005" y="4202322"/>
                  </a:lnTo>
                  <a:lnTo>
                    <a:pt x="880245" y="4195893"/>
                  </a:lnTo>
                  <a:lnTo>
                    <a:pt x="877149" y="4184914"/>
                  </a:lnTo>
                  <a:lnTo>
                    <a:pt x="874178" y="4173875"/>
                  </a:lnTo>
                  <a:lnTo>
                    <a:pt x="871335" y="4162777"/>
                  </a:lnTo>
                  <a:lnTo>
                    <a:pt x="868622" y="4151622"/>
                  </a:lnTo>
                  <a:close/>
                </a:path>
                <a:path w="2506345" h="4854575" extrusionOk="0">
                  <a:moveTo>
                    <a:pt x="2470636" y="4075781"/>
                  </a:moveTo>
                  <a:lnTo>
                    <a:pt x="2468786" y="4087119"/>
                  </a:lnTo>
                  <a:lnTo>
                    <a:pt x="2466814" y="4098417"/>
                  </a:lnTo>
                  <a:lnTo>
                    <a:pt x="2464717" y="4109663"/>
                  </a:lnTo>
                  <a:lnTo>
                    <a:pt x="2462490" y="4120848"/>
                  </a:lnTo>
                  <a:lnTo>
                    <a:pt x="2485159" y="4125518"/>
                  </a:lnTo>
                  <a:lnTo>
                    <a:pt x="2487447" y="4114048"/>
                  </a:lnTo>
                  <a:lnTo>
                    <a:pt x="2489611" y="4102543"/>
                  </a:lnTo>
                  <a:lnTo>
                    <a:pt x="2491643" y="4090990"/>
                  </a:lnTo>
                  <a:lnTo>
                    <a:pt x="2493536" y="4079373"/>
                  </a:lnTo>
                  <a:lnTo>
                    <a:pt x="2470636" y="4075781"/>
                  </a:lnTo>
                  <a:close/>
                </a:path>
                <a:path w="2506345" h="4854575" extrusionOk="0">
                  <a:moveTo>
                    <a:pt x="851523" y="4061677"/>
                  </a:moveTo>
                  <a:lnTo>
                    <a:pt x="828592" y="4064965"/>
                  </a:lnTo>
                  <a:lnTo>
                    <a:pt x="830314" y="4076583"/>
                  </a:lnTo>
                  <a:lnTo>
                    <a:pt x="832177" y="4088159"/>
                  </a:lnTo>
                  <a:lnTo>
                    <a:pt x="834171" y="4099690"/>
                  </a:lnTo>
                  <a:lnTo>
                    <a:pt x="836288" y="4111173"/>
                  </a:lnTo>
                  <a:lnTo>
                    <a:pt x="859031" y="4106827"/>
                  </a:lnTo>
                  <a:lnTo>
                    <a:pt x="856963" y="4095616"/>
                  </a:lnTo>
                  <a:lnTo>
                    <a:pt x="855026" y="4084358"/>
                  </a:lnTo>
                  <a:lnTo>
                    <a:pt x="853215" y="4073047"/>
                  </a:lnTo>
                  <a:lnTo>
                    <a:pt x="851523" y="4061677"/>
                  </a:lnTo>
                  <a:close/>
                </a:path>
                <a:path w="2506345" h="4854575" extrusionOk="0">
                  <a:moveTo>
                    <a:pt x="2480814" y="3984747"/>
                  </a:moveTo>
                  <a:lnTo>
                    <a:pt x="2480000" y="3996226"/>
                  </a:lnTo>
                  <a:lnTo>
                    <a:pt x="2479051" y="4007656"/>
                  </a:lnTo>
                  <a:lnTo>
                    <a:pt x="2477971" y="4019045"/>
                  </a:lnTo>
                  <a:lnTo>
                    <a:pt x="2476762" y="4030400"/>
                  </a:lnTo>
                  <a:lnTo>
                    <a:pt x="2499777" y="4032976"/>
                  </a:lnTo>
                  <a:lnTo>
                    <a:pt x="2501005" y="4021350"/>
                  </a:lnTo>
                  <a:lnTo>
                    <a:pt x="2502110" y="4009698"/>
                  </a:lnTo>
                  <a:lnTo>
                    <a:pt x="2503088" y="3998012"/>
                  </a:lnTo>
                  <a:lnTo>
                    <a:pt x="2503934" y="3986287"/>
                  </a:lnTo>
                  <a:lnTo>
                    <a:pt x="2480814" y="3984747"/>
                  </a:lnTo>
                  <a:close/>
                </a:path>
                <a:path w="2506345" h="4854575" extrusionOk="0">
                  <a:moveTo>
                    <a:pt x="842613" y="3970496"/>
                  </a:moveTo>
                  <a:lnTo>
                    <a:pt x="819441" y="3971721"/>
                  </a:lnTo>
                  <a:lnTo>
                    <a:pt x="820125" y="3983458"/>
                  </a:lnTo>
                  <a:lnTo>
                    <a:pt x="820939" y="3995157"/>
                  </a:lnTo>
                  <a:lnTo>
                    <a:pt x="821889" y="4006818"/>
                  </a:lnTo>
                  <a:lnTo>
                    <a:pt x="822980" y="4018443"/>
                  </a:lnTo>
                  <a:lnTo>
                    <a:pt x="846005" y="4016181"/>
                  </a:lnTo>
                  <a:lnTo>
                    <a:pt x="844967" y="4004824"/>
                  </a:lnTo>
                  <a:lnTo>
                    <a:pt x="844046" y="3993429"/>
                  </a:lnTo>
                  <a:lnTo>
                    <a:pt x="843256" y="3981989"/>
                  </a:lnTo>
                  <a:lnTo>
                    <a:pt x="842613" y="3970496"/>
                  </a:lnTo>
                  <a:close/>
                </a:path>
                <a:path w="2506345" h="4854575" extrusionOk="0">
                  <a:moveTo>
                    <a:pt x="2506290" y="3892918"/>
                  </a:moveTo>
                  <a:lnTo>
                    <a:pt x="2483139" y="3892918"/>
                  </a:lnTo>
                  <a:lnTo>
                    <a:pt x="2483036" y="3931723"/>
                  </a:lnTo>
                  <a:lnTo>
                    <a:pt x="2482856" y="3938979"/>
                  </a:lnTo>
                  <a:lnTo>
                    <a:pt x="2506028" y="3939503"/>
                  </a:lnTo>
                  <a:lnTo>
                    <a:pt x="2506195" y="3931723"/>
                  </a:lnTo>
                  <a:lnTo>
                    <a:pt x="2506290" y="3892918"/>
                  </a:lnTo>
                  <a:close/>
                </a:path>
                <a:path w="2506345" h="4854575" extrusionOk="0">
                  <a:moveTo>
                    <a:pt x="841157" y="3878457"/>
                  </a:moveTo>
                  <a:lnTo>
                    <a:pt x="818006" y="3878457"/>
                  </a:lnTo>
                  <a:lnTo>
                    <a:pt x="818048" y="3924875"/>
                  </a:lnTo>
                  <a:lnTo>
                    <a:pt x="841199" y="3924686"/>
                  </a:lnTo>
                  <a:lnTo>
                    <a:pt x="841157" y="3878457"/>
                  </a:lnTo>
                  <a:close/>
                </a:path>
                <a:path w="2506345" h="4854575" extrusionOk="0">
                  <a:moveTo>
                    <a:pt x="2506290" y="3800208"/>
                  </a:moveTo>
                  <a:lnTo>
                    <a:pt x="2483139" y="3800208"/>
                  </a:lnTo>
                  <a:lnTo>
                    <a:pt x="2483139" y="3846563"/>
                  </a:lnTo>
                  <a:lnTo>
                    <a:pt x="2506290" y="3846563"/>
                  </a:lnTo>
                  <a:lnTo>
                    <a:pt x="2506290" y="3800208"/>
                  </a:lnTo>
                  <a:close/>
                </a:path>
                <a:path w="2506345" h="4854575" extrusionOk="0">
                  <a:moveTo>
                    <a:pt x="841178" y="3785769"/>
                  </a:moveTo>
                  <a:lnTo>
                    <a:pt x="818006" y="3785769"/>
                  </a:lnTo>
                  <a:lnTo>
                    <a:pt x="818006" y="3832103"/>
                  </a:lnTo>
                  <a:lnTo>
                    <a:pt x="841178" y="3832103"/>
                  </a:lnTo>
                  <a:lnTo>
                    <a:pt x="841178" y="3785769"/>
                  </a:lnTo>
                  <a:close/>
                </a:path>
                <a:path w="2506345" h="4854575" extrusionOk="0">
                  <a:moveTo>
                    <a:pt x="2506290" y="3707531"/>
                  </a:moveTo>
                  <a:lnTo>
                    <a:pt x="2483139" y="3707531"/>
                  </a:lnTo>
                  <a:lnTo>
                    <a:pt x="2483139" y="3753885"/>
                  </a:lnTo>
                  <a:lnTo>
                    <a:pt x="2506290" y="3753885"/>
                  </a:lnTo>
                  <a:lnTo>
                    <a:pt x="2506290" y="3707531"/>
                  </a:lnTo>
                  <a:close/>
                </a:path>
                <a:path w="2506345" h="4854575" extrusionOk="0">
                  <a:moveTo>
                    <a:pt x="841178" y="3693081"/>
                  </a:moveTo>
                  <a:lnTo>
                    <a:pt x="818006" y="3693081"/>
                  </a:lnTo>
                  <a:lnTo>
                    <a:pt x="818006" y="3739414"/>
                  </a:lnTo>
                  <a:lnTo>
                    <a:pt x="841178" y="3739414"/>
                  </a:lnTo>
                  <a:lnTo>
                    <a:pt x="841178" y="3693081"/>
                  </a:lnTo>
                  <a:close/>
                </a:path>
                <a:path w="2506345" h="4854575" extrusionOk="0">
                  <a:moveTo>
                    <a:pt x="2506290" y="3614832"/>
                  </a:moveTo>
                  <a:lnTo>
                    <a:pt x="2483139" y="3614832"/>
                  </a:lnTo>
                  <a:lnTo>
                    <a:pt x="2483139" y="3661197"/>
                  </a:lnTo>
                  <a:lnTo>
                    <a:pt x="2506290" y="3661197"/>
                  </a:lnTo>
                  <a:lnTo>
                    <a:pt x="2506290" y="3614832"/>
                  </a:lnTo>
                  <a:close/>
                </a:path>
                <a:path w="2506345" h="4854575" extrusionOk="0">
                  <a:moveTo>
                    <a:pt x="841178" y="3600403"/>
                  </a:moveTo>
                  <a:lnTo>
                    <a:pt x="818006" y="3600403"/>
                  </a:lnTo>
                  <a:lnTo>
                    <a:pt x="818006" y="3646758"/>
                  </a:lnTo>
                  <a:lnTo>
                    <a:pt x="841178" y="3646758"/>
                  </a:lnTo>
                  <a:lnTo>
                    <a:pt x="841178" y="3600403"/>
                  </a:lnTo>
                  <a:close/>
                </a:path>
                <a:path w="2506345" h="4854575" extrusionOk="0">
                  <a:moveTo>
                    <a:pt x="2506290" y="3522165"/>
                  </a:moveTo>
                  <a:lnTo>
                    <a:pt x="2483139" y="3522165"/>
                  </a:lnTo>
                  <a:lnTo>
                    <a:pt x="2483139" y="3568498"/>
                  </a:lnTo>
                  <a:lnTo>
                    <a:pt x="2506290" y="3568498"/>
                  </a:lnTo>
                  <a:lnTo>
                    <a:pt x="2506290" y="3522165"/>
                  </a:lnTo>
                  <a:close/>
                </a:path>
                <a:path w="2506345" h="4854575" extrusionOk="0">
                  <a:moveTo>
                    <a:pt x="841178" y="3507683"/>
                  </a:moveTo>
                  <a:lnTo>
                    <a:pt x="818006" y="3507683"/>
                  </a:lnTo>
                  <a:lnTo>
                    <a:pt x="818006" y="3554027"/>
                  </a:lnTo>
                  <a:lnTo>
                    <a:pt x="841178" y="3554027"/>
                  </a:lnTo>
                  <a:lnTo>
                    <a:pt x="841178" y="3507683"/>
                  </a:lnTo>
                  <a:close/>
                </a:path>
                <a:path w="2506345" h="4854575" extrusionOk="0">
                  <a:moveTo>
                    <a:pt x="2506290" y="3429466"/>
                  </a:moveTo>
                  <a:lnTo>
                    <a:pt x="2483139" y="3429466"/>
                  </a:lnTo>
                  <a:lnTo>
                    <a:pt x="2483139" y="3475820"/>
                  </a:lnTo>
                  <a:lnTo>
                    <a:pt x="2506290" y="3475820"/>
                  </a:lnTo>
                  <a:lnTo>
                    <a:pt x="2506290" y="3429466"/>
                  </a:lnTo>
                  <a:close/>
                </a:path>
                <a:path w="2506345" h="4854575" extrusionOk="0">
                  <a:moveTo>
                    <a:pt x="841178" y="3415005"/>
                  </a:moveTo>
                  <a:lnTo>
                    <a:pt x="818006" y="3415005"/>
                  </a:lnTo>
                  <a:lnTo>
                    <a:pt x="818006" y="3461360"/>
                  </a:lnTo>
                  <a:lnTo>
                    <a:pt x="841178" y="3461360"/>
                  </a:lnTo>
                  <a:lnTo>
                    <a:pt x="841178" y="3415005"/>
                  </a:lnTo>
                  <a:close/>
                </a:path>
                <a:path w="2506345" h="4854575" extrusionOk="0">
                  <a:moveTo>
                    <a:pt x="2506290" y="3336788"/>
                  </a:moveTo>
                  <a:lnTo>
                    <a:pt x="2483139" y="3336788"/>
                  </a:lnTo>
                  <a:lnTo>
                    <a:pt x="2483139" y="3383101"/>
                  </a:lnTo>
                  <a:lnTo>
                    <a:pt x="2506290" y="3383101"/>
                  </a:lnTo>
                  <a:lnTo>
                    <a:pt x="2506290" y="3336788"/>
                  </a:lnTo>
                  <a:close/>
                </a:path>
                <a:path w="2506345" h="4854575" extrusionOk="0">
                  <a:moveTo>
                    <a:pt x="841178" y="3322317"/>
                  </a:moveTo>
                  <a:lnTo>
                    <a:pt x="818006" y="3322317"/>
                  </a:lnTo>
                  <a:lnTo>
                    <a:pt x="818006" y="3368651"/>
                  </a:lnTo>
                  <a:lnTo>
                    <a:pt x="841178" y="3368651"/>
                  </a:lnTo>
                  <a:lnTo>
                    <a:pt x="841178" y="3322317"/>
                  </a:lnTo>
                  <a:close/>
                </a:path>
                <a:path w="2506345" h="4854575" extrusionOk="0">
                  <a:moveTo>
                    <a:pt x="2506290" y="3244068"/>
                  </a:moveTo>
                  <a:lnTo>
                    <a:pt x="2483139" y="3244068"/>
                  </a:lnTo>
                  <a:lnTo>
                    <a:pt x="2483139" y="3290423"/>
                  </a:lnTo>
                  <a:lnTo>
                    <a:pt x="2506290" y="3290423"/>
                  </a:lnTo>
                  <a:lnTo>
                    <a:pt x="2506290" y="3244068"/>
                  </a:lnTo>
                  <a:close/>
                </a:path>
                <a:path w="2506345" h="4854575" extrusionOk="0">
                  <a:moveTo>
                    <a:pt x="841178" y="3229629"/>
                  </a:moveTo>
                  <a:lnTo>
                    <a:pt x="818006" y="3229629"/>
                  </a:lnTo>
                  <a:lnTo>
                    <a:pt x="818006" y="3275984"/>
                  </a:lnTo>
                  <a:lnTo>
                    <a:pt x="841178" y="3275984"/>
                  </a:lnTo>
                  <a:lnTo>
                    <a:pt x="841178" y="3229629"/>
                  </a:lnTo>
                  <a:close/>
                </a:path>
                <a:path w="2506345" h="4854575" extrusionOk="0">
                  <a:moveTo>
                    <a:pt x="2506290" y="3151411"/>
                  </a:moveTo>
                  <a:lnTo>
                    <a:pt x="2483139" y="3151411"/>
                  </a:lnTo>
                  <a:lnTo>
                    <a:pt x="2483139" y="3197735"/>
                  </a:lnTo>
                  <a:lnTo>
                    <a:pt x="2506290" y="3197735"/>
                  </a:lnTo>
                  <a:lnTo>
                    <a:pt x="2506290" y="3151411"/>
                  </a:lnTo>
                  <a:close/>
                </a:path>
                <a:path w="2506345" h="4854575" extrusionOk="0">
                  <a:moveTo>
                    <a:pt x="841178" y="3136951"/>
                  </a:moveTo>
                  <a:lnTo>
                    <a:pt x="818006" y="3136951"/>
                  </a:lnTo>
                  <a:lnTo>
                    <a:pt x="818006" y="3183306"/>
                  </a:lnTo>
                  <a:lnTo>
                    <a:pt x="841178" y="3183306"/>
                  </a:lnTo>
                  <a:lnTo>
                    <a:pt x="841178" y="3136951"/>
                  </a:lnTo>
                  <a:close/>
                </a:path>
                <a:path w="2506345" h="4854575" extrusionOk="0">
                  <a:moveTo>
                    <a:pt x="2506290" y="3058734"/>
                  </a:moveTo>
                  <a:lnTo>
                    <a:pt x="2483139" y="3058734"/>
                  </a:lnTo>
                  <a:lnTo>
                    <a:pt x="2483139" y="3105004"/>
                  </a:lnTo>
                  <a:lnTo>
                    <a:pt x="2506290" y="3105004"/>
                  </a:lnTo>
                  <a:lnTo>
                    <a:pt x="2506290" y="3058734"/>
                  </a:lnTo>
                  <a:close/>
                </a:path>
                <a:path w="2506345" h="4854575" extrusionOk="0">
                  <a:moveTo>
                    <a:pt x="841178" y="3044252"/>
                  </a:moveTo>
                  <a:lnTo>
                    <a:pt x="818006" y="3044252"/>
                  </a:lnTo>
                  <a:lnTo>
                    <a:pt x="818006" y="3090607"/>
                  </a:lnTo>
                  <a:lnTo>
                    <a:pt x="841178" y="3090607"/>
                  </a:lnTo>
                  <a:lnTo>
                    <a:pt x="841178" y="3044252"/>
                  </a:lnTo>
                  <a:close/>
                </a:path>
                <a:path w="2506345" h="4854575" extrusionOk="0">
                  <a:moveTo>
                    <a:pt x="2506290" y="2966035"/>
                  </a:moveTo>
                  <a:lnTo>
                    <a:pt x="2483139" y="2966035"/>
                  </a:lnTo>
                  <a:lnTo>
                    <a:pt x="2483139" y="3012337"/>
                  </a:lnTo>
                  <a:lnTo>
                    <a:pt x="2506290" y="3012337"/>
                  </a:lnTo>
                  <a:lnTo>
                    <a:pt x="2506290" y="2966035"/>
                  </a:lnTo>
                  <a:close/>
                </a:path>
                <a:path w="2506345" h="4854575" extrusionOk="0">
                  <a:moveTo>
                    <a:pt x="841178" y="2951575"/>
                  </a:moveTo>
                  <a:lnTo>
                    <a:pt x="818006" y="2951575"/>
                  </a:lnTo>
                  <a:lnTo>
                    <a:pt x="818006" y="2997940"/>
                  </a:lnTo>
                  <a:lnTo>
                    <a:pt x="841178" y="2997940"/>
                  </a:lnTo>
                  <a:lnTo>
                    <a:pt x="841178" y="2951575"/>
                  </a:lnTo>
                  <a:close/>
                </a:path>
                <a:path w="2506345" h="4854575" extrusionOk="0">
                  <a:moveTo>
                    <a:pt x="2506290" y="2873357"/>
                  </a:moveTo>
                  <a:lnTo>
                    <a:pt x="2483139" y="2873357"/>
                  </a:lnTo>
                  <a:lnTo>
                    <a:pt x="2483139" y="2919638"/>
                  </a:lnTo>
                  <a:lnTo>
                    <a:pt x="2506290" y="2919638"/>
                  </a:lnTo>
                  <a:lnTo>
                    <a:pt x="2506290" y="2873357"/>
                  </a:lnTo>
                  <a:close/>
                </a:path>
                <a:path w="2506345" h="4854575" extrusionOk="0">
                  <a:moveTo>
                    <a:pt x="841178" y="2858855"/>
                  </a:moveTo>
                  <a:lnTo>
                    <a:pt x="818006" y="2858855"/>
                  </a:lnTo>
                  <a:lnTo>
                    <a:pt x="818006" y="2905230"/>
                  </a:lnTo>
                  <a:lnTo>
                    <a:pt x="841178" y="2905230"/>
                  </a:lnTo>
                  <a:lnTo>
                    <a:pt x="841178" y="2858855"/>
                  </a:lnTo>
                  <a:close/>
                </a:path>
                <a:path w="2506345" h="4854575" extrusionOk="0">
                  <a:moveTo>
                    <a:pt x="2506290" y="2780669"/>
                  </a:moveTo>
                  <a:lnTo>
                    <a:pt x="2483139" y="2780669"/>
                  </a:lnTo>
                  <a:lnTo>
                    <a:pt x="2483139" y="2826961"/>
                  </a:lnTo>
                  <a:lnTo>
                    <a:pt x="2506290" y="2826961"/>
                  </a:lnTo>
                  <a:lnTo>
                    <a:pt x="2506290" y="2780669"/>
                  </a:lnTo>
                  <a:close/>
                </a:path>
                <a:path w="2506345" h="4854575" extrusionOk="0">
                  <a:moveTo>
                    <a:pt x="841178" y="2766177"/>
                  </a:moveTo>
                  <a:lnTo>
                    <a:pt x="818006" y="2766177"/>
                  </a:lnTo>
                  <a:lnTo>
                    <a:pt x="818006" y="2812532"/>
                  </a:lnTo>
                  <a:lnTo>
                    <a:pt x="841178" y="2812532"/>
                  </a:lnTo>
                  <a:lnTo>
                    <a:pt x="841178" y="2766177"/>
                  </a:lnTo>
                  <a:close/>
                </a:path>
                <a:path w="2506345" h="4854575" extrusionOk="0">
                  <a:moveTo>
                    <a:pt x="2506290" y="2687960"/>
                  </a:moveTo>
                  <a:lnTo>
                    <a:pt x="2483139" y="2687960"/>
                  </a:lnTo>
                  <a:lnTo>
                    <a:pt x="2483139" y="2734272"/>
                  </a:lnTo>
                  <a:lnTo>
                    <a:pt x="2506290" y="2734272"/>
                  </a:lnTo>
                  <a:lnTo>
                    <a:pt x="2506290" y="2687960"/>
                  </a:lnTo>
                  <a:close/>
                </a:path>
                <a:path w="2506345" h="4854575" extrusionOk="0">
                  <a:moveTo>
                    <a:pt x="841178" y="2673520"/>
                  </a:moveTo>
                  <a:lnTo>
                    <a:pt x="818006" y="2673520"/>
                  </a:lnTo>
                  <a:lnTo>
                    <a:pt x="818006" y="2719833"/>
                  </a:lnTo>
                  <a:lnTo>
                    <a:pt x="841178" y="2719833"/>
                  </a:lnTo>
                  <a:lnTo>
                    <a:pt x="841178" y="2673520"/>
                  </a:lnTo>
                  <a:close/>
                </a:path>
                <a:path w="2506345" h="4854575" extrusionOk="0">
                  <a:moveTo>
                    <a:pt x="2506290" y="2595271"/>
                  </a:moveTo>
                  <a:lnTo>
                    <a:pt x="2483139" y="2595271"/>
                  </a:lnTo>
                  <a:lnTo>
                    <a:pt x="2483139" y="2641594"/>
                  </a:lnTo>
                  <a:lnTo>
                    <a:pt x="2506290" y="2641594"/>
                  </a:lnTo>
                  <a:lnTo>
                    <a:pt x="2506290" y="2595271"/>
                  </a:lnTo>
                  <a:close/>
                </a:path>
                <a:path w="2506345" h="4854575" extrusionOk="0">
                  <a:moveTo>
                    <a:pt x="841178" y="2580800"/>
                  </a:moveTo>
                  <a:lnTo>
                    <a:pt x="818006" y="2580800"/>
                  </a:lnTo>
                  <a:lnTo>
                    <a:pt x="818006" y="2627155"/>
                  </a:lnTo>
                  <a:lnTo>
                    <a:pt x="841178" y="2627155"/>
                  </a:lnTo>
                  <a:lnTo>
                    <a:pt x="841178" y="2580800"/>
                  </a:lnTo>
                  <a:close/>
                </a:path>
                <a:path w="2506345" h="4854575" extrusionOk="0">
                  <a:moveTo>
                    <a:pt x="2506290" y="2502583"/>
                  </a:moveTo>
                  <a:lnTo>
                    <a:pt x="2483139" y="2502583"/>
                  </a:lnTo>
                  <a:lnTo>
                    <a:pt x="2483139" y="2548917"/>
                  </a:lnTo>
                  <a:lnTo>
                    <a:pt x="2506290" y="2548917"/>
                  </a:lnTo>
                  <a:lnTo>
                    <a:pt x="2506290" y="2502583"/>
                  </a:lnTo>
                  <a:close/>
                </a:path>
                <a:path w="2506345" h="4854575" extrusionOk="0">
                  <a:moveTo>
                    <a:pt x="841178" y="2488123"/>
                  </a:moveTo>
                  <a:lnTo>
                    <a:pt x="818006" y="2488123"/>
                  </a:lnTo>
                  <a:lnTo>
                    <a:pt x="818006" y="2534477"/>
                  </a:lnTo>
                  <a:lnTo>
                    <a:pt x="841178" y="2534477"/>
                  </a:lnTo>
                  <a:lnTo>
                    <a:pt x="841178" y="2488123"/>
                  </a:lnTo>
                  <a:close/>
                </a:path>
                <a:path w="2506345" h="4854575" extrusionOk="0">
                  <a:moveTo>
                    <a:pt x="2506290" y="2409905"/>
                  </a:moveTo>
                  <a:lnTo>
                    <a:pt x="2483139" y="2409905"/>
                  </a:lnTo>
                  <a:lnTo>
                    <a:pt x="2483139" y="2456218"/>
                  </a:lnTo>
                  <a:lnTo>
                    <a:pt x="2506290" y="2456218"/>
                  </a:lnTo>
                  <a:lnTo>
                    <a:pt x="2506290" y="2409905"/>
                  </a:lnTo>
                  <a:close/>
                </a:path>
                <a:path w="2506345" h="4854575" extrusionOk="0">
                  <a:moveTo>
                    <a:pt x="841178" y="2395424"/>
                  </a:moveTo>
                  <a:lnTo>
                    <a:pt x="818006" y="2395424"/>
                  </a:lnTo>
                  <a:lnTo>
                    <a:pt x="818006" y="2441789"/>
                  </a:lnTo>
                  <a:lnTo>
                    <a:pt x="841178" y="2441789"/>
                  </a:lnTo>
                  <a:lnTo>
                    <a:pt x="841178" y="2395424"/>
                  </a:lnTo>
                  <a:close/>
                </a:path>
                <a:path w="2506345" h="4854575" extrusionOk="0">
                  <a:moveTo>
                    <a:pt x="2506290" y="2317175"/>
                  </a:moveTo>
                  <a:lnTo>
                    <a:pt x="2483139" y="2317175"/>
                  </a:lnTo>
                  <a:lnTo>
                    <a:pt x="2483139" y="2363551"/>
                  </a:lnTo>
                  <a:lnTo>
                    <a:pt x="2506290" y="2363551"/>
                  </a:lnTo>
                  <a:lnTo>
                    <a:pt x="2506290" y="2317175"/>
                  </a:lnTo>
                  <a:close/>
                </a:path>
                <a:path w="2506345" h="4854575" extrusionOk="0">
                  <a:moveTo>
                    <a:pt x="841178" y="2302757"/>
                  </a:moveTo>
                  <a:lnTo>
                    <a:pt x="818006" y="2302757"/>
                  </a:lnTo>
                  <a:lnTo>
                    <a:pt x="818006" y="2349101"/>
                  </a:lnTo>
                  <a:lnTo>
                    <a:pt x="841178" y="2349101"/>
                  </a:lnTo>
                  <a:lnTo>
                    <a:pt x="841178" y="2302757"/>
                  </a:lnTo>
                  <a:close/>
                </a:path>
                <a:path w="2506345" h="4854575" extrusionOk="0">
                  <a:moveTo>
                    <a:pt x="2506290" y="2224497"/>
                  </a:moveTo>
                  <a:lnTo>
                    <a:pt x="2483139" y="2224497"/>
                  </a:lnTo>
                  <a:lnTo>
                    <a:pt x="2483139" y="2270841"/>
                  </a:lnTo>
                  <a:lnTo>
                    <a:pt x="2506290" y="2270841"/>
                  </a:lnTo>
                  <a:lnTo>
                    <a:pt x="2506290" y="2224497"/>
                  </a:lnTo>
                  <a:close/>
                </a:path>
                <a:path w="2506345" h="4854575" extrusionOk="0">
                  <a:moveTo>
                    <a:pt x="841178" y="2210079"/>
                  </a:moveTo>
                  <a:lnTo>
                    <a:pt x="818006" y="2210079"/>
                  </a:lnTo>
                  <a:lnTo>
                    <a:pt x="818006" y="2256402"/>
                  </a:lnTo>
                  <a:lnTo>
                    <a:pt x="841178" y="2256402"/>
                  </a:lnTo>
                  <a:lnTo>
                    <a:pt x="841178" y="2210079"/>
                  </a:lnTo>
                  <a:close/>
                </a:path>
                <a:path w="2506345" h="4854575" extrusionOk="0">
                  <a:moveTo>
                    <a:pt x="2506290" y="2131809"/>
                  </a:moveTo>
                  <a:lnTo>
                    <a:pt x="2483139" y="2131809"/>
                  </a:lnTo>
                  <a:lnTo>
                    <a:pt x="2483139" y="2178184"/>
                  </a:lnTo>
                  <a:lnTo>
                    <a:pt x="2506290" y="2178184"/>
                  </a:lnTo>
                  <a:lnTo>
                    <a:pt x="2506290" y="2131809"/>
                  </a:lnTo>
                  <a:close/>
                </a:path>
                <a:path w="2506345" h="4854575" extrusionOk="0">
                  <a:moveTo>
                    <a:pt x="841178" y="2117391"/>
                  </a:moveTo>
                  <a:lnTo>
                    <a:pt x="818006" y="2117391"/>
                  </a:lnTo>
                  <a:lnTo>
                    <a:pt x="818006" y="2163735"/>
                  </a:lnTo>
                  <a:lnTo>
                    <a:pt x="841178" y="2163735"/>
                  </a:lnTo>
                  <a:lnTo>
                    <a:pt x="841178" y="2117391"/>
                  </a:lnTo>
                  <a:close/>
                </a:path>
                <a:path w="2506345" h="4854575" extrusionOk="0">
                  <a:moveTo>
                    <a:pt x="2506290" y="2039121"/>
                  </a:moveTo>
                  <a:lnTo>
                    <a:pt x="2483139" y="2039121"/>
                  </a:lnTo>
                  <a:lnTo>
                    <a:pt x="2483139" y="2085507"/>
                  </a:lnTo>
                  <a:lnTo>
                    <a:pt x="2506290" y="2085507"/>
                  </a:lnTo>
                  <a:lnTo>
                    <a:pt x="2506290" y="2039121"/>
                  </a:lnTo>
                  <a:close/>
                </a:path>
                <a:path w="2506345" h="4854575" extrusionOk="0">
                  <a:moveTo>
                    <a:pt x="841178" y="2024692"/>
                  </a:moveTo>
                  <a:lnTo>
                    <a:pt x="818006" y="2024692"/>
                  </a:lnTo>
                  <a:lnTo>
                    <a:pt x="818006" y="2071005"/>
                  </a:lnTo>
                  <a:lnTo>
                    <a:pt x="841178" y="2071005"/>
                  </a:lnTo>
                  <a:lnTo>
                    <a:pt x="841178" y="2024692"/>
                  </a:lnTo>
                  <a:close/>
                </a:path>
                <a:path w="2506345" h="4854575" extrusionOk="0">
                  <a:moveTo>
                    <a:pt x="2506290" y="1946443"/>
                  </a:moveTo>
                  <a:lnTo>
                    <a:pt x="2483139" y="1946443"/>
                  </a:lnTo>
                  <a:lnTo>
                    <a:pt x="2483139" y="1992797"/>
                  </a:lnTo>
                  <a:lnTo>
                    <a:pt x="2506290" y="1992797"/>
                  </a:lnTo>
                  <a:lnTo>
                    <a:pt x="2506290" y="1946443"/>
                  </a:lnTo>
                  <a:close/>
                </a:path>
                <a:path w="2506345" h="4854575" extrusionOk="0">
                  <a:moveTo>
                    <a:pt x="841178" y="1931972"/>
                  </a:moveTo>
                  <a:lnTo>
                    <a:pt x="818006" y="1931972"/>
                  </a:lnTo>
                  <a:lnTo>
                    <a:pt x="818006" y="1978348"/>
                  </a:lnTo>
                  <a:lnTo>
                    <a:pt x="841178" y="1978348"/>
                  </a:lnTo>
                  <a:lnTo>
                    <a:pt x="841178" y="1931972"/>
                  </a:lnTo>
                  <a:close/>
                </a:path>
                <a:path w="2506345" h="4854575" extrusionOk="0">
                  <a:moveTo>
                    <a:pt x="2506290" y="1853765"/>
                  </a:moveTo>
                  <a:lnTo>
                    <a:pt x="2483139" y="1853765"/>
                  </a:lnTo>
                  <a:lnTo>
                    <a:pt x="2483139" y="1900088"/>
                  </a:lnTo>
                  <a:lnTo>
                    <a:pt x="2506290" y="1900088"/>
                  </a:lnTo>
                  <a:lnTo>
                    <a:pt x="2506290" y="1853765"/>
                  </a:lnTo>
                  <a:close/>
                </a:path>
                <a:path w="2506345" h="4854575" extrusionOk="0">
                  <a:moveTo>
                    <a:pt x="841178" y="1839284"/>
                  </a:moveTo>
                  <a:lnTo>
                    <a:pt x="818006" y="1839284"/>
                  </a:lnTo>
                  <a:lnTo>
                    <a:pt x="818006" y="1885649"/>
                  </a:lnTo>
                  <a:lnTo>
                    <a:pt x="841178" y="1885649"/>
                  </a:lnTo>
                  <a:lnTo>
                    <a:pt x="841178" y="1839284"/>
                  </a:lnTo>
                  <a:close/>
                </a:path>
                <a:path w="2506345" h="4854575" extrusionOk="0">
                  <a:moveTo>
                    <a:pt x="2506290" y="1761066"/>
                  </a:moveTo>
                  <a:lnTo>
                    <a:pt x="2483139" y="1761066"/>
                  </a:lnTo>
                  <a:lnTo>
                    <a:pt x="2483139" y="1807379"/>
                  </a:lnTo>
                  <a:lnTo>
                    <a:pt x="2506290" y="1807379"/>
                  </a:lnTo>
                  <a:lnTo>
                    <a:pt x="2506290" y="1761066"/>
                  </a:lnTo>
                  <a:close/>
                </a:path>
                <a:path w="2506345" h="4854575" extrusionOk="0">
                  <a:moveTo>
                    <a:pt x="841178" y="1746606"/>
                  </a:moveTo>
                  <a:lnTo>
                    <a:pt x="818006" y="1746606"/>
                  </a:lnTo>
                  <a:lnTo>
                    <a:pt x="818006" y="1792961"/>
                  </a:lnTo>
                  <a:lnTo>
                    <a:pt x="841178" y="1792961"/>
                  </a:lnTo>
                  <a:lnTo>
                    <a:pt x="841178" y="1746606"/>
                  </a:lnTo>
                  <a:close/>
                </a:path>
                <a:path w="2506345" h="4854575" extrusionOk="0">
                  <a:moveTo>
                    <a:pt x="2506290" y="1668388"/>
                  </a:moveTo>
                  <a:lnTo>
                    <a:pt x="2483139" y="1668388"/>
                  </a:lnTo>
                  <a:lnTo>
                    <a:pt x="2483139" y="1714722"/>
                  </a:lnTo>
                  <a:lnTo>
                    <a:pt x="2506290" y="1714722"/>
                  </a:lnTo>
                  <a:lnTo>
                    <a:pt x="2506290" y="1668388"/>
                  </a:lnTo>
                  <a:close/>
                </a:path>
                <a:path w="2506345" h="4854575" extrusionOk="0">
                  <a:moveTo>
                    <a:pt x="841178" y="1653928"/>
                  </a:moveTo>
                  <a:lnTo>
                    <a:pt x="818006" y="1653928"/>
                  </a:lnTo>
                  <a:lnTo>
                    <a:pt x="818006" y="1700283"/>
                  </a:lnTo>
                  <a:lnTo>
                    <a:pt x="841178" y="1700283"/>
                  </a:lnTo>
                  <a:lnTo>
                    <a:pt x="841178" y="1653928"/>
                  </a:lnTo>
                  <a:close/>
                </a:path>
                <a:path w="2506345" h="4854575" extrusionOk="0">
                  <a:moveTo>
                    <a:pt x="2506290" y="1575700"/>
                  </a:moveTo>
                  <a:lnTo>
                    <a:pt x="2483139" y="1575700"/>
                  </a:lnTo>
                  <a:lnTo>
                    <a:pt x="2483139" y="1622013"/>
                  </a:lnTo>
                  <a:lnTo>
                    <a:pt x="2506290" y="1622013"/>
                  </a:lnTo>
                  <a:lnTo>
                    <a:pt x="2506290" y="1575700"/>
                  </a:lnTo>
                  <a:close/>
                </a:path>
                <a:path w="2506345" h="4854575" extrusionOk="0">
                  <a:moveTo>
                    <a:pt x="841178" y="1561229"/>
                  </a:moveTo>
                  <a:lnTo>
                    <a:pt x="818006" y="1561229"/>
                  </a:lnTo>
                  <a:lnTo>
                    <a:pt x="818006" y="1607574"/>
                  </a:lnTo>
                  <a:lnTo>
                    <a:pt x="841178" y="1607574"/>
                  </a:lnTo>
                  <a:lnTo>
                    <a:pt x="841178" y="1561229"/>
                  </a:lnTo>
                  <a:close/>
                </a:path>
                <a:path w="2506345" h="4854575" extrusionOk="0">
                  <a:moveTo>
                    <a:pt x="2506290" y="1483022"/>
                  </a:moveTo>
                  <a:lnTo>
                    <a:pt x="2483139" y="1483022"/>
                  </a:lnTo>
                  <a:lnTo>
                    <a:pt x="2483139" y="1529346"/>
                  </a:lnTo>
                  <a:lnTo>
                    <a:pt x="2506290" y="1529346"/>
                  </a:lnTo>
                  <a:lnTo>
                    <a:pt x="2506290" y="1483022"/>
                  </a:lnTo>
                  <a:close/>
                </a:path>
                <a:path w="2506345" h="4854575" extrusionOk="0">
                  <a:moveTo>
                    <a:pt x="841178" y="1468552"/>
                  </a:moveTo>
                  <a:lnTo>
                    <a:pt x="818006" y="1468552"/>
                  </a:lnTo>
                  <a:lnTo>
                    <a:pt x="818006" y="1514906"/>
                  </a:lnTo>
                  <a:lnTo>
                    <a:pt x="841178" y="1514906"/>
                  </a:lnTo>
                  <a:lnTo>
                    <a:pt x="841178" y="1468552"/>
                  </a:lnTo>
                  <a:close/>
                </a:path>
                <a:path w="2506345" h="4854575" extrusionOk="0">
                  <a:moveTo>
                    <a:pt x="2506290" y="1390334"/>
                  </a:moveTo>
                  <a:lnTo>
                    <a:pt x="2483139" y="1390334"/>
                  </a:lnTo>
                  <a:lnTo>
                    <a:pt x="2483139" y="1436657"/>
                  </a:lnTo>
                  <a:lnTo>
                    <a:pt x="2506290" y="1436657"/>
                  </a:lnTo>
                  <a:lnTo>
                    <a:pt x="2506290" y="1390334"/>
                  </a:lnTo>
                  <a:close/>
                </a:path>
                <a:path w="2506345" h="4854575" extrusionOk="0">
                  <a:moveTo>
                    <a:pt x="841178" y="1375863"/>
                  </a:moveTo>
                  <a:lnTo>
                    <a:pt x="818006" y="1375863"/>
                  </a:lnTo>
                  <a:lnTo>
                    <a:pt x="818006" y="1422208"/>
                  </a:lnTo>
                  <a:lnTo>
                    <a:pt x="841178" y="1422208"/>
                  </a:lnTo>
                  <a:lnTo>
                    <a:pt x="841178" y="1375863"/>
                  </a:lnTo>
                  <a:close/>
                </a:path>
                <a:path w="2506345" h="4854575" extrusionOk="0">
                  <a:moveTo>
                    <a:pt x="2506290" y="1297656"/>
                  </a:moveTo>
                  <a:lnTo>
                    <a:pt x="2483139" y="1297656"/>
                  </a:lnTo>
                  <a:lnTo>
                    <a:pt x="2483139" y="1343980"/>
                  </a:lnTo>
                  <a:lnTo>
                    <a:pt x="2506290" y="1343980"/>
                  </a:lnTo>
                  <a:lnTo>
                    <a:pt x="2506290" y="1297656"/>
                  </a:lnTo>
                  <a:close/>
                </a:path>
                <a:path w="2506345" h="4854575" extrusionOk="0">
                  <a:moveTo>
                    <a:pt x="838937" y="1282453"/>
                  </a:moveTo>
                  <a:lnTo>
                    <a:pt x="815828" y="1284034"/>
                  </a:lnTo>
                  <a:lnTo>
                    <a:pt x="816532" y="1295415"/>
                  </a:lnTo>
                  <a:lnTo>
                    <a:pt x="817100" y="1306830"/>
                  </a:lnTo>
                  <a:lnTo>
                    <a:pt x="817527" y="1318279"/>
                  </a:lnTo>
                  <a:lnTo>
                    <a:pt x="817807" y="1329760"/>
                  </a:lnTo>
                  <a:lnTo>
                    <a:pt x="840990" y="1329320"/>
                  </a:lnTo>
                  <a:lnTo>
                    <a:pt x="840681" y="1317536"/>
                  </a:lnTo>
                  <a:lnTo>
                    <a:pt x="840238" y="1305800"/>
                  </a:lnTo>
                  <a:lnTo>
                    <a:pt x="839658" y="1294108"/>
                  </a:lnTo>
                  <a:lnTo>
                    <a:pt x="838937" y="1282453"/>
                  </a:lnTo>
                  <a:close/>
                </a:path>
                <a:path w="2506345" h="4854575" extrusionOk="0">
                  <a:moveTo>
                    <a:pt x="2506290" y="1204937"/>
                  </a:moveTo>
                  <a:lnTo>
                    <a:pt x="2483139" y="1204937"/>
                  </a:lnTo>
                  <a:lnTo>
                    <a:pt x="2483139" y="1251291"/>
                  </a:lnTo>
                  <a:lnTo>
                    <a:pt x="2506290" y="1251291"/>
                  </a:lnTo>
                  <a:lnTo>
                    <a:pt x="2506290" y="1204937"/>
                  </a:lnTo>
                  <a:close/>
                </a:path>
                <a:path w="2506345" h="4854575" extrusionOk="0">
                  <a:moveTo>
                    <a:pt x="828037" y="1189314"/>
                  </a:moveTo>
                  <a:lnTo>
                    <a:pt x="805190" y="1193167"/>
                  </a:lnTo>
                  <a:lnTo>
                    <a:pt x="806985" y="1204416"/>
                  </a:lnTo>
                  <a:lnTo>
                    <a:pt x="808652" y="1215716"/>
                  </a:lnTo>
                  <a:lnTo>
                    <a:pt x="810195" y="1227064"/>
                  </a:lnTo>
                  <a:lnTo>
                    <a:pt x="811619" y="1238454"/>
                  </a:lnTo>
                  <a:lnTo>
                    <a:pt x="834602" y="1235773"/>
                  </a:lnTo>
                  <a:lnTo>
                    <a:pt x="833167" y="1224094"/>
                  </a:lnTo>
                  <a:lnTo>
                    <a:pt x="831587" y="1212457"/>
                  </a:lnTo>
                  <a:lnTo>
                    <a:pt x="829873" y="1200864"/>
                  </a:lnTo>
                  <a:lnTo>
                    <a:pt x="828037" y="1189314"/>
                  </a:lnTo>
                  <a:close/>
                </a:path>
                <a:path w="2506345" h="4854575" extrusionOk="0">
                  <a:moveTo>
                    <a:pt x="2506290" y="1112248"/>
                  </a:moveTo>
                  <a:lnTo>
                    <a:pt x="2483139" y="1112248"/>
                  </a:lnTo>
                  <a:lnTo>
                    <a:pt x="2483139" y="1158592"/>
                  </a:lnTo>
                  <a:lnTo>
                    <a:pt x="2506290" y="1158592"/>
                  </a:lnTo>
                  <a:lnTo>
                    <a:pt x="2506290" y="1112248"/>
                  </a:lnTo>
                  <a:close/>
                </a:path>
                <a:path w="2506345" h="4854575" extrusionOk="0">
                  <a:moveTo>
                    <a:pt x="808121" y="1097715"/>
                  </a:moveTo>
                  <a:lnTo>
                    <a:pt x="785735" y="1103736"/>
                  </a:lnTo>
                  <a:lnTo>
                    <a:pt x="788659" y="1114780"/>
                  </a:lnTo>
                  <a:lnTo>
                    <a:pt x="791426" y="1125866"/>
                  </a:lnTo>
                  <a:lnTo>
                    <a:pt x="794051" y="1136999"/>
                  </a:lnTo>
                  <a:lnTo>
                    <a:pt x="796551" y="1148184"/>
                  </a:lnTo>
                  <a:lnTo>
                    <a:pt x="819231" y="1143305"/>
                  </a:lnTo>
                  <a:lnTo>
                    <a:pt x="816647" y="1131814"/>
                  </a:lnTo>
                  <a:lnTo>
                    <a:pt x="813935" y="1120384"/>
                  </a:lnTo>
                  <a:lnTo>
                    <a:pt x="811094" y="1109017"/>
                  </a:lnTo>
                  <a:lnTo>
                    <a:pt x="808121" y="1097715"/>
                  </a:lnTo>
                  <a:close/>
                </a:path>
                <a:path w="2506345" h="4854575" extrusionOk="0">
                  <a:moveTo>
                    <a:pt x="2506290" y="1019560"/>
                  </a:moveTo>
                  <a:lnTo>
                    <a:pt x="2483139" y="1019560"/>
                  </a:lnTo>
                  <a:lnTo>
                    <a:pt x="2483139" y="1065925"/>
                  </a:lnTo>
                  <a:lnTo>
                    <a:pt x="2506290" y="1065925"/>
                  </a:lnTo>
                  <a:lnTo>
                    <a:pt x="2506290" y="1019560"/>
                  </a:lnTo>
                  <a:close/>
                </a:path>
                <a:path w="2506345" h="4854575" extrusionOk="0">
                  <a:moveTo>
                    <a:pt x="779243" y="1008513"/>
                  </a:moveTo>
                  <a:lnTo>
                    <a:pt x="757610" y="1016702"/>
                  </a:lnTo>
                  <a:lnTo>
                    <a:pt x="761591" y="1027419"/>
                  </a:lnTo>
                  <a:lnTo>
                    <a:pt x="765447" y="1038185"/>
                  </a:lnTo>
                  <a:lnTo>
                    <a:pt x="769178" y="1049010"/>
                  </a:lnTo>
                  <a:lnTo>
                    <a:pt x="772782" y="1059904"/>
                  </a:lnTo>
                  <a:lnTo>
                    <a:pt x="794782" y="1052753"/>
                  </a:lnTo>
                  <a:lnTo>
                    <a:pt x="791093" y="1041591"/>
                  </a:lnTo>
                  <a:lnTo>
                    <a:pt x="787279" y="1030500"/>
                  </a:lnTo>
                  <a:lnTo>
                    <a:pt x="783332" y="1019475"/>
                  </a:lnTo>
                  <a:lnTo>
                    <a:pt x="779243" y="1008513"/>
                  </a:lnTo>
                  <a:close/>
                </a:path>
                <a:path w="2506345" h="4854575" extrusionOk="0">
                  <a:moveTo>
                    <a:pt x="741642" y="922390"/>
                  </a:moveTo>
                  <a:lnTo>
                    <a:pt x="720920" y="932715"/>
                  </a:lnTo>
                  <a:lnTo>
                    <a:pt x="725951" y="942989"/>
                  </a:lnTo>
                  <a:lnTo>
                    <a:pt x="730861" y="953332"/>
                  </a:lnTo>
                  <a:lnTo>
                    <a:pt x="735643" y="963745"/>
                  </a:lnTo>
                  <a:lnTo>
                    <a:pt x="740291" y="974232"/>
                  </a:lnTo>
                  <a:lnTo>
                    <a:pt x="761505" y="964933"/>
                  </a:lnTo>
                  <a:lnTo>
                    <a:pt x="756745" y="954187"/>
                  </a:lnTo>
                  <a:lnTo>
                    <a:pt x="751844" y="943513"/>
                  </a:lnTo>
                  <a:lnTo>
                    <a:pt x="746711" y="932715"/>
                  </a:lnTo>
                  <a:lnTo>
                    <a:pt x="741642" y="922390"/>
                  </a:lnTo>
                  <a:close/>
                </a:path>
                <a:path w="2506345" h="4854575" extrusionOk="0">
                  <a:moveTo>
                    <a:pt x="2506290" y="926872"/>
                  </a:moveTo>
                  <a:lnTo>
                    <a:pt x="2483139" y="926872"/>
                  </a:lnTo>
                  <a:lnTo>
                    <a:pt x="2483139" y="973216"/>
                  </a:lnTo>
                  <a:lnTo>
                    <a:pt x="2506290" y="973216"/>
                  </a:lnTo>
                  <a:lnTo>
                    <a:pt x="2506290" y="926872"/>
                  </a:lnTo>
                  <a:close/>
                </a:path>
                <a:path w="2506345" h="4854575" extrusionOk="0">
                  <a:moveTo>
                    <a:pt x="695696" y="840456"/>
                  </a:moveTo>
                  <a:lnTo>
                    <a:pt x="676094" y="852780"/>
                  </a:lnTo>
                  <a:lnTo>
                    <a:pt x="682121" y="862514"/>
                  </a:lnTo>
                  <a:lnTo>
                    <a:pt x="688020" y="872321"/>
                  </a:lnTo>
                  <a:lnTo>
                    <a:pt x="693802" y="882203"/>
                  </a:lnTo>
                  <a:lnTo>
                    <a:pt x="699476" y="892161"/>
                  </a:lnTo>
                  <a:lnTo>
                    <a:pt x="719674" y="880852"/>
                  </a:lnTo>
                  <a:lnTo>
                    <a:pt x="713860" y="870629"/>
                  </a:lnTo>
                  <a:lnTo>
                    <a:pt x="707928" y="860497"/>
                  </a:lnTo>
                  <a:lnTo>
                    <a:pt x="701875" y="850443"/>
                  </a:lnTo>
                  <a:lnTo>
                    <a:pt x="695696" y="840456"/>
                  </a:lnTo>
                  <a:close/>
                </a:path>
                <a:path w="2506345" h="4854575" extrusionOk="0">
                  <a:moveTo>
                    <a:pt x="2506290" y="834194"/>
                  </a:moveTo>
                  <a:lnTo>
                    <a:pt x="2483139" y="834194"/>
                  </a:lnTo>
                  <a:lnTo>
                    <a:pt x="2483139" y="880549"/>
                  </a:lnTo>
                  <a:lnTo>
                    <a:pt x="2506290" y="880549"/>
                  </a:lnTo>
                  <a:lnTo>
                    <a:pt x="2506290" y="834194"/>
                  </a:lnTo>
                  <a:close/>
                </a:path>
                <a:path w="2506345" h="4854575" extrusionOk="0">
                  <a:moveTo>
                    <a:pt x="641802" y="763568"/>
                  </a:moveTo>
                  <a:lnTo>
                    <a:pt x="623530" y="777777"/>
                  </a:lnTo>
                  <a:lnTo>
                    <a:pt x="630505" y="786854"/>
                  </a:lnTo>
                  <a:lnTo>
                    <a:pt x="637358" y="796020"/>
                  </a:lnTo>
                  <a:lnTo>
                    <a:pt x="644096" y="805268"/>
                  </a:lnTo>
                  <a:lnTo>
                    <a:pt x="650723" y="814592"/>
                  </a:lnTo>
                  <a:lnTo>
                    <a:pt x="669717" y="801347"/>
                  </a:lnTo>
                  <a:lnTo>
                    <a:pt x="662907" y="791760"/>
                  </a:lnTo>
                  <a:lnTo>
                    <a:pt x="655983" y="782269"/>
                  </a:lnTo>
                  <a:lnTo>
                    <a:pt x="648948" y="772872"/>
                  </a:lnTo>
                  <a:lnTo>
                    <a:pt x="641802" y="763568"/>
                  </a:lnTo>
                  <a:close/>
                </a:path>
                <a:path w="2506345" h="4854575" extrusionOk="0">
                  <a:moveTo>
                    <a:pt x="2506290" y="741485"/>
                  </a:moveTo>
                  <a:lnTo>
                    <a:pt x="2483139" y="741485"/>
                  </a:lnTo>
                  <a:lnTo>
                    <a:pt x="2483139" y="787860"/>
                  </a:lnTo>
                  <a:lnTo>
                    <a:pt x="2506290" y="787860"/>
                  </a:lnTo>
                  <a:lnTo>
                    <a:pt x="2506290" y="741485"/>
                  </a:lnTo>
                  <a:close/>
                </a:path>
                <a:path w="2506345" h="4854575" extrusionOk="0">
                  <a:moveTo>
                    <a:pt x="580558" y="692460"/>
                  </a:moveTo>
                  <a:lnTo>
                    <a:pt x="563783" y="708418"/>
                  </a:lnTo>
                  <a:lnTo>
                    <a:pt x="571624" y="716758"/>
                  </a:lnTo>
                  <a:lnTo>
                    <a:pt x="579363" y="725195"/>
                  </a:lnTo>
                  <a:lnTo>
                    <a:pt x="587006" y="733729"/>
                  </a:lnTo>
                  <a:lnTo>
                    <a:pt x="594557" y="742364"/>
                  </a:lnTo>
                  <a:lnTo>
                    <a:pt x="612086" y="727192"/>
                  </a:lnTo>
                  <a:lnTo>
                    <a:pt x="604362" y="718365"/>
                  </a:lnTo>
                  <a:lnTo>
                    <a:pt x="596534" y="709634"/>
                  </a:lnTo>
                  <a:lnTo>
                    <a:pt x="588600" y="700998"/>
                  </a:lnTo>
                  <a:lnTo>
                    <a:pt x="580558" y="692460"/>
                  </a:lnTo>
                  <a:close/>
                </a:path>
                <a:path w="2506345" h="4854575" extrusionOk="0">
                  <a:moveTo>
                    <a:pt x="2506290" y="648807"/>
                  </a:moveTo>
                  <a:lnTo>
                    <a:pt x="2483139" y="648807"/>
                  </a:lnTo>
                  <a:lnTo>
                    <a:pt x="2483139" y="695183"/>
                  </a:lnTo>
                  <a:lnTo>
                    <a:pt x="2506290" y="695183"/>
                  </a:lnTo>
                  <a:lnTo>
                    <a:pt x="2506290" y="648807"/>
                  </a:lnTo>
                  <a:close/>
                </a:path>
                <a:path w="2506345" h="4854575" extrusionOk="0">
                  <a:moveTo>
                    <a:pt x="512445" y="627802"/>
                  </a:moveTo>
                  <a:lnTo>
                    <a:pt x="497440" y="645456"/>
                  </a:lnTo>
                  <a:lnTo>
                    <a:pt x="506068" y="652945"/>
                  </a:lnTo>
                  <a:lnTo>
                    <a:pt x="514600" y="660550"/>
                  </a:lnTo>
                  <a:lnTo>
                    <a:pt x="523045" y="668265"/>
                  </a:lnTo>
                  <a:lnTo>
                    <a:pt x="531407" y="676084"/>
                  </a:lnTo>
                  <a:lnTo>
                    <a:pt x="547323" y="659267"/>
                  </a:lnTo>
                  <a:lnTo>
                    <a:pt x="538753" y="651234"/>
                  </a:lnTo>
                  <a:lnTo>
                    <a:pt x="530084" y="643311"/>
                  </a:lnTo>
                  <a:lnTo>
                    <a:pt x="521315" y="635500"/>
                  </a:lnTo>
                  <a:lnTo>
                    <a:pt x="512445" y="627802"/>
                  </a:lnTo>
                  <a:close/>
                </a:path>
                <a:path w="2506345" h="4854575" extrusionOk="0">
                  <a:moveTo>
                    <a:pt x="438175" y="570548"/>
                  </a:moveTo>
                  <a:lnTo>
                    <a:pt x="424992" y="589594"/>
                  </a:lnTo>
                  <a:lnTo>
                    <a:pt x="434353" y="596169"/>
                  </a:lnTo>
                  <a:lnTo>
                    <a:pt x="443625" y="602857"/>
                  </a:lnTo>
                  <a:lnTo>
                    <a:pt x="452810" y="609656"/>
                  </a:lnTo>
                  <a:lnTo>
                    <a:pt x="461912" y="616567"/>
                  </a:lnTo>
                  <a:lnTo>
                    <a:pt x="476069" y="598243"/>
                  </a:lnTo>
                  <a:lnTo>
                    <a:pt x="466732" y="591144"/>
                  </a:lnTo>
                  <a:lnTo>
                    <a:pt x="457310" y="584160"/>
                  </a:lnTo>
                  <a:lnTo>
                    <a:pt x="447794" y="577293"/>
                  </a:lnTo>
                  <a:lnTo>
                    <a:pt x="438175" y="570548"/>
                  </a:lnTo>
                  <a:close/>
                </a:path>
                <a:path w="2506345" h="4854575" extrusionOk="0">
                  <a:moveTo>
                    <a:pt x="2506290" y="556140"/>
                  </a:moveTo>
                  <a:lnTo>
                    <a:pt x="2483139" y="556140"/>
                  </a:lnTo>
                  <a:lnTo>
                    <a:pt x="2483139" y="602494"/>
                  </a:lnTo>
                  <a:lnTo>
                    <a:pt x="2506290" y="602494"/>
                  </a:lnTo>
                  <a:lnTo>
                    <a:pt x="2506290" y="556140"/>
                  </a:lnTo>
                  <a:close/>
                </a:path>
                <a:path w="2506345" h="4854575" extrusionOk="0">
                  <a:moveTo>
                    <a:pt x="358460" y="521167"/>
                  </a:moveTo>
                  <a:lnTo>
                    <a:pt x="347350" y="541459"/>
                  </a:lnTo>
                  <a:lnTo>
                    <a:pt x="357314" y="547025"/>
                  </a:lnTo>
                  <a:lnTo>
                    <a:pt x="367210" y="552727"/>
                  </a:lnTo>
                  <a:lnTo>
                    <a:pt x="377037" y="558565"/>
                  </a:lnTo>
                  <a:lnTo>
                    <a:pt x="386794" y="564537"/>
                  </a:lnTo>
                  <a:lnTo>
                    <a:pt x="398951" y="544810"/>
                  </a:lnTo>
                  <a:lnTo>
                    <a:pt x="388960" y="538704"/>
                  </a:lnTo>
                  <a:lnTo>
                    <a:pt x="378878" y="532729"/>
                  </a:lnTo>
                  <a:lnTo>
                    <a:pt x="368709" y="526884"/>
                  </a:lnTo>
                  <a:lnTo>
                    <a:pt x="358460" y="521167"/>
                  </a:lnTo>
                  <a:close/>
                </a:path>
                <a:path w="2506345" h="4854575" extrusionOk="0">
                  <a:moveTo>
                    <a:pt x="274106" y="480362"/>
                  </a:moveTo>
                  <a:lnTo>
                    <a:pt x="265143" y="501691"/>
                  </a:lnTo>
                  <a:lnTo>
                    <a:pt x="275655" y="506205"/>
                  </a:lnTo>
                  <a:lnTo>
                    <a:pt x="286089" y="510854"/>
                  </a:lnTo>
                  <a:lnTo>
                    <a:pt x="296458" y="515631"/>
                  </a:lnTo>
                  <a:lnTo>
                    <a:pt x="306775" y="520528"/>
                  </a:lnTo>
                  <a:lnTo>
                    <a:pt x="316838" y="499670"/>
                  </a:lnTo>
                  <a:lnTo>
                    <a:pt x="306262" y="494643"/>
                  </a:lnTo>
                  <a:lnTo>
                    <a:pt x="295614" y="489745"/>
                  </a:lnTo>
                  <a:lnTo>
                    <a:pt x="284894" y="484982"/>
                  </a:lnTo>
                  <a:lnTo>
                    <a:pt x="274106" y="480362"/>
                  </a:lnTo>
                  <a:close/>
                </a:path>
                <a:path w="2506345" h="4854575" extrusionOk="0">
                  <a:moveTo>
                    <a:pt x="2506290" y="463441"/>
                  </a:moveTo>
                  <a:lnTo>
                    <a:pt x="2483139" y="463441"/>
                  </a:lnTo>
                  <a:lnTo>
                    <a:pt x="2483139" y="509743"/>
                  </a:lnTo>
                  <a:lnTo>
                    <a:pt x="2506290" y="509743"/>
                  </a:lnTo>
                  <a:lnTo>
                    <a:pt x="2506290" y="463441"/>
                  </a:lnTo>
                  <a:close/>
                </a:path>
                <a:path w="2506345" h="4854575" extrusionOk="0">
                  <a:moveTo>
                    <a:pt x="186015" y="448635"/>
                  </a:moveTo>
                  <a:lnTo>
                    <a:pt x="179334" y="470823"/>
                  </a:lnTo>
                  <a:lnTo>
                    <a:pt x="190256" y="474205"/>
                  </a:lnTo>
                  <a:lnTo>
                    <a:pt x="201112" y="477715"/>
                  </a:lnTo>
                  <a:lnTo>
                    <a:pt x="211904" y="481363"/>
                  </a:lnTo>
                  <a:lnTo>
                    <a:pt x="222631" y="485158"/>
                  </a:lnTo>
                  <a:lnTo>
                    <a:pt x="230453" y="463357"/>
                  </a:lnTo>
                  <a:lnTo>
                    <a:pt x="219446" y="459459"/>
                  </a:lnTo>
                  <a:lnTo>
                    <a:pt x="208368" y="455709"/>
                  </a:lnTo>
                  <a:lnTo>
                    <a:pt x="197223" y="452103"/>
                  </a:lnTo>
                  <a:lnTo>
                    <a:pt x="186015" y="448635"/>
                  </a:lnTo>
                  <a:close/>
                </a:path>
                <a:path w="2506345" h="4854575" extrusionOk="0">
                  <a:moveTo>
                    <a:pt x="94845" y="426343"/>
                  </a:moveTo>
                  <a:lnTo>
                    <a:pt x="90552" y="449096"/>
                  </a:lnTo>
                  <a:lnTo>
                    <a:pt x="101815" y="451310"/>
                  </a:lnTo>
                  <a:lnTo>
                    <a:pt x="113008" y="453656"/>
                  </a:lnTo>
                  <a:lnTo>
                    <a:pt x="124140" y="456143"/>
                  </a:lnTo>
                  <a:lnTo>
                    <a:pt x="135221" y="458781"/>
                  </a:lnTo>
                  <a:lnTo>
                    <a:pt x="140760" y="436290"/>
                  </a:lnTo>
                  <a:lnTo>
                    <a:pt x="129364" y="433594"/>
                  </a:lnTo>
                  <a:lnTo>
                    <a:pt x="117916" y="431037"/>
                  </a:lnTo>
                  <a:lnTo>
                    <a:pt x="106411" y="428620"/>
                  </a:lnTo>
                  <a:lnTo>
                    <a:pt x="94845" y="426343"/>
                  </a:lnTo>
                  <a:close/>
                </a:path>
                <a:path w="2506345" h="4854575" extrusionOk="0">
                  <a:moveTo>
                    <a:pt x="1832" y="413809"/>
                  </a:moveTo>
                  <a:lnTo>
                    <a:pt x="0" y="436939"/>
                  </a:lnTo>
                  <a:lnTo>
                    <a:pt x="11411" y="437927"/>
                  </a:lnTo>
                  <a:lnTo>
                    <a:pt x="22783" y="439069"/>
                  </a:lnTo>
                  <a:lnTo>
                    <a:pt x="34121" y="440366"/>
                  </a:lnTo>
                  <a:lnTo>
                    <a:pt x="45433" y="441819"/>
                  </a:lnTo>
                  <a:lnTo>
                    <a:pt x="48511" y="418845"/>
                  </a:lnTo>
                  <a:lnTo>
                    <a:pt x="36890" y="417374"/>
                  </a:lnTo>
                  <a:lnTo>
                    <a:pt x="25238" y="416040"/>
                  </a:lnTo>
                  <a:lnTo>
                    <a:pt x="13553" y="414851"/>
                  </a:lnTo>
                  <a:lnTo>
                    <a:pt x="1832" y="413809"/>
                  </a:lnTo>
                  <a:close/>
                </a:path>
                <a:path w="2506345" h="4854575" extrusionOk="0">
                  <a:moveTo>
                    <a:pt x="2506290" y="370763"/>
                  </a:moveTo>
                  <a:lnTo>
                    <a:pt x="2483139" y="370763"/>
                  </a:lnTo>
                  <a:lnTo>
                    <a:pt x="2483139" y="417076"/>
                  </a:lnTo>
                  <a:lnTo>
                    <a:pt x="2506290" y="417076"/>
                  </a:lnTo>
                  <a:lnTo>
                    <a:pt x="2506290" y="370763"/>
                  </a:lnTo>
                  <a:close/>
                </a:path>
                <a:path w="2506345" h="4854575" extrusionOk="0">
                  <a:moveTo>
                    <a:pt x="2506290" y="278085"/>
                  </a:moveTo>
                  <a:lnTo>
                    <a:pt x="2483139" y="278085"/>
                  </a:lnTo>
                  <a:lnTo>
                    <a:pt x="2483139" y="324367"/>
                  </a:lnTo>
                  <a:lnTo>
                    <a:pt x="2506290" y="324367"/>
                  </a:lnTo>
                  <a:lnTo>
                    <a:pt x="2506290" y="278085"/>
                  </a:lnTo>
                  <a:close/>
                </a:path>
                <a:path w="2506345" h="4854575" extrusionOk="0">
                  <a:moveTo>
                    <a:pt x="2506290" y="185376"/>
                  </a:moveTo>
                  <a:lnTo>
                    <a:pt x="2483139" y="185376"/>
                  </a:lnTo>
                  <a:lnTo>
                    <a:pt x="2483139" y="231710"/>
                  </a:lnTo>
                  <a:lnTo>
                    <a:pt x="2506290" y="231710"/>
                  </a:lnTo>
                  <a:lnTo>
                    <a:pt x="2506290" y="185376"/>
                  </a:lnTo>
                  <a:close/>
                </a:path>
                <a:path w="2506345" h="4854575" extrusionOk="0">
                  <a:moveTo>
                    <a:pt x="2506290" y="92688"/>
                  </a:moveTo>
                  <a:lnTo>
                    <a:pt x="2483139" y="92688"/>
                  </a:lnTo>
                  <a:lnTo>
                    <a:pt x="2483139" y="139021"/>
                  </a:lnTo>
                  <a:lnTo>
                    <a:pt x="2506290" y="139021"/>
                  </a:lnTo>
                  <a:lnTo>
                    <a:pt x="2506290" y="92688"/>
                  </a:lnTo>
                  <a:close/>
                </a:path>
                <a:path w="2506345" h="4854575" extrusionOk="0">
                  <a:moveTo>
                    <a:pt x="2506290" y="0"/>
                  </a:moveTo>
                  <a:lnTo>
                    <a:pt x="2483139" y="0"/>
                  </a:lnTo>
                  <a:lnTo>
                    <a:pt x="2483139" y="46333"/>
                  </a:lnTo>
                  <a:lnTo>
                    <a:pt x="2506290" y="46333"/>
                  </a:lnTo>
                  <a:lnTo>
                    <a:pt x="2506290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121;p1"/>
            <p:cNvSpPr/>
            <p:nvPr/>
          </p:nvSpPr>
          <p:spPr>
            <a:xfrm>
              <a:off x="2191839" y="7557906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0" y="0"/>
                  </a:moveTo>
                  <a:lnTo>
                    <a:pt x="0" y="23140"/>
                  </a:lnTo>
                  <a:lnTo>
                    <a:pt x="15277" y="23245"/>
                  </a:lnTo>
                  <a:lnTo>
                    <a:pt x="22826" y="23465"/>
                  </a:lnTo>
                  <a:lnTo>
                    <a:pt x="23465" y="303"/>
                  </a:lnTo>
                  <a:lnTo>
                    <a:pt x="15674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122;p1"/>
            <p:cNvSpPr/>
            <p:nvPr/>
          </p:nvSpPr>
          <p:spPr>
            <a:xfrm>
              <a:off x="4734463" y="1316075"/>
              <a:ext cx="1530350" cy="5761990"/>
            </a:xfrm>
            <a:custGeom>
              <a:avLst/>
              <a:gdLst/>
              <a:ahLst/>
              <a:cxnLst/>
              <a:rect l="l" t="t" r="r" b="b"/>
              <a:pathLst>
                <a:path w="1530350" h="5761990" extrusionOk="0">
                  <a:moveTo>
                    <a:pt x="764856" y="0"/>
                  </a:moveTo>
                  <a:lnTo>
                    <a:pt x="721516" y="1506"/>
                  </a:lnTo>
                  <a:lnTo>
                    <a:pt x="678803" y="5970"/>
                  </a:lnTo>
                  <a:lnTo>
                    <a:pt x="636781" y="13312"/>
                  </a:lnTo>
                  <a:lnTo>
                    <a:pt x="595516" y="23450"/>
                  </a:lnTo>
                  <a:lnTo>
                    <a:pt x="555072" y="36305"/>
                  </a:lnTo>
                  <a:lnTo>
                    <a:pt x="515515" y="51795"/>
                  </a:lnTo>
                  <a:lnTo>
                    <a:pt x="476909" y="69839"/>
                  </a:lnTo>
                  <a:lnTo>
                    <a:pt x="439320" y="90357"/>
                  </a:lnTo>
                  <a:lnTo>
                    <a:pt x="402813" y="113267"/>
                  </a:lnTo>
                  <a:lnTo>
                    <a:pt x="367452" y="138490"/>
                  </a:lnTo>
                  <a:lnTo>
                    <a:pt x="333303" y="165944"/>
                  </a:lnTo>
                  <a:lnTo>
                    <a:pt x="300432" y="195548"/>
                  </a:lnTo>
                  <a:lnTo>
                    <a:pt x="268902" y="227222"/>
                  </a:lnTo>
                  <a:lnTo>
                    <a:pt x="238779" y="260885"/>
                  </a:lnTo>
                  <a:lnTo>
                    <a:pt x="210127" y="296456"/>
                  </a:lnTo>
                  <a:lnTo>
                    <a:pt x="183013" y="333855"/>
                  </a:lnTo>
                  <a:lnTo>
                    <a:pt x="157502" y="373000"/>
                  </a:lnTo>
                  <a:lnTo>
                    <a:pt x="133657" y="413811"/>
                  </a:lnTo>
                  <a:lnTo>
                    <a:pt x="111544" y="456207"/>
                  </a:lnTo>
                  <a:lnTo>
                    <a:pt x="91229" y="500107"/>
                  </a:lnTo>
                  <a:lnTo>
                    <a:pt x="72776" y="545431"/>
                  </a:lnTo>
                  <a:lnTo>
                    <a:pt x="56250" y="592098"/>
                  </a:lnTo>
                  <a:lnTo>
                    <a:pt x="41717" y="640026"/>
                  </a:lnTo>
                  <a:lnTo>
                    <a:pt x="29241" y="689135"/>
                  </a:lnTo>
                  <a:lnTo>
                    <a:pt x="18887" y="739345"/>
                  </a:lnTo>
                  <a:lnTo>
                    <a:pt x="10722" y="790575"/>
                  </a:lnTo>
                  <a:lnTo>
                    <a:pt x="4808" y="842743"/>
                  </a:lnTo>
                  <a:lnTo>
                    <a:pt x="1213" y="895769"/>
                  </a:lnTo>
                  <a:lnTo>
                    <a:pt x="0" y="949573"/>
                  </a:lnTo>
                  <a:lnTo>
                    <a:pt x="0" y="5761447"/>
                  </a:lnTo>
                  <a:lnTo>
                    <a:pt x="46302" y="5761447"/>
                  </a:lnTo>
                  <a:lnTo>
                    <a:pt x="46302" y="949573"/>
                  </a:lnTo>
                  <a:lnTo>
                    <a:pt x="47524" y="896578"/>
                  </a:lnTo>
                  <a:lnTo>
                    <a:pt x="51145" y="844379"/>
                  </a:lnTo>
                  <a:lnTo>
                    <a:pt x="57098" y="793062"/>
                  </a:lnTo>
                  <a:lnTo>
                    <a:pt x="65313" y="742712"/>
                  </a:lnTo>
                  <a:lnTo>
                    <a:pt x="75724" y="693414"/>
                  </a:lnTo>
                  <a:lnTo>
                    <a:pt x="88263" y="645254"/>
                  </a:lnTo>
                  <a:lnTo>
                    <a:pt x="102861" y="598317"/>
                  </a:lnTo>
                  <a:lnTo>
                    <a:pt x="119450" y="552688"/>
                  </a:lnTo>
                  <a:lnTo>
                    <a:pt x="137963" y="508453"/>
                  </a:lnTo>
                  <a:lnTo>
                    <a:pt x="158332" y="465698"/>
                  </a:lnTo>
                  <a:lnTo>
                    <a:pt x="180488" y="424506"/>
                  </a:lnTo>
                  <a:lnTo>
                    <a:pt x="204364" y="384964"/>
                  </a:lnTo>
                  <a:lnTo>
                    <a:pt x="229893" y="347158"/>
                  </a:lnTo>
                  <a:lnTo>
                    <a:pt x="257005" y="311172"/>
                  </a:lnTo>
                  <a:lnTo>
                    <a:pt x="285633" y="277092"/>
                  </a:lnTo>
                  <a:lnTo>
                    <a:pt x="315709" y="245003"/>
                  </a:lnTo>
                  <a:lnTo>
                    <a:pt x="347166" y="214991"/>
                  </a:lnTo>
                  <a:lnTo>
                    <a:pt x="379935" y="187140"/>
                  </a:lnTo>
                  <a:lnTo>
                    <a:pt x="413948" y="161537"/>
                  </a:lnTo>
                  <a:lnTo>
                    <a:pt x="449138" y="138267"/>
                  </a:lnTo>
                  <a:lnTo>
                    <a:pt x="485436" y="117415"/>
                  </a:lnTo>
                  <a:lnTo>
                    <a:pt x="522775" y="99066"/>
                  </a:lnTo>
                  <a:lnTo>
                    <a:pt x="561086" y="83305"/>
                  </a:lnTo>
                  <a:lnTo>
                    <a:pt x="600302" y="70219"/>
                  </a:lnTo>
                  <a:lnTo>
                    <a:pt x="640355" y="59893"/>
                  </a:lnTo>
                  <a:lnTo>
                    <a:pt x="681177" y="52411"/>
                  </a:lnTo>
                  <a:lnTo>
                    <a:pt x="722700" y="47859"/>
                  </a:lnTo>
                  <a:lnTo>
                    <a:pt x="764856" y="46323"/>
                  </a:lnTo>
                  <a:lnTo>
                    <a:pt x="1000226" y="46323"/>
                  </a:lnTo>
                  <a:lnTo>
                    <a:pt x="974642" y="36305"/>
                  </a:lnTo>
                  <a:lnTo>
                    <a:pt x="934196" y="23450"/>
                  </a:lnTo>
                  <a:lnTo>
                    <a:pt x="892930" y="13312"/>
                  </a:lnTo>
                  <a:lnTo>
                    <a:pt x="850908" y="5970"/>
                  </a:lnTo>
                  <a:lnTo>
                    <a:pt x="808195" y="1506"/>
                  </a:lnTo>
                  <a:lnTo>
                    <a:pt x="764856" y="0"/>
                  </a:lnTo>
                  <a:close/>
                </a:path>
                <a:path w="1530350" h="5761990" extrusionOk="0">
                  <a:moveTo>
                    <a:pt x="1000226" y="46323"/>
                  </a:moveTo>
                  <a:lnTo>
                    <a:pt x="764856" y="46323"/>
                  </a:lnTo>
                  <a:lnTo>
                    <a:pt x="807016" y="47859"/>
                  </a:lnTo>
                  <a:lnTo>
                    <a:pt x="848543" y="52411"/>
                  </a:lnTo>
                  <a:lnTo>
                    <a:pt x="889369" y="59893"/>
                  </a:lnTo>
                  <a:lnTo>
                    <a:pt x="929425" y="70219"/>
                  </a:lnTo>
                  <a:lnTo>
                    <a:pt x="968645" y="83305"/>
                  </a:lnTo>
                  <a:lnTo>
                    <a:pt x="1006960" y="99066"/>
                  </a:lnTo>
                  <a:lnTo>
                    <a:pt x="1044301" y="117415"/>
                  </a:lnTo>
                  <a:lnTo>
                    <a:pt x="1080603" y="138267"/>
                  </a:lnTo>
                  <a:lnTo>
                    <a:pt x="1115795" y="161537"/>
                  </a:lnTo>
                  <a:lnTo>
                    <a:pt x="1149811" y="187140"/>
                  </a:lnTo>
                  <a:lnTo>
                    <a:pt x="1182582" y="214991"/>
                  </a:lnTo>
                  <a:lnTo>
                    <a:pt x="1214040" y="245003"/>
                  </a:lnTo>
                  <a:lnTo>
                    <a:pt x="1244119" y="277092"/>
                  </a:lnTo>
                  <a:lnTo>
                    <a:pt x="1272749" y="311172"/>
                  </a:lnTo>
                  <a:lnTo>
                    <a:pt x="1299862" y="347158"/>
                  </a:lnTo>
                  <a:lnTo>
                    <a:pt x="1325392" y="384964"/>
                  </a:lnTo>
                  <a:lnTo>
                    <a:pt x="1349270" y="424506"/>
                  </a:lnTo>
                  <a:lnTo>
                    <a:pt x="1371427" y="465698"/>
                  </a:lnTo>
                  <a:lnTo>
                    <a:pt x="1391797" y="508453"/>
                  </a:lnTo>
                  <a:lnTo>
                    <a:pt x="1410311" y="552688"/>
                  </a:lnTo>
                  <a:lnTo>
                    <a:pt x="1426901" y="598317"/>
                  </a:lnTo>
                  <a:lnTo>
                    <a:pt x="1441500" y="645254"/>
                  </a:lnTo>
                  <a:lnTo>
                    <a:pt x="1454038" y="693414"/>
                  </a:lnTo>
                  <a:lnTo>
                    <a:pt x="1464450" y="742712"/>
                  </a:lnTo>
                  <a:lnTo>
                    <a:pt x="1472666" y="793062"/>
                  </a:lnTo>
                  <a:lnTo>
                    <a:pt x="1478619" y="844379"/>
                  </a:lnTo>
                  <a:lnTo>
                    <a:pt x="1482240" y="896578"/>
                  </a:lnTo>
                  <a:lnTo>
                    <a:pt x="1483462" y="949573"/>
                  </a:lnTo>
                  <a:lnTo>
                    <a:pt x="1483462" y="3495621"/>
                  </a:lnTo>
                  <a:lnTo>
                    <a:pt x="1529785" y="3495621"/>
                  </a:lnTo>
                  <a:lnTo>
                    <a:pt x="1529785" y="949573"/>
                  </a:lnTo>
                  <a:lnTo>
                    <a:pt x="1528572" y="895769"/>
                  </a:lnTo>
                  <a:lnTo>
                    <a:pt x="1524976" y="842743"/>
                  </a:lnTo>
                  <a:lnTo>
                    <a:pt x="1519061" y="790575"/>
                  </a:lnTo>
                  <a:lnTo>
                    <a:pt x="1510893" y="739345"/>
                  </a:lnTo>
                  <a:lnTo>
                    <a:pt x="1500537" y="689135"/>
                  </a:lnTo>
                  <a:lnTo>
                    <a:pt x="1488059" y="640026"/>
                  </a:lnTo>
                  <a:lnTo>
                    <a:pt x="1473523" y="592098"/>
                  </a:lnTo>
                  <a:lnTo>
                    <a:pt x="1456994" y="545431"/>
                  </a:lnTo>
                  <a:lnTo>
                    <a:pt x="1438537" y="500107"/>
                  </a:lnTo>
                  <a:lnTo>
                    <a:pt x="1418218" y="456207"/>
                  </a:lnTo>
                  <a:lnTo>
                    <a:pt x="1396102" y="413811"/>
                  </a:lnTo>
                  <a:lnTo>
                    <a:pt x="1372253" y="373000"/>
                  </a:lnTo>
                  <a:lnTo>
                    <a:pt x="1346737" y="333855"/>
                  </a:lnTo>
                  <a:lnTo>
                    <a:pt x="1319619" y="296456"/>
                  </a:lnTo>
                  <a:lnTo>
                    <a:pt x="1290964" y="260885"/>
                  </a:lnTo>
                  <a:lnTo>
                    <a:pt x="1260837" y="227222"/>
                  </a:lnTo>
                  <a:lnTo>
                    <a:pt x="1229303" y="195548"/>
                  </a:lnTo>
                  <a:lnTo>
                    <a:pt x="1196427" y="165944"/>
                  </a:lnTo>
                  <a:lnTo>
                    <a:pt x="1162275" y="138490"/>
                  </a:lnTo>
                  <a:lnTo>
                    <a:pt x="1126911" y="113267"/>
                  </a:lnTo>
                  <a:lnTo>
                    <a:pt x="1090401" y="90357"/>
                  </a:lnTo>
                  <a:lnTo>
                    <a:pt x="1052809" y="69839"/>
                  </a:lnTo>
                  <a:lnTo>
                    <a:pt x="1014201" y="51795"/>
                  </a:lnTo>
                  <a:lnTo>
                    <a:pt x="1000226" y="46323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123;p1"/>
            <p:cNvSpPr/>
            <p:nvPr/>
          </p:nvSpPr>
          <p:spPr>
            <a:xfrm>
              <a:off x="7395062" y="490431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124;p1"/>
            <p:cNvSpPr/>
            <p:nvPr/>
          </p:nvSpPr>
          <p:spPr>
            <a:xfrm>
              <a:off x="6229496" y="4883076"/>
              <a:ext cx="1188720" cy="1684020"/>
            </a:xfrm>
            <a:custGeom>
              <a:avLst/>
              <a:gdLst/>
              <a:ahLst/>
              <a:cxnLst/>
              <a:rect l="l" t="t" r="r" b="b"/>
              <a:pathLst>
                <a:path w="1188720" h="1684020" extrusionOk="0">
                  <a:moveTo>
                    <a:pt x="578327" y="1660378"/>
                  </a:moveTo>
                  <a:lnTo>
                    <a:pt x="577553" y="1683477"/>
                  </a:lnTo>
                  <a:lnTo>
                    <a:pt x="583259" y="1683686"/>
                  </a:lnTo>
                  <a:lnTo>
                    <a:pt x="588987" y="1683791"/>
                  </a:lnTo>
                  <a:lnTo>
                    <a:pt x="594725" y="1683791"/>
                  </a:lnTo>
                  <a:lnTo>
                    <a:pt x="602430" y="1683731"/>
                  </a:lnTo>
                  <a:lnTo>
                    <a:pt x="610125" y="1683550"/>
                  </a:lnTo>
                  <a:lnTo>
                    <a:pt x="617793" y="1683252"/>
                  </a:lnTo>
                  <a:lnTo>
                    <a:pt x="625415" y="1682838"/>
                  </a:lnTo>
                  <a:lnTo>
                    <a:pt x="624054" y="1660562"/>
                  </a:lnTo>
                  <a:lnTo>
                    <a:pt x="601390" y="1660562"/>
                  </a:lnTo>
                  <a:lnTo>
                    <a:pt x="583479" y="1660535"/>
                  </a:lnTo>
                  <a:lnTo>
                    <a:pt x="578327" y="1660378"/>
                  </a:lnTo>
                  <a:close/>
                </a:path>
                <a:path w="1188720" h="1684020" extrusionOk="0">
                  <a:moveTo>
                    <a:pt x="624001" y="1659708"/>
                  </a:moveTo>
                  <a:lnTo>
                    <a:pt x="616496" y="1660107"/>
                  </a:lnTo>
                  <a:lnTo>
                    <a:pt x="608955" y="1660391"/>
                  </a:lnTo>
                  <a:lnTo>
                    <a:pt x="601390" y="1660562"/>
                  </a:lnTo>
                  <a:lnTo>
                    <a:pt x="624054" y="1660562"/>
                  </a:lnTo>
                  <a:lnTo>
                    <a:pt x="624001" y="1659708"/>
                  </a:lnTo>
                  <a:close/>
                </a:path>
                <a:path w="1188720" h="1684020" extrusionOk="0">
                  <a:moveTo>
                    <a:pt x="487807" y="1648756"/>
                  </a:moveTo>
                  <a:lnTo>
                    <a:pt x="518035" y="1678041"/>
                  </a:lnTo>
                  <a:lnTo>
                    <a:pt x="529826" y="1679708"/>
                  </a:lnTo>
                  <a:lnTo>
                    <a:pt x="532769" y="1656724"/>
                  </a:lnTo>
                  <a:lnTo>
                    <a:pt x="521519" y="1655133"/>
                  </a:lnTo>
                  <a:lnTo>
                    <a:pt x="510252" y="1653270"/>
                  </a:lnTo>
                  <a:lnTo>
                    <a:pt x="499003" y="1651142"/>
                  </a:lnTo>
                  <a:lnTo>
                    <a:pt x="487807" y="1648756"/>
                  </a:lnTo>
                  <a:close/>
                </a:path>
                <a:path w="1188720" h="1684020" extrusionOk="0">
                  <a:moveTo>
                    <a:pt x="714103" y="1645583"/>
                  </a:moveTo>
                  <a:lnTo>
                    <a:pt x="702974" y="1648280"/>
                  </a:lnTo>
                  <a:lnTo>
                    <a:pt x="691799" y="1650714"/>
                  </a:lnTo>
                  <a:lnTo>
                    <a:pt x="680606" y="1652880"/>
                  </a:lnTo>
                  <a:lnTo>
                    <a:pt x="669424" y="1654776"/>
                  </a:lnTo>
                  <a:lnTo>
                    <a:pt x="672995" y="1677676"/>
                  </a:lnTo>
                  <a:lnTo>
                    <a:pt x="684701" y="1675683"/>
                  </a:lnTo>
                  <a:lnTo>
                    <a:pt x="696447" y="1673403"/>
                  </a:lnTo>
                  <a:lnTo>
                    <a:pt x="708181" y="1670845"/>
                  </a:lnTo>
                  <a:lnTo>
                    <a:pt x="719852" y="1668022"/>
                  </a:lnTo>
                  <a:lnTo>
                    <a:pt x="714103" y="1645583"/>
                  </a:lnTo>
                  <a:close/>
                </a:path>
                <a:path w="1188720" h="1684020" extrusionOk="0">
                  <a:moveTo>
                    <a:pt x="400972" y="1620442"/>
                  </a:moveTo>
                  <a:lnTo>
                    <a:pt x="425239" y="1654790"/>
                  </a:lnTo>
                  <a:lnTo>
                    <a:pt x="436541" y="1658609"/>
                  </a:lnTo>
                  <a:lnTo>
                    <a:pt x="443756" y="1636588"/>
                  </a:lnTo>
                  <a:lnTo>
                    <a:pt x="432936" y="1632938"/>
                  </a:lnTo>
                  <a:lnTo>
                    <a:pt x="422175" y="1629018"/>
                  </a:lnTo>
                  <a:lnTo>
                    <a:pt x="411509" y="1624847"/>
                  </a:lnTo>
                  <a:lnTo>
                    <a:pt x="400972" y="1620442"/>
                  </a:lnTo>
                  <a:close/>
                </a:path>
                <a:path w="1188720" h="1684020" extrusionOk="0">
                  <a:moveTo>
                    <a:pt x="800153" y="1614914"/>
                  </a:moveTo>
                  <a:lnTo>
                    <a:pt x="789681" y="1619615"/>
                  </a:lnTo>
                  <a:lnTo>
                    <a:pt x="779107" y="1624078"/>
                  </a:lnTo>
                  <a:lnTo>
                    <a:pt x="768477" y="1628287"/>
                  </a:lnTo>
                  <a:lnTo>
                    <a:pt x="757840" y="1632222"/>
                  </a:lnTo>
                  <a:lnTo>
                    <a:pt x="765599" y="1654054"/>
                  </a:lnTo>
                  <a:lnTo>
                    <a:pt x="776743" y="1649932"/>
                  </a:lnTo>
                  <a:lnTo>
                    <a:pt x="787862" y="1645524"/>
                  </a:lnTo>
                  <a:lnTo>
                    <a:pt x="798920" y="1640847"/>
                  </a:lnTo>
                  <a:lnTo>
                    <a:pt x="809881" y="1635918"/>
                  </a:lnTo>
                  <a:lnTo>
                    <a:pt x="800153" y="1614914"/>
                  </a:lnTo>
                  <a:close/>
                </a:path>
                <a:path w="1188720" h="1684020" extrusionOk="0">
                  <a:moveTo>
                    <a:pt x="320440" y="1577061"/>
                  </a:moveTo>
                  <a:lnTo>
                    <a:pt x="307770" y="1596464"/>
                  </a:lnTo>
                  <a:lnTo>
                    <a:pt x="317915" y="1602936"/>
                  </a:lnTo>
                  <a:lnTo>
                    <a:pt x="328148" y="1609178"/>
                  </a:lnTo>
                  <a:lnTo>
                    <a:pt x="338437" y="1615173"/>
                  </a:lnTo>
                  <a:lnTo>
                    <a:pt x="348753" y="1620903"/>
                  </a:lnTo>
                  <a:lnTo>
                    <a:pt x="359790" y="1600516"/>
                  </a:lnTo>
                  <a:lnTo>
                    <a:pt x="349882" y="1595031"/>
                  </a:lnTo>
                  <a:lnTo>
                    <a:pt x="339993" y="1589276"/>
                  </a:lnTo>
                  <a:lnTo>
                    <a:pt x="330165" y="1583277"/>
                  </a:lnTo>
                  <a:lnTo>
                    <a:pt x="320440" y="1577061"/>
                  </a:lnTo>
                  <a:close/>
                </a:path>
                <a:path w="1188720" h="1684020" extrusionOk="0">
                  <a:moveTo>
                    <a:pt x="879627" y="1569386"/>
                  </a:moveTo>
                  <a:lnTo>
                    <a:pt x="870063" y="1575850"/>
                  </a:lnTo>
                  <a:lnTo>
                    <a:pt x="860387" y="1582098"/>
                  </a:lnTo>
                  <a:lnTo>
                    <a:pt x="850640" y="1588110"/>
                  </a:lnTo>
                  <a:lnTo>
                    <a:pt x="840864" y="1593867"/>
                  </a:lnTo>
                  <a:lnTo>
                    <a:pt x="852361" y="1613961"/>
                  </a:lnTo>
                  <a:lnTo>
                    <a:pt x="862556" y="1607964"/>
                  </a:lnTo>
                  <a:lnTo>
                    <a:pt x="872716" y="1601703"/>
                  </a:lnTo>
                  <a:lnTo>
                    <a:pt x="882806" y="1595197"/>
                  </a:lnTo>
                  <a:lnTo>
                    <a:pt x="892789" y="1588464"/>
                  </a:lnTo>
                  <a:lnTo>
                    <a:pt x="879627" y="1569386"/>
                  </a:lnTo>
                  <a:close/>
                </a:path>
                <a:path w="1188720" h="1684020" extrusionOk="0">
                  <a:moveTo>
                    <a:pt x="248107" y="1520780"/>
                  </a:moveTo>
                  <a:lnTo>
                    <a:pt x="232506" y="1537890"/>
                  </a:lnTo>
                  <a:lnTo>
                    <a:pt x="241390" y="1545854"/>
                  </a:lnTo>
                  <a:lnTo>
                    <a:pt x="250449" y="1553659"/>
                  </a:lnTo>
                  <a:lnTo>
                    <a:pt x="259650" y="1561276"/>
                  </a:lnTo>
                  <a:lnTo>
                    <a:pt x="268965" y="1568674"/>
                  </a:lnTo>
                  <a:lnTo>
                    <a:pt x="283153" y="1550392"/>
                  </a:lnTo>
                  <a:lnTo>
                    <a:pt x="274243" y="1543281"/>
                  </a:lnTo>
                  <a:lnTo>
                    <a:pt x="265410" y="1535959"/>
                  </a:lnTo>
                  <a:lnTo>
                    <a:pt x="256687" y="1528451"/>
                  </a:lnTo>
                  <a:lnTo>
                    <a:pt x="248107" y="1520780"/>
                  </a:lnTo>
                  <a:close/>
                </a:path>
                <a:path w="1188720" h="1684020" extrusionOk="0">
                  <a:moveTo>
                    <a:pt x="950630" y="1511388"/>
                  </a:moveTo>
                  <a:lnTo>
                    <a:pt x="942266" y="1519245"/>
                  </a:lnTo>
                  <a:lnTo>
                    <a:pt x="933722" y="1526953"/>
                  </a:lnTo>
                  <a:lnTo>
                    <a:pt x="925042" y="1534488"/>
                  </a:lnTo>
                  <a:lnTo>
                    <a:pt x="916265" y="1541827"/>
                  </a:lnTo>
                  <a:lnTo>
                    <a:pt x="930966" y="1559743"/>
                  </a:lnTo>
                  <a:lnTo>
                    <a:pt x="940079" y="1552128"/>
                  </a:lnTo>
                  <a:lnTo>
                    <a:pt x="949092" y="1544294"/>
                  </a:lnTo>
                  <a:lnTo>
                    <a:pt x="957967" y="1536282"/>
                  </a:lnTo>
                  <a:lnTo>
                    <a:pt x="966661" y="1528131"/>
                  </a:lnTo>
                  <a:lnTo>
                    <a:pt x="950630" y="1511388"/>
                  </a:lnTo>
                  <a:close/>
                </a:path>
                <a:path w="1188720" h="1684020" extrusionOk="0">
                  <a:moveTo>
                    <a:pt x="185093" y="1453966"/>
                  </a:moveTo>
                  <a:lnTo>
                    <a:pt x="167115" y="1468594"/>
                  </a:lnTo>
                  <a:lnTo>
                    <a:pt x="174753" y="1477770"/>
                  </a:lnTo>
                  <a:lnTo>
                    <a:pt x="182548" y="1486822"/>
                  </a:lnTo>
                  <a:lnTo>
                    <a:pt x="190481" y="1495715"/>
                  </a:lnTo>
                  <a:lnTo>
                    <a:pt x="198538" y="1504414"/>
                  </a:lnTo>
                  <a:lnTo>
                    <a:pt x="215354" y="1488520"/>
                  </a:lnTo>
                  <a:lnTo>
                    <a:pt x="207604" y="1480143"/>
                  </a:lnTo>
                  <a:lnTo>
                    <a:pt x="199957" y="1471572"/>
                  </a:lnTo>
                  <a:lnTo>
                    <a:pt x="192443" y="1462837"/>
                  </a:lnTo>
                  <a:lnTo>
                    <a:pt x="185093" y="1453966"/>
                  </a:lnTo>
                  <a:close/>
                </a:path>
                <a:path w="1188720" h="1684020" extrusionOk="0">
                  <a:moveTo>
                    <a:pt x="1012199" y="1443149"/>
                  </a:moveTo>
                  <a:lnTo>
                    <a:pt x="1005032" y="1452195"/>
                  </a:lnTo>
                  <a:lnTo>
                    <a:pt x="997710" y="1461108"/>
                  </a:lnTo>
                  <a:lnTo>
                    <a:pt x="990250" y="1469858"/>
                  </a:lnTo>
                  <a:lnTo>
                    <a:pt x="982671" y="1478415"/>
                  </a:lnTo>
                  <a:lnTo>
                    <a:pt x="999843" y="1493902"/>
                  </a:lnTo>
                  <a:lnTo>
                    <a:pt x="1007714" y="1485046"/>
                  </a:lnTo>
                  <a:lnTo>
                    <a:pt x="1015459" y="1475986"/>
                  </a:lnTo>
                  <a:lnTo>
                    <a:pt x="1023054" y="1466761"/>
                  </a:lnTo>
                  <a:lnTo>
                    <a:pt x="1030471" y="1457411"/>
                  </a:lnTo>
                  <a:lnTo>
                    <a:pt x="1012199" y="1443149"/>
                  </a:lnTo>
                  <a:close/>
                </a:path>
                <a:path w="1188720" h="1684020" extrusionOk="0">
                  <a:moveTo>
                    <a:pt x="132090" y="1378764"/>
                  </a:moveTo>
                  <a:lnTo>
                    <a:pt x="112321" y="1390805"/>
                  </a:lnTo>
                  <a:lnTo>
                    <a:pt x="118568" y="1400906"/>
                  </a:lnTo>
                  <a:lnTo>
                    <a:pt x="125009" y="1410937"/>
                  </a:lnTo>
                  <a:lnTo>
                    <a:pt x="131619" y="1420860"/>
                  </a:lnTo>
                  <a:lnTo>
                    <a:pt x="138372" y="1430637"/>
                  </a:lnTo>
                  <a:lnTo>
                    <a:pt x="157325" y="1417286"/>
                  </a:lnTo>
                  <a:lnTo>
                    <a:pt x="150783" y="1407847"/>
                  </a:lnTo>
                  <a:lnTo>
                    <a:pt x="144389" y="1398265"/>
                  </a:lnTo>
                  <a:lnTo>
                    <a:pt x="138154" y="1388563"/>
                  </a:lnTo>
                  <a:lnTo>
                    <a:pt x="132090" y="1378764"/>
                  </a:lnTo>
                  <a:close/>
                </a:path>
                <a:path w="1188720" h="1684020" extrusionOk="0">
                  <a:moveTo>
                    <a:pt x="1063674" y="1366900"/>
                  </a:moveTo>
                  <a:lnTo>
                    <a:pt x="1057786" y="1376857"/>
                  </a:lnTo>
                  <a:lnTo>
                    <a:pt x="1051731" y="1386701"/>
                  </a:lnTo>
                  <a:lnTo>
                    <a:pt x="1045532" y="1396403"/>
                  </a:lnTo>
                  <a:lnTo>
                    <a:pt x="1039214" y="1405936"/>
                  </a:lnTo>
                  <a:lnTo>
                    <a:pt x="1058428" y="1418888"/>
                  </a:lnTo>
                  <a:lnTo>
                    <a:pt x="1064953" y="1409039"/>
                  </a:lnTo>
                  <a:lnTo>
                    <a:pt x="1071344" y="1399011"/>
                  </a:lnTo>
                  <a:lnTo>
                    <a:pt x="1077594" y="1388843"/>
                  </a:lnTo>
                  <a:lnTo>
                    <a:pt x="1083694" y="1378575"/>
                  </a:lnTo>
                  <a:lnTo>
                    <a:pt x="1063674" y="1366900"/>
                  </a:lnTo>
                  <a:close/>
                </a:path>
                <a:path w="1188720" h="1684020" extrusionOk="0">
                  <a:moveTo>
                    <a:pt x="89473" y="1297133"/>
                  </a:moveTo>
                  <a:lnTo>
                    <a:pt x="68312" y="1306536"/>
                  </a:lnTo>
                  <a:lnTo>
                    <a:pt x="73235" y="1317424"/>
                  </a:lnTo>
                  <a:lnTo>
                    <a:pt x="78315" y="1328192"/>
                  </a:lnTo>
                  <a:lnTo>
                    <a:pt x="83550" y="1338839"/>
                  </a:lnTo>
                  <a:lnTo>
                    <a:pt x="88939" y="1349362"/>
                  </a:lnTo>
                  <a:lnTo>
                    <a:pt x="109452" y="1338629"/>
                  </a:lnTo>
                  <a:lnTo>
                    <a:pt x="104238" y="1328436"/>
                  </a:lnTo>
                  <a:lnTo>
                    <a:pt x="99160" y="1318120"/>
                  </a:lnTo>
                  <a:lnTo>
                    <a:pt x="94234" y="1307685"/>
                  </a:lnTo>
                  <a:lnTo>
                    <a:pt x="89473" y="1297133"/>
                  </a:lnTo>
                  <a:close/>
                </a:path>
                <a:path w="1188720" h="1684020" extrusionOk="0">
                  <a:moveTo>
                    <a:pt x="1104762" y="1284463"/>
                  </a:moveTo>
                  <a:lnTo>
                    <a:pt x="1100168" y="1295093"/>
                  </a:lnTo>
                  <a:lnTo>
                    <a:pt x="1095432" y="1305621"/>
                  </a:lnTo>
                  <a:lnTo>
                    <a:pt x="1090555" y="1316040"/>
                  </a:lnTo>
                  <a:lnTo>
                    <a:pt x="1085537" y="1326347"/>
                  </a:lnTo>
                  <a:lnTo>
                    <a:pt x="1106259" y="1336650"/>
                  </a:lnTo>
                  <a:lnTo>
                    <a:pt x="1111435" y="1326027"/>
                  </a:lnTo>
                  <a:lnTo>
                    <a:pt x="1116466" y="1315284"/>
                  </a:lnTo>
                  <a:lnTo>
                    <a:pt x="1121343" y="1304423"/>
                  </a:lnTo>
                  <a:lnTo>
                    <a:pt x="1126059" y="1293447"/>
                  </a:lnTo>
                  <a:lnTo>
                    <a:pt x="1104762" y="1284463"/>
                  </a:lnTo>
                  <a:close/>
                </a:path>
                <a:path w="1188720" h="1684020" extrusionOk="0">
                  <a:moveTo>
                    <a:pt x="57359" y="1210717"/>
                  </a:moveTo>
                  <a:lnTo>
                    <a:pt x="35203" y="1217481"/>
                  </a:lnTo>
                  <a:lnTo>
                    <a:pt x="38745" y="1228874"/>
                  </a:lnTo>
                  <a:lnTo>
                    <a:pt x="42458" y="1240172"/>
                  </a:lnTo>
                  <a:lnTo>
                    <a:pt x="46333" y="1251378"/>
                  </a:lnTo>
                  <a:lnTo>
                    <a:pt x="50364" y="1262495"/>
                  </a:lnTo>
                  <a:lnTo>
                    <a:pt x="72071" y="1254443"/>
                  </a:lnTo>
                  <a:lnTo>
                    <a:pt x="68158" y="1243660"/>
                  </a:lnTo>
                  <a:lnTo>
                    <a:pt x="64401" y="1232780"/>
                  </a:lnTo>
                  <a:lnTo>
                    <a:pt x="60800" y="1221800"/>
                  </a:lnTo>
                  <a:lnTo>
                    <a:pt x="57359" y="1210717"/>
                  </a:lnTo>
                  <a:close/>
                </a:path>
                <a:path w="1188720" h="1684020" extrusionOk="0">
                  <a:moveTo>
                    <a:pt x="1135232" y="1197502"/>
                  </a:moveTo>
                  <a:lnTo>
                    <a:pt x="1132014" y="1208614"/>
                  </a:lnTo>
                  <a:lnTo>
                    <a:pt x="1128617" y="1219643"/>
                  </a:lnTo>
                  <a:lnTo>
                    <a:pt x="1125051" y="1230586"/>
                  </a:lnTo>
                  <a:lnTo>
                    <a:pt x="1121327" y="1241438"/>
                  </a:lnTo>
                  <a:lnTo>
                    <a:pt x="1143158" y="1249134"/>
                  </a:lnTo>
                  <a:lnTo>
                    <a:pt x="1146981" y="1237944"/>
                  </a:lnTo>
                  <a:lnTo>
                    <a:pt x="1150656" y="1226662"/>
                  </a:lnTo>
                  <a:lnTo>
                    <a:pt x="1154181" y="1215293"/>
                  </a:lnTo>
                  <a:lnTo>
                    <a:pt x="1157556" y="1203837"/>
                  </a:lnTo>
                  <a:lnTo>
                    <a:pt x="1135232" y="1197502"/>
                  </a:lnTo>
                  <a:close/>
                </a:path>
                <a:path w="1188720" h="1684020" extrusionOk="0">
                  <a:moveTo>
                    <a:pt x="35779" y="1121044"/>
                  </a:moveTo>
                  <a:lnTo>
                    <a:pt x="12994" y="1125159"/>
                  </a:lnTo>
                  <a:lnTo>
                    <a:pt x="15188" y="1136891"/>
                  </a:lnTo>
                  <a:lnTo>
                    <a:pt x="17536" y="1148554"/>
                  </a:lnTo>
                  <a:lnTo>
                    <a:pt x="20044" y="1160142"/>
                  </a:lnTo>
                  <a:lnTo>
                    <a:pt x="22721" y="1171650"/>
                  </a:lnTo>
                  <a:lnTo>
                    <a:pt x="45223" y="1166205"/>
                  </a:lnTo>
                  <a:lnTo>
                    <a:pt x="42631" y="1155040"/>
                  </a:lnTo>
                  <a:lnTo>
                    <a:pt x="40202" y="1143789"/>
                  </a:lnTo>
                  <a:lnTo>
                    <a:pt x="37923" y="1132456"/>
                  </a:lnTo>
                  <a:lnTo>
                    <a:pt x="35779" y="1121044"/>
                  </a:lnTo>
                  <a:close/>
                </a:path>
                <a:path w="1188720" h="1684020" extrusionOk="0">
                  <a:moveTo>
                    <a:pt x="1155242" y="1107463"/>
                  </a:moveTo>
                  <a:lnTo>
                    <a:pt x="1153298" y="1118885"/>
                  </a:lnTo>
                  <a:lnTo>
                    <a:pt x="1151207" y="1130245"/>
                  </a:lnTo>
                  <a:lnTo>
                    <a:pt x="1148968" y="1141539"/>
                  </a:lnTo>
                  <a:lnTo>
                    <a:pt x="1146582" y="1152760"/>
                  </a:lnTo>
                  <a:lnTo>
                    <a:pt x="1169179" y="1157786"/>
                  </a:lnTo>
                  <a:lnTo>
                    <a:pt x="1171644" y="1146226"/>
                  </a:lnTo>
                  <a:lnTo>
                    <a:pt x="1173952" y="1134589"/>
                  </a:lnTo>
                  <a:lnTo>
                    <a:pt x="1176101" y="1122884"/>
                  </a:lnTo>
                  <a:lnTo>
                    <a:pt x="1178089" y="1111118"/>
                  </a:lnTo>
                  <a:lnTo>
                    <a:pt x="1155242" y="1107463"/>
                  </a:lnTo>
                  <a:close/>
                </a:path>
                <a:path w="1188720" h="1684020" extrusionOk="0">
                  <a:moveTo>
                    <a:pt x="24795" y="1029466"/>
                  </a:moveTo>
                  <a:lnTo>
                    <a:pt x="1664" y="1030921"/>
                  </a:lnTo>
                  <a:lnTo>
                    <a:pt x="2502" y="1042830"/>
                  </a:lnTo>
                  <a:lnTo>
                    <a:pt x="3501" y="1054679"/>
                  </a:lnTo>
                  <a:lnTo>
                    <a:pt x="4655" y="1066466"/>
                  </a:lnTo>
                  <a:lnTo>
                    <a:pt x="5957" y="1078187"/>
                  </a:lnTo>
                  <a:lnTo>
                    <a:pt x="29004" y="1075443"/>
                  </a:lnTo>
                  <a:lnTo>
                    <a:pt x="27694" y="1064032"/>
                  </a:lnTo>
                  <a:lnTo>
                    <a:pt x="26558" y="1052568"/>
                  </a:lnTo>
                  <a:lnTo>
                    <a:pt x="25592" y="1041048"/>
                  </a:lnTo>
                  <a:lnTo>
                    <a:pt x="24795" y="1029466"/>
                  </a:lnTo>
                  <a:close/>
                </a:path>
                <a:path w="1188720" h="1684020" extrusionOk="0">
                  <a:moveTo>
                    <a:pt x="1164687" y="1015654"/>
                  </a:moveTo>
                  <a:lnTo>
                    <a:pt x="1164057" y="1027246"/>
                  </a:lnTo>
                  <a:lnTo>
                    <a:pt x="1163273" y="1038779"/>
                  </a:lnTo>
                  <a:lnTo>
                    <a:pt x="1162339" y="1050257"/>
                  </a:lnTo>
                  <a:lnTo>
                    <a:pt x="1161263" y="1061684"/>
                  </a:lnTo>
                  <a:lnTo>
                    <a:pt x="1184278" y="1064051"/>
                  </a:lnTo>
                  <a:lnTo>
                    <a:pt x="1185422" y="1052299"/>
                  </a:lnTo>
                  <a:lnTo>
                    <a:pt x="1186391" y="1040495"/>
                  </a:lnTo>
                  <a:lnTo>
                    <a:pt x="1187186" y="1028642"/>
                  </a:lnTo>
                  <a:lnTo>
                    <a:pt x="1187806" y="1016743"/>
                  </a:lnTo>
                  <a:lnTo>
                    <a:pt x="1164687" y="1015654"/>
                  </a:lnTo>
                  <a:close/>
                </a:path>
                <a:path w="1188720" h="1684020" extrusionOk="0">
                  <a:moveTo>
                    <a:pt x="23161" y="936557"/>
                  </a:moveTo>
                  <a:lnTo>
                    <a:pt x="0" y="936557"/>
                  </a:lnTo>
                  <a:lnTo>
                    <a:pt x="0" y="983477"/>
                  </a:lnTo>
                  <a:lnTo>
                    <a:pt x="23161" y="983341"/>
                  </a:lnTo>
                  <a:lnTo>
                    <a:pt x="23161" y="936557"/>
                  </a:lnTo>
                  <a:close/>
                </a:path>
                <a:path w="1188720" h="1684020" extrusionOk="0">
                  <a:moveTo>
                    <a:pt x="1188728" y="922537"/>
                  </a:moveTo>
                  <a:lnTo>
                    <a:pt x="1165566" y="922537"/>
                  </a:lnTo>
                  <a:lnTo>
                    <a:pt x="1165566" y="969373"/>
                  </a:lnTo>
                  <a:lnTo>
                    <a:pt x="1188728" y="969373"/>
                  </a:lnTo>
                  <a:lnTo>
                    <a:pt x="1188728" y="922537"/>
                  </a:lnTo>
                  <a:close/>
                </a:path>
                <a:path w="1188720" h="1684020" extrusionOk="0">
                  <a:moveTo>
                    <a:pt x="23161" y="842895"/>
                  </a:moveTo>
                  <a:lnTo>
                    <a:pt x="0" y="842895"/>
                  </a:lnTo>
                  <a:lnTo>
                    <a:pt x="0" y="889763"/>
                  </a:lnTo>
                  <a:lnTo>
                    <a:pt x="23161" y="889763"/>
                  </a:lnTo>
                  <a:lnTo>
                    <a:pt x="23161" y="842895"/>
                  </a:lnTo>
                  <a:close/>
                </a:path>
                <a:path w="1188720" h="1684020" extrusionOk="0">
                  <a:moveTo>
                    <a:pt x="1188728" y="828885"/>
                  </a:moveTo>
                  <a:lnTo>
                    <a:pt x="1165566" y="828885"/>
                  </a:lnTo>
                  <a:lnTo>
                    <a:pt x="1165566" y="875742"/>
                  </a:lnTo>
                  <a:lnTo>
                    <a:pt x="1188728" y="875742"/>
                  </a:lnTo>
                  <a:lnTo>
                    <a:pt x="1188728" y="828885"/>
                  </a:lnTo>
                  <a:close/>
                </a:path>
                <a:path w="1188720" h="1684020" extrusionOk="0">
                  <a:moveTo>
                    <a:pt x="23161" y="749254"/>
                  </a:moveTo>
                  <a:lnTo>
                    <a:pt x="0" y="749254"/>
                  </a:lnTo>
                  <a:lnTo>
                    <a:pt x="0" y="796101"/>
                  </a:lnTo>
                  <a:lnTo>
                    <a:pt x="23161" y="796101"/>
                  </a:lnTo>
                  <a:lnTo>
                    <a:pt x="23161" y="749254"/>
                  </a:lnTo>
                  <a:close/>
                </a:path>
                <a:path w="1188720" h="1684020" extrusionOk="0">
                  <a:moveTo>
                    <a:pt x="1188728" y="735244"/>
                  </a:moveTo>
                  <a:lnTo>
                    <a:pt x="1165566" y="735244"/>
                  </a:lnTo>
                  <a:lnTo>
                    <a:pt x="1165566" y="782059"/>
                  </a:lnTo>
                  <a:lnTo>
                    <a:pt x="1188728" y="782059"/>
                  </a:lnTo>
                  <a:lnTo>
                    <a:pt x="1188728" y="735244"/>
                  </a:lnTo>
                  <a:close/>
                </a:path>
                <a:path w="1188720" h="1684020" extrusionOk="0">
                  <a:moveTo>
                    <a:pt x="23161" y="655624"/>
                  </a:moveTo>
                  <a:lnTo>
                    <a:pt x="0" y="655624"/>
                  </a:lnTo>
                  <a:lnTo>
                    <a:pt x="0" y="702449"/>
                  </a:lnTo>
                  <a:lnTo>
                    <a:pt x="23161" y="702449"/>
                  </a:lnTo>
                  <a:lnTo>
                    <a:pt x="23161" y="655624"/>
                  </a:lnTo>
                  <a:close/>
                </a:path>
                <a:path w="1188720" h="1684020" extrusionOk="0">
                  <a:moveTo>
                    <a:pt x="1188728" y="641582"/>
                  </a:moveTo>
                  <a:lnTo>
                    <a:pt x="1165566" y="641582"/>
                  </a:lnTo>
                  <a:lnTo>
                    <a:pt x="1165566" y="688397"/>
                  </a:lnTo>
                  <a:lnTo>
                    <a:pt x="1188728" y="688397"/>
                  </a:lnTo>
                  <a:lnTo>
                    <a:pt x="1188728" y="641582"/>
                  </a:lnTo>
                  <a:close/>
                </a:path>
                <a:path w="1188720" h="1684020" extrusionOk="0">
                  <a:moveTo>
                    <a:pt x="23161" y="561951"/>
                  </a:moveTo>
                  <a:lnTo>
                    <a:pt x="0" y="561951"/>
                  </a:lnTo>
                  <a:lnTo>
                    <a:pt x="0" y="608777"/>
                  </a:lnTo>
                  <a:lnTo>
                    <a:pt x="23161" y="608777"/>
                  </a:lnTo>
                  <a:lnTo>
                    <a:pt x="23161" y="561951"/>
                  </a:lnTo>
                  <a:close/>
                </a:path>
                <a:path w="1188720" h="1684020" extrusionOk="0">
                  <a:moveTo>
                    <a:pt x="1188728" y="547941"/>
                  </a:moveTo>
                  <a:lnTo>
                    <a:pt x="1165566" y="547941"/>
                  </a:lnTo>
                  <a:lnTo>
                    <a:pt x="1165566" y="594756"/>
                  </a:lnTo>
                  <a:lnTo>
                    <a:pt x="1188728" y="594756"/>
                  </a:lnTo>
                  <a:lnTo>
                    <a:pt x="1188728" y="547941"/>
                  </a:lnTo>
                  <a:close/>
                </a:path>
                <a:path w="1188720" h="1684020" extrusionOk="0">
                  <a:moveTo>
                    <a:pt x="23161" y="468289"/>
                  </a:moveTo>
                  <a:lnTo>
                    <a:pt x="0" y="468289"/>
                  </a:lnTo>
                  <a:lnTo>
                    <a:pt x="0" y="515104"/>
                  </a:lnTo>
                  <a:lnTo>
                    <a:pt x="23161" y="515104"/>
                  </a:lnTo>
                  <a:lnTo>
                    <a:pt x="23161" y="468289"/>
                  </a:lnTo>
                  <a:close/>
                </a:path>
                <a:path w="1188720" h="1684020" extrusionOk="0">
                  <a:moveTo>
                    <a:pt x="1188728" y="454279"/>
                  </a:moveTo>
                  <a:lnTo>
                    <a:pt x="1165566" y="454279"/>
                  </a:lnTo>
                  <a:lnTo>
                    <a:pt x="1165566" y="501105"/>
                  </a:lnTo>
                  <a:lnTo>
                    <a:pt x="1188728" y="501105"/>
                  </a:lnTo>
                  <a:lnTo>
                    <a:pt x="1188728" y="454279"/>
                  </a:lnTo>
                  <a:close/>
                </a:path>
                <a:path w="1188720" h="1684020" extrusionOk="0">
                  <a:moveTo>
                    <a:pt x="23161" y="374648"/>
                  </a:moveTo>
                  <a:lnTo>
                    <a:pt x="0" y="374648"/>
                  </a:lnTo>
                  <a:lnTo>
                    <a:pt x="0" y="421453"/>
                  </a:lnTo>
                  <a:lnTo>
                    <a:pt x="23161" y="421453"/>
                  </a:lnTo>
                  <a:lnTo>
                    <a:pt x="23161" y="374648"/>
                  </a:lnTo>
                  <a:close/>
                </a:path>
                <a:path w="1188720" h="1684020" extrusionOk="0">
                  <a:moveTo>
                    <a:pt x="1188728" y="360606"/>
                  </a:moveTo>
                  <a:lnTo>
                    <a:pt x="1165566" y="360606"/>
                  </a:lnTo>
                  <a:lnTo>
                    <a:pt x="1165566" y="407443"/>
                  </a:lnTo>
                  <a:lnTo>
                    <a:pt x="1188728" y="407443"/>
                  </a:lnTo>
                  <a:lnTo>
                    <a:pt x="1188728" y="360606"/>
                  </a:lnTo>
                  <a:close/>
                </a:path>
                <a:path w="1188720" h="1684020" extrusionOk="0">
                  <a:moveTo>
                    <a:pt x="23161" y="280975"/>
                  </a:moveTo>
                  <a:lnTo>
                    <a:pt x="0" y="280975"/>
                  </a:lnTo>
                  <a:lnTo>
                    <a:pt x="0" y="327791"/>
                  </a:lnTo>
                  <a:lnTo>
                    <a:pt x="23161" y="327791"/>
                  </a:lnTo>
                  <a:lnTo>
                    <a:pt x="23161" y="280975"/>
                  </a:lnTo>
                  <a:close/>
                </a:path>
                <a:path w="1188720" h="1684020" extrusionOk="0">
                  <a:moveTo>
                    <a:pt x="1188728" y="266976"/>
                  </a:moveTo>
                  <a:lnTo>
                    <a:pt x="1165566" y="266976"/>
                  </a:lnTo>
                  <a:lnTo>
                    <a:pt x="1165566" y="313791"/>
                  </a:lnTo>
                  <a:lnTo>
                    <a:pt x="1188728" y="313791"/>
                  </a:lnTo>
                  <a:lnTo>
                    <a:pt x="1188728" y="266976"/>
                  </a:lnTo>
                  <a:close/>
                </a:path>
                <a:path w="1188720" h="1684020" extrusionOk="0">
                  <a:moveTo>
                    <a:pt x="23161" y="187313"/>
                  </a:moveTo>
                  <a:lnTo>
                    <a:pt x="0" y="187313"/>
                  </a:lnTo>
                  <a:lnTo>
                    <a:pt x="0" y="234118"/>
                  </a:lnTo>
                  <a:lnTo>
                    <a:pt x="23161" y="234118"/>
                  </a:lnTo>
                  <a:lnTo>
                    <a:pt x="23161" y="187313"/>
                  </a:lnTo>
                  <a:close/>
                </a:path>
                <a:path w="1188720" h="1684020" extrusionOk="0">
                  <a:moveTo>
                    <a:pt x="1188728" y="173303"/>
                  </a:moveTo>
                  <a:lnTo>
                    <a:pt x="1165566" y="173303"/>
                  </a:lnTo>
                  <a:lnTo>
                    <a:pt x="1165566" y="220129"/>
                  </a:lnTo>
                  <a:lnTo>
                    <a:pt x="1188728" y="220129"/>
                  </a:lnTo>
                  <a:lnTo>
                    <a:pt x="1188728" y="173303"/>
                  </a:lnTo>
                  <a:close/>
                </a:path>
                <a:path w="1188720" h="1684020" extrusionOk="0">
                  <a:moveTo>
                    <a:pt x="23161" y="93672"/>
                  </a:moveTo>
                  <a:lnTo>
                    <a:pt x="0" y="93672"/>
                  </a:lnTo>
                  <a:lnTo>
                    <a:pt x="0" y="140487"/>
                  </a:lnTo>
                  <a:lnTo>
                    <a:pt x="23161" y="140487"/>
                  </a:lnTo>
                  <a:lnTo>
                    <a:pt x="23161" y="93672"/>
                  </a:lnTo>
                  <a:close/>
                </a:path>
                <a:path w="1188720" h="1684020" extrusionOk="0">
                  <a:moveTo>
                    <a:pt x="1188728" y="79641"/>
                  </a:moveTo>
                  <a:lnTo>
                    <a:pt x="1165566" y="79641"/>
                  </a:lnTo>
                  <a:lnTo>
                    <a:pt x="1165566" y="126456"/>
                  </a:lnTo>
                  <a:lnTo>
                    <a:pt x="1188728" y="126456"/>
                  </a:lnTo>
                  <a:lnTo>
                    <a:pt x="1188728" y="79641"/>
                  </a:lnTo>
                  <a:close/>
                </a:path>
                <a:path w="1188720" h="1684020" extrusionOk="0">
                  <a:moveTo>
                    <a:pt x="23161" y="0"/>
                  </a:moveTo>
                  <a:lnTo>
                    <a:pt x="0" y="0"/>
                  </a:lnTo>
                  <a:lnTo>
                    <a:pt x="0" y="46867"/>
                  </a:lnTo>
                  <a:lnTo>
                    <a:pt x="23161" y="46867"/>
                  </a:lnTo>
                  <a:lnTo>
                    <a:pt x="23161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125;p1"/>
            <p:cNvSpPr/>
            <p:nvPr/>
          </p:nvSpPr>
          <p:spPr>
            <a:xfrm>
              <a:off x="6229506" y="482326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126;p1"/>
            <p:cNvSpPr/>
            <p:nvPr/>
          </p:nvSpPr>
          <p:spPr>
            <a:xfrm>
              <a:off x="7383481" y="2717529"/>
              <a:ext cx="1987550" cy="2175510"/>
            </a:xfrm>
            <a:custGeom>
              <a:avLst/>
              <a:gdLst/>
              <a:ahLst/>
              <a:cxnLst/>
              <a:rect l="l" t="t" r="r" b="b"/>
              <a:pathLst>
                <a:path w="1987550" h="2175510" extrusionOk="0">
                  <a:moveTo>
                    <a:pt x="1987059" y="0"/>
                  </a:moveTo>
                  <a:lnTo>
                    <a:pt x="949552" y="0"/>
                  </a:lnTo>
                  <a:lnTo>
                    <a:pt x="900762" y="1237"/>
                  </a:lnTo>
                  <a:lnTo>
                    <a:pt x="852603" y="4911"/>
                  </a:lnTo>
                  <a:lnTo>
                    <a:pt x="805138" y="10961"/>
                  </a:lnTo>
                  <a:lnTo>
                    <a:pt x="758424" y="19326"/>
                  </a:lnTo>
                  <a:lnTo>
                    <a:pt x="712523" y="29947"/>
                  </a:lnTo>
                  <a:lnTo>
                    <a:pt x="667495" y="42763"/>
                  </a:lnTo>
                  <a:lnTo>
                    <a:pt x="623399" y="57714"/>
                  </a:lnTo>
                  <a:lnTo>
                    <a:pt x="580296" y="74741"/>
                  </a:lnTo>
                  <a:lnTo>
                    <a:pt x="538246" y="93782"/>
                  </a:lnTo>
                  <a:lnTo>
                    <a:pt x="497310" y="114778"/>
                  </a:lnTo>
                  <a:lnTo>
                    <a:pt x="457546" y="137669"/>
                  </a:lnTo>
                  <a:lnTo>
                    <a:pt x="419016" y="162394"/>
                  </a:lnTo>
                  <a:lnTo>
                    <a:pt x="381779" y="188894"/>
                  </a:lnTo>
                  <a:lnTo>
                    <a:pt x="345896" y="217108"/>
                  </a:lnTo>
                  <a:lnTo>
                    <a:pt x="311426" y="246976"/>
                  </a:lnTo>
                  <a:lnTo>
                    <a:pt x="278431" y="278439"/>
                  </a:lnTo>
                  <a:lnTo>
                    <a:pt x="246969" y="311435"/>
                  </a:lnTo>
                  <a:lnTo>
                    <a:pt x="217101" y="345905"/>
                  </a:lnTo>
                  <a:lnTo>
                    <a:pt x="188888" y="381788"/>
                  </a:lnTo>
                  <a:lnTo>
                    <a:pt x="162389" y="419025"/>
                  </a:lnTo>
                  <a:lnTo>
                    <a:pt x="137664" y="457555"/>
                  </a:lnTo>
                  <a:lnTo>
                    <a:pt x="114774" y="497319"/>
                  </a:lnTo>
                  <a:lnTo>
                    <a:pt x="93778" y="538256"/>
                  </a:lnTo>
                  <a:lnTo>
                    <a:pt x="74738" y="580305"/>
                  </a:lnTo>
                  <a:lnTo>
                    <a:pt x="57712" y="623408"/>
                  </a:lnTo>
                  <a:lnTo>
                    <a:pt x="42761" y="667503"/>
                  </a:lnTo>
                  <a:lnTo>
                    <a:pt x="29946" y="712530"/>
                  </a:lnTo>
                  <a:lnTo>
                    <a:pt x="19325" y="758430"/>
                  </a:lnTo>
                  <a:lnTo>
                    <a:pt x="10960" y="805142"/>
                  </a:lnTo>
                  <a:lnTo>
                    <a:pt x="4911" y="852607"/>
                  </a:lnTo>
                  <a:lnTo>
                    <a:pt x="1237" y="900763"/>
                  </a:lnTo>
                  <a:lnTo>
                    <a:pt x="0" y="949552"/>
                  </a:lnTo>
                  <a:lnTo>
                    <a:pt x="0" y="2175211"/>
                  </a:lnTo>
                  <a:lnTo>
                    <a:pt x="46323" y="2175211"/>
                  </a:lnTo>
                  <a:lnTo>
                    <a:pt x="46323" y="949552"/>
                  </a:lnTo>
                  <a:lnTo>
                    <a:pt x="47577" y="901655"/>
                  </a:lnTo>
                  <a:lnTo>
                    <a:pt x="51299" y="854401"/>
                  </a:lnTo>
                  <a:lnTo>
                    <a:pt x="57424" y="807852"/>
                  </a:lnTo>
                  <a:lnTo>
                    <a:pt x="65891" y="762072"/>
                  </a:lnTo>
                  <a:lnTo>
                    <a:pt x="76635" y="717123"/>
                  </a:lnTo>
                  <a:lnTo>
                    <a:pt x="89596" y="673068"/>
                  </a:lnTo>
                  <a:lnTo>
                    <a:pt x="104708" y="629970"/>
                  </a:lnTo>
                  <a:lnTo>
                    <a:pt x="121910" y="587892"/>
                  </a:lnTo>
                  <a:lnTo>
                    <a:pt x="141139" y="546898"/>
                  </a:lnTo>
                  <a:lnTo>
                    <a:pt x="162331" y="507049"/>
                  </a:lnTo>
                  <a:lnTo>
                    <a:pt x="185424" y="468409"/>
                  </a:lnTo>
                  <a:lnTo>
                    <a:pt x="210355" y="431040"/>
                  </a:lnTo>
                  <a:lnTo>
                    <a:pt x="237061" y="395006"/>
                  </a:lnTo>
                  <a:lnTo>
                    <a:pt x="265478" y="360370"/>
                  </a:lnTo>
                  <a:lnTo>
                    <a:pt x="295545" y="327194"/>
                  </a:lnTo>
                  <a:lnTo>
                    <a:pt x="327198" y="295541"/>
                  </a:lnTo>
                  <a:lnTo>
                    <a:pt x="360374" y="265475"/>
                  </a:lnTo>
                  <a:lnTo>
                    <a:pt x="395011" y="237057"/>
                  </a:lnTo>
                  <a:lnTo>
                    <a:pt x="431045" y="210352"/>
                  </a:lnTo>
                  <a:lnTo>
                    <a:pt x="468413" y="185421"/>
                  </a:lnTo>
                  <a:lnTo>
                    <a:pt x="507053" y="162329"/>
                  </a:lnTo>
                  <a:lnTo>
                    <a:pt x="546902" y="141137"/>
                  </a:lnTo>
                  <a:lnTo>
                    <a:pt x="587897" y="121909"/>
                  </a:lnTo>
                  <a:lnTo>
                    <a:pt x="629974" y="104707"/>
                  </a:lnTo>
                  <a:lnTo>
                    <a:pt x="673072" y="89595"/>
                  </a:lnTo>
                  <a:lnTo>
                    <a:pt x="717126" y="76635"/>
                  </a:lnTo>
                  <a:lnTo>
                    <a:pt x="762075" y="65890"/>
                  </a:lnTo>
                  <a:lnTo>
                    <a:pt x="807854" y="57424"/>
                  </a:lnTo>
                  <a:lnTo>
                    <a:pt x="854402" y="51298"/>
                  </a:lnTo>
                  <a:lnTo>
                    <a:pt x="901656" y="47577"/>
                  </a:lnTo>
                  <a:lnTo>
                    <a:pt x="949552" y="46323"/>
                  </a:lnTo>
                  <a:lnTo>
                    <a:pt x="1987059" y="46323"/>
                  </a:lnTo>
                  <a:lnTo>
                    <a:pt x="1987059" y="31716"/>
                  </a:lnTo>
                  <a:lnTo>
                    <a:pt x="1962934" y="31716"/>
                  </a:lnTo>
                  <a:lnTo>
                    <a:pt x="1962934" y="8565"/>
                  </a:lnTo>
                  <a:lnTo>
                    <a:pt x="1987059" y="8565"/>
                  </a:lnTo>
                  <a:lnTo>
                    <a:pt x="1987059" y="0"/>
                  </a:lnTo>
                  <a:close/>
                </a:path>
                <a:path w="1987550" h="2175510" extrusionOk="0">
                  <a:moveTo>
                    <a:pt x="1987059" y="8565"/>
                  </a:moveTo>
                  <a:lnTo>
                    <a:pt x="1986117" y="8565"/>
                  </a:lnTo>
                  <a:lnTo>
                    <a:pt x="1986117" y="31716"/>
                  </a:lnTo>
                  <a:lnTo>
                    <a:pt x="1987059" y="31716"/>
                  </a:lnTo>
                  <a:lnTo>
                    <a:pt x="1987059" y="8565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127;p1"/>
            <p:cNvSpPr/>
            <p:nvPr/>
          </p:nvSpPr>
          <p:spPr>
            <a:xfrm>
              <a:off x="1448563" y="3965177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615" y="0"/>
                  </a:moveTo>
                  <a:lnTo>
                    <a:pt x="184935" y="4704"/>
                  </a:lnTo>
                  <a:lnTo>
                    <a:pt x="141458" y="18199"/>
                  </a:lnTo>
                  <a:lnTo>
                    <a:pt x="102115" y="39551"/>
                  </a:lnTo>
                  <a:lnTo>
                    <a:pt x="67836" y="67831"/>
                  </a:lnTo>
                  <a:lnTo>
                    <a:pt x="39555" y="102108"/>
                  </a:lnTo>
                  <a:lnTo>
                    <a:pt x="18200" y="141449"/>
                  </a:lnTo>
                  <a:lnTo>
                    <a:pt x="4705" y="184925"/>
                  </a:lnTo>
                  <a:lnTo>
                    <a:pt x="0" y="231605"/>
                  </a:lnTo>
                  <a:lnTo>
                    <a:pt x="4705" y="278281"/>
                  </a:lnTo>
                  <a:lnTo>
                    <a:pt x="18200" y="321755"/>
                  </a:lnTo>
                  <a:lnTo>
                    <a:pt x="39555" y="361095"/>
                  </a:lnTo>
                  <a:lnTo>
                    <a:pt x="67836" y="395370"/>
                  </a:lnTo>
                  <a:lnTo>
                    <a:pt x="102115" y="423649"/>
                  </a:lnTo>
                  <a:lnTo>
                    <a:pt x="141458" y="445001"/>
                  </a:lnTo>
                  <a:lnTo>
                    <a:pt x="184935" y="458495"/>
                  </a:lnTo>
                  <a:lnTo>
                    <a:pt x="231615" y="463200"/>
                  </a:lnTo>
                  <a:lnTo>
                    <a:pt x="278286" y="458495"/>
                  </a:lnTo>
                  <a:lnTo>
                    <a:pt x="321756" y="445001"/>
                  </a:lnTo>
                  <a:lnTo>
                    <a:pt x="361096" y="423649"/>
                  </a:lnTo>
                  <a:lnTo>
                    <a:pt x="395372" y="395370"/>
                  </a:lnTo>
                  <a:lnTo>
                    <a:pt x="423654" y="361095"/>
                  </a:lnTo>
                  <a:lnTo>
                    <a:pt x="445009" y="321755"/>
                  </a:lnTo>
                  <a:lnTo>
                    <a:pt x="458505" y="278281"/>
                  </a:lnTo>
                  <a:lnTo>
                    <a:pt x="463211" y="231605"/>
                  </a:lnTo>
                  <a:lnTo>
                    <a:pt x="458505" y="184925"/>
                  </a:lnTo>
                  <a:lnTo>
                    <a:pt x="445009" y="141449"/>
                  </a:lnTo>
                  <a:lnTo>
                    <a:pt x="423654" y="102108"/>
                  </a:lnTo>
                  <a:lnTo>
                    <a:pt x="395372" y="67831"/>
                  </a:lnTo>
                  <a:lnTo>
                    <a:pt x="361096" y="39551"/>
                  </a:lnTo>
                  <a:lnTo>
                    <a:pt x="321756" y="18199"/>
                  </a:lnTo>
                  <a:lnTo>
                    <a:pt x="278286" y="4704"/>
                  </a:lnTo>
                  <a:lnTo>
                    <a:pt x="231615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128;p1"/>
            <p:cNvSpPr/>
            <p:nvPr/>
          </p:nvSpPr>
          <p:spPr>
            <a:xfrm>
              <a:off x="12659907" y="342089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129;p1"/>
            <p:cNvSpPr/>
            <p:nvPr/>
          </p:nvSpPr>
          <p:spPr>
            <a:xfrm>
              <a:off x="9418592" y="0"/>
              <a:ext cx="3264535" cy="3363595"/>
            </a:xfrm>
            <a:custGeom>
              <a:avLst/>
              <a:gdLst/>
              <a:ahLst/>
              <a:cxnLst/>
              <a:rect l="l" t="t" r="r" b="b"/>
              <a:pathLst>
                <a:path w="3264534" h="3363595" extrusionOk="0">
                  <a:moveTo>
                    <a:pt x="3264476" y="3316988"/>
                  </a:moveTo>
                  <a:lnTo>
                    <a:pt x="3241314" y="3316988"/>
                  </a:lnTo>
                  <a:lnTo>
                    <a:pt x="3241314" y="3363154"/>
                  </a:lnTo>
                  <a:lnTo>
                    <a:pt x="3264476" y="3363154"/>
                  </a:lnTo>
                  <a:lnTo>
                    <a:pt x="3264476" y="3316988"/>
                  </a:lnTo>
                  <a:close/>
                </a:path>
                <a:path w="3264534" h="3363595" extrusionOk="0">
                  <a:moveTo>
                    <a:pt x="3264476" y="3224687"/>
                  </a:moveTo>
                  <a:lnTo>
                    <a:pt x="3241314" y="3224687"/>
                  </a:lnTo>
                  <a:lnTo>
                    <a:pt x="3241314" y="3270832"/>
                  </a:lnTo>
                  <a:lnTo>
                    <a:pt x="3264476" y="3270832"/>
                  </a:lnTo>
                  <a:lnTo>
                    <a:pt x="3264476" y="3224687"/>
                  </a:lnTo>
                  <a:close/>
                </a:path>
                <a:path w="3264534" h="3363595" extrusionOk="0">
                  <a:moveTo>
                    <a:pt x="3264476" y="3132333"/>
                  </a:moveTo>
                  <a:lnTo>
                    <a:pt x="3241314" y="3132333"/>
                  </a:lnTo>
                  <a:lnTo>
                    <a:pt x="3241314" y="3178489"/>
                  </a:lnTo>
                  <a:lnTo>
                    <a:pt x="3264476" y="3178489"/>
                  </a:lnTo>
                  <a:lnTo>
                    <a:pt x="3264476" y="3132333"/>
                  </a:lnTo>
                  <a:close/>
                </a:path>
                <a:path w="3264534" h="3363595" extrusionOk="0">
                  <a:moveTo>
                    <a:pt x="3264476" y="3039980"/>
                  </a:moveTo>
                  <a:lnTo>
                    <a:pt x="3241314" y="3039980"/>
                  </a:lnTo>
                  <a:lnTo>
                    <a:pt x="3241314" y="3086146"/>
                  </a:lnTo>
                  <a:lnTo>
                    <a:pt x="3264476" y="3086146"/>
                  </a:lnTo>
                  <a:lnTo>
                    <a:pt x="3264476" y="3039980"/>
                  </a:lnTo>
                  <a:close/>
                </a:path>
                <a:path w="3264534" h="3363595" extrusionOk="0">
                  <a:moveTo>
                    <a:pt x="3264476" y="2947658"/>
                  </a:moveTo>
                  <a:lnTo>
                    <a:pt x="3241314" y="2947658"/>
                  </a:lnTo>
                  <a:lnTo>
                    <a:pt x="3241314" y="2993825"/>
                  </a:lnTo>
                  <a:lnTo>
                    <a:pt x="3264476" y="2993825"/>
                  </a:lnTo>
                  <a:lnTo>
                    <a:pt x="3264476" y="2947658"/>
                  </a:lnTo>
                  <a:close/>
                </a:path>
                <a:path w="3264534" h="3363595" extrusionOk="0">
                  <a:moveTo>
                    <a:pt x="3264476" y="2855326"/>
                  </a:moveTo>
                  <a:lnTo>
                    <a:pt x="3241314" y="2855326"/>
                  </a:lnTo>
                  <a:lnTo>
                    <a:pt x="3241314" y="2901503"/>
                  </a:lnTo>
                  <a:lnTo>
                    <a:pt x="3264476" y="2901503"/>
                  </a:lnTo>
                  <a:lnTo>
                    <a:pt x="3264476" y="2855326"/>
                  </a:lnTo>
                  <a:close/>
                </a:path>
                <a:path w="3264534" h="3363595" extrusionOk="0">
                  <a:moveTo>
                    <a:pt x="3264476" y="2763004"/>
                  </a:moveTo>
                  <a:lnTo>
                    <a:pt x="3241314" y="2763004"/>
                  </a:lnTo>
                  <a:lnTo>
                    <a:pt x="3241314" y="2809171"/>
                  </a:lnTo>
                  <a:lnTo>
                    <a:pt x="3264476" y="2809171"/>
                  </a:lnTo>
                  <a:lnTo>
                    <a:pt x="3264476" y="2763004"/>
                  </a:lnTo>
                  <a:close/>
                </a:path>
                <a:path w="3264534" h="3363595" extrusionOk="0">
                  <a:moveTo>
                    <a:pt x="598871" y="2726074"/>
                  </a:moveTo>
                  <a:lnTo>
                    <a:pt x="553993" y="2726074"/>
                  </a:lnTo>
                  <a:lnTo>
                    <a:pt x="553993" y="2749235"/>
                  </a:lnTo>
                  <a:lnTo>
                    <a:pt x="600170" y="2749267"/>
                  </a:lnTo>
                  <a:lnTo>
                    <a:pt x="598871" y="2726074"/>
                  </a:lnTo>
                  <a:close/>
                </a:path>
                <a:path w="3264534" h="3363595" extrusionOk="0">
                  <a:moveTo>
                    <a:pt x="507837" y="2726074"/>
                  </a:moveTo>
                  <a:lnTo>
                    <a:pt x="461671" y="2726074"/>
                  </a:lnTo>
                  <a:lnTo>
                    <a:pt x="461671" y="2749235"/>
                  </a:lnTo>
                  <a:lnTo>
                    <a:pt x="507837" y="2749235"/>
                  </a:lnTo>
                  <a:lnTo>
                    <a:pt x="507837" y="2726074"/>
                  </a:lnTo>
                  <a:close/>
                </a:path>
                <a:path w="3264534" h="3363595" extrusionOk="0">
                  <a:moveTo>
                    <a:pt x="415484" y="2726074"/>
                  </a:moveTo>
                  <a:lnTo>
                    <a:pt x="369329" y="2726074"/>
                  </a:lnTo>
                  <a:lnTo>
                    <a:pt x="369329" y="2749235"/>
                  </a:lnTo>
                  <a:lnTo>
                    <a:pt x="415484" y="2749235"/>
                  </a:lnTo>
                  <a:lnTo>
                    <a:pt x="415484" y="2726074"/>
                  </a:lnTo>
                  <a:close/>
                </a:path>
                <a:path w="3264534" h="3363595" extrusionOk="0">
                  <a:moveTo>
                    <a:pt x="323173" y="2726074"/>
                  </a:moveTo>
                  <a:lnTo>
                    <a:pt x="277017" y="2726074"/>
                  </a:lnTo>
                  <a:lnTo>
                    <a:pt x="277017" y="2749235"/>
                  </a:lnTo>
                  <a:lnTo>
                    <a:pt x="323173" y="2749235"/>
                  </a:lnTo>
                  <a:lnTo>
                    <a:pt x="323173" y="2726074"/>
                  </a:lnTo>
                  <a:close/>
                </a:path>
                <a:path w="3264534" h="3363595" extrusionOk="0">
                  <a:moveTo>
                    <a:pt x="230862" y="2726074"/>
                  </a:moveTo>
                  <a:lnTo>
                    <a:pt x="184643" y="2726074"/>
                  </a:lnTo>
                  <a:lnTo>
                    <a:pt x="184643" y="2749235"/>
                  </a:lnTo>
                  <a:lnTo>
                    <a:pt x="230862" y="2749235"/>
                  </a:lnTo>
                  <a:lnTo>
                    <a:pt x="230862" y="2726074"/>
                  </a:lnTo>
                  <a:close/>
                </a:path>
                <a:path w="3264534" h="3363595" extrusionOk="0">
                  <a:moveTo>
                    <a:pt x="138508" y="2726074"/>
                  </a:moveTo>
                  <a:lnTo>
                    <a:pt x="92321" y="2726074"/>
                  </a:lnTo>
                  <a:lnTo>
                    <a:pt x="92321" y="2749235"/>
                  </a:lnTo>
                  <a:lnTo>
                    <a:pt x="138508" y="2749235"/>
                  </a:lnTo>
                  <a:lnTo>
                    <a:pt x="138508" y="2726074"/>
                  </a:lnTo>
                  <a:close/>
                </a:path>
                <a:path w="3264534" h="3363595" extrusionOk="0">
                  <a:moveTo>
                    <a:pt x="46197" y="2726074"/>
                  </a:moveTo>
                  <a:lnTo>
                    <a:pt x="0" y="2726074"/>
                  </a:lnTo>
                  <a:lnTo>
                    <a:pt x="0" y="2749235"/>
                  </a:lnTo>
                  <a:lnTo>
                    <a:pt x="46197" y="2749235"/>
                  </a:lnTo>
                  <a:lnTo>
                    <a:pt x="46197" y="2726074"/>
                  </a:lnTo>
                  <a:close/>
                </a:path>
                <a:path w="3264534" h="3363595" extrusionOk="0">
                  <a:moveTo>
                    <a:pt x="689696" y="2717477"/>
                  </a:moveTo>
                  <a:lnTo>
                    <a:pt x="678622" y="2719447"/>
                  </a:lnTo>
                  <a:lnTo>
                    <a:pt x="667467" y="2721172"/>
                  </a:lnTo>
                  <a:lnTo>
                    <a:pt x="656275" y="2722644"/>
                  </a:lnTo>
                  <a:lnTo>
                    <a:pt x="645090" y="2723854"/>
                  </a:lnTo>
                  <a:lnTo>
                    <a:pt x="647362" y="2746963"/>
                  </a:lnTo>
                  <a:lnTo>
                    <a:pt x="659045" y="2745671"/>
                  </a:lnTo>
                  <a:lnTo>
                    <a:pt x="670741" y="2744111"/>
                  </a:lnTo>
                  <a:lnTo>
                    <a:pt x="682410" y="2742294"/>
                  </a:lnTo>
                  <a:lnTo>
                    <a:pt x="694010" y="2740230"/>
                  </a:lnTo>
                  <a:lnTo>
                    <a:pt x="689696" y="2717477"/>
                  </a:lnTo>
                  <a:close/>
                </a:path>
                <a:path w="3264534" h="3363595" extrusionOk="0">
                  <a:moveTo>
                    <a:pt x="776185" y="2692556"/>
                  </a:moveTo>
                  <a:lnTo>
                    <a:pt x="765533" y="2696560"/>
                  </a:lnTo>
                  <a:lnTo>
                    <a:pt x="754839" y="2700305"/>
                  </a:lnTo>
                  <a:lnTo>
                    <a:pt x="744143" y="2703782"/>
                  </a:lnTo>
                  <a:lnTo>
                    <a:pt x="733485" y="2706985"/>
                  </a:lnTo>
                  <a:lnTo>
                    <a:pt x="739851" y="2729246"/>
                  </a:lnTo>
                  <a:lnTo>
                    <a:pt x="751010" y="2725891"/>
                  </a:lnTo>
                  <a:lnTo>
                    <a:pt x="762207" y="2722256"/>
                  </a:lnTo>
                  <a:lnTo>
                    <a:pt x="773403" y="2718351"/>
                  </a:lnTo>
                  <a:lnTo>
                    <a:pt x="784562" y="2714189"/>
                  </a:lnTo>
                  <a:lnTo>
                    <a:pt x="776185" y="2692556"/>
                  </a:lnTo>
                  <a:close/>
                </a:path>
                <a:path w="3264534" h="3363595" extrusionOk="0">
                  <a:moveTo>
                    <a:pt x="3264476" y="2670683"/>
                  </a:moveTo>
                  <a:lnTo>
                    <a:pt x="3241314" y="2670683"/>
                  </a:lnTo>
                  <a:lnTo>
                    <a:pt x="3241314" y="2716828"/>
                  </a:lnTo>
                  <a:lnTo>
                    <a:pt x="3264476" y="2716828"/>
                  </a:lnTo>
                  <a:lnTo>
                    <a:pt x="3264476" y="2670683"/>
                  </a:lnTo>
                  <a:close/>
                </a:path>
                <a:path w="3264534" h="3363595" extrusionOk="0">
                  <a:moveTo>
                    <a:pt x="857335" y="2653081"/>
                  </a:moveTo>
                  <a:lnTo>
                    <a:pt x="847482" y="2658785"/>
                  </a:lnTo>
                  <a:lnTo>
                    <a:pt x="837549" y="2664273"/>
                  </a:lnTo>
                  <a:lnTo>
                    <a:pt x="827566" y="2669524"/>
                  </a:lnTo>
                  <a:lnTo>
                    <a:pt x="817566" y="2674515"/>
                  </a:lnTo>
                  <a:lnTo>
                    <a:pt x="827702" y="2695300"/>
                  </a:lnTo>
                  <a:lnTo>
                    <a:pt x="838115" y="2690108"/>
                  </a:lnTo>
                  <a:lnTo>
                    <a:pt x="848517" y="2684644"/>
                  </a:lnTo>
                  <a:lnTo>
                    <a:pt x="858870" y="2678927"/>
                  </a:lnTo>
                  <a:lnTo>
                    <a:pt x="869135" y="2672976"/>
                  </a:lnTo>
                  <a:lnTo>
                    <a:pt x="857335" y="2653081"/>
                  </a:lnTo>
                  <a:close/>
                </a:path>
                <a:path w="3264534" h="3363595" extrusionOk="0">
                  <a:moveTo>
                    <a:pt x="931469" y="2601198"/>
                  </a:moveTo>
                  <a:lnTo>
                    <a:pt x="922605" y="2608264"/>
                  </a:lnTo>
                  <a:lnTo>
                    <a:pt x="913601" y="2615184"/>
                  </a:lnTo>
                  <a:lnTo>
                    <a:pt x="904497" y="2621936"/>
                  </a:lnTo>
                  <a:lnTo>
                    <a:pt x="895333" y="2628495"/>
                  </a:lnTo>
                  <a:lnTo>
                    <a:pt x="908642" y="2647448"/>
                  </a:lnTo>
                  <a:lnTo>
                    <a:pt x="918134" y="2640673"/>
                  </a:lnTo>
                  <a:lnTo>
                    <a:pt x="927556" y="2633684"/>
                  </a:lnTo>
                  <a:lnTo>
                    <a:pt x="936882" y="2626506"/>
                  </a:lnTo>
                  <a:lnTo>
                    <a:pt x="946086" y="2619166"/>
                  </a:lnTo>
                  <a:lnTo>
                    <a:pt x="931469" y="2601198"/>
                  </a:lnTo>
                  <a:close/>
                </a:path>
                <a:path w="3264534" h="3363595" extrusionOk="0">
                  <a:moveTo>
                    <a:pt x="3264476" y="2578340"/>
                  </a:moveTo>
                  <a:lnTo>
                    <a:pt x="3241314" y="2578340"/>
                  </a:lnTo>
                  <a:lnTo>
                    <a:pt x="3241314" y="2624516"/>
                  </a:lnTo>
                  <a:lnTo>
                    <a:pt x="3264476" y="2624516"/>
                  </a:lnTo>
                  <a:lnTo>
                    <a:pt x="3264476" y="2578340"/>
                  </a:lnTo>
                  <a:close/>
                </a:path>
                <a:path w="3264534" h="3363595" extrusionOk="0">
                  <a:moveTo>
                    <a:pt x="997927" y="2539420"/>
                  </a:moveTo>
                  <a:lnTo>
                    <a:pt x="990010" y="2547659"/>
                  </a:lnTo>
                  <a:lnTo>
                    <a:pt x="981992" y="2555740"/>
                  </a:lnTo>
                  <a:lnTo>
                    <a:pt x="973889" y="2563658"/>
                  </a:lnTo>
                  <a:lnTo>
                    <a:pt x="965719" y="2571408"/>
                  </a:lnTo>
                  <a:lnTo>
                    <a:pt x="981551" y="2588360"/>
                  </a:lnTo>
                  <a:lnTo>
                    <a:pt x="989968" y="2580351"/>
                  </a:lnTo>
                  <a:lnTo>
                    <a:pt x="998312" y="2572183"/>
                  </a:lnTo>
                  <a:lnTo>
                    <a:pt x="1006574" y="2563850"/>
                  </a:lnTo>
                  <a:lnTo>
                    <a:pt x="1014743" y="2555346"/>
                  </a:lnTo>
                  <a:lnTo>
                    <a:pt x="997927" y="2539420"/>
                  </a:lnTo>
                  <a:close/>
                </a:path>
                <a:path w="3264534" h="3363595" extrusionOk="0">
                  <a:moveTo>
                    <a:pt x="3264476" y="2485997"/>
                  </a:moveTo>
                  <a:lnTo>
                    <a:pt x="3241314" y="2485997"/>
                  </a:lnTo>
                  <a:lnTo>
                    <a:pt x="3241314" y="2532163"/>
                  </a:lnTo>
                  <a:lnTo>
                    <a:pt x="3264476" y="2532163"/>
                  </a:lnTo>
                  <a:lnTo>
                    <a:pt x="3264476" y="2485997"/>
                  </a:lnTo>
                  <a:close/>
                </a:path>
                <a:path w="3264534" h="3363595" extrusionOk="0">
                  <a:moveTo>
                    <a:pt x="1056376" y="2469820"/>
                  </a:moveTo>
                  <a:lnTo>
                    <a:pt x="1049481" y="2478949"/>
                  </a:lnTo>
                  <a:lnTo>
                    <a:pt x="1042473" y="2487932"/>
                  </a:lnTo>
                  <a:lnTo>
                    <a:pt x="1035367" y="2496769"/>
                  </a:lnTo>
                  <a:lnTo>
                    <a:pt x="1028178" y="2505462"/>
                  </a:lnTo>
                  <a:lnTo>
                    <a:pt x="1045947" y="2520352"/>
                  </a:lnTo>
                  <a:lnTo>
                    <a:pt x="1053327" y="2511411"/>
                  </a:lnTo>
                  <a:lnTo>
                    <a:pt x="1060622" y="2502319"/>
                  </a:lnTo>
                  <a:lnTo>
                    <a:pt x="1067845" y="2493073"/>
                  </a:lnTo>
                  <a:lnTo>
                    <a:pt x="1075014" y="2483673"/>
                  </a:lnTo>
                  <a:lnTo>
                    <a:pt x="1056376" y="2469820"/>
                  </a:lnTo>
                  <a:close/>
                </a:path>
                <a:path w="3264534" h="3363595" extrusionOk="0">
                  <a:moveTo>
                    <a:pt x="1107055" y="2394084"/>
                  </a:moveTo>
                  <a:lnTo>
                    <a:pt x="1101108" y="2403895"/>
                  </a:lnTo>
                  <a:lnTo>
                    <a:pt x="1095053" y="2413591"/>
                  </a:lnTo>
                  <a:lnTo>
                    <a:pt x="1088899" y="2423177"/>
                  </a:lnTo>
                  <a:lnTo>
                    <a:pt x="1082658" y="2432658"/>
                  </a:lnTo>
                  <a:lnTo>
                    <a:pt x="1101924" y="2445496"/>
                  </a:lnTo>
                  <a:lnTo>
                    <a:pt x="1108323" y="2435787"/>
                  </a:lnTo>
                  <a:lnTo>
                    <a:pt x="1114633" y="2425966"/>
                  </a:lnTo>
                  <a:lnTo>
                    <a:pt x="1120845" y="2416033"/>
                  </a:lnTo>
                  <a:lnTo>
                    <a:pt x="1126949" y="2405989"/>
                  </a:lnTo>
                  <a:lnTo>
                    <a:pt x="1107055" y="2394084"/>
                  </a:lnTo>
                  <a:close/>
                </a:path>
                <a:path w="3264534" h="3363595" extrusionOk="0">
                  <a:moveTo>
                    <a:pt x="3264476" y="2393675"/>
                  </a:moveTo>
                  <a:lnTo>
                    <a:pt x="3241314" y="2393675"/>
                  </a:lnTo>
                  <a:lnTo>
                    <a:pt x="3241314" y="2439862"/>
                  </a:lnTo>
                  <a:lnTo>
                    <a:pt x="3264476" y="2439862"/>
                  </a:lnTo>
                  <a:lnTo>
                    <a:pt x="3264476" y="2393675"/>
                  </a:lnTo>
                  <a:close/>
                </a:path>
                <a:path w="3264534" h="3363595" extrusionOk="0">
                  <a:moveTo>
                    <a:pt x="1149985" y="2313657"/>
                  </a:moveTo>
                  <a:lnTo>
                    <a:pt x="1144997" y="2323992"/>
                  </a:lnTo>
                  <a:lnTo>
                    <a:pt x="1139920" y="2334223"/>
                  </a:lnTo>
                  <a:lnTo>
                    <a:pt x="1134745" y="2344353"/>
                  </a:lnTo>
                  <a:lnTo>
                    <a:pt x="1129462" y="2354389"/>
                  </a:lnTo>
                  <a:lnTo>
                    <a:pt x="1149881" y="2365310"/>
                  </a:lnTo>
                  <a:lnTo>
                    <a:pt x="1155260" y="2355047"/>
                  </a:lnTo>
                  <a:lnTo>
                    <a:pt x="1160561" y="2344665"/>
                  </a:lnTo>
                  <a:lnTo>
                    <a:pt x="1165783" y="2334171"/>
                  </a:lnTo>
                  <a:lnTo>
                    <a:pt x="1170927" y="2323573"/>
                  </a:lnTo>
                  <a:lnTo>
                    <a:pt x="1149985" y="2313657"/>
                  </a:lnTo>
                  <a:close/>
                </a:path>
                <a:path w="3264534" h="3363595" extrusionOk="0">
                  <a:moveTo>
                    <a:pt x="3264476" y="2301364"/>
                  </a:moveTo>
                  <a:lnTo>
                    <a:pt x="3241314" y="2301364"/>
                  </a:lnTo>
                  <a:lnTo>
                    <a:pt x="3241314" y="2347551"/>
                  </a:lnTo>
                  <a:lnTo>
                    <a:pt x="3264476" y="2347551"/>
                  </a:lnTo>
                  <a:lnTo>
                    <a:pt x="3264476" y="2301364"/>
                  </a:lnTo>
                  <a:close/>
                </a:path>
                <a:path w="3264534" h="3363595" extrusionOk="0">
                  <a:moveTo>
                    <a:pt x="1185482" y="2229544"/>
                  </a:moveTo>
                  <a:lnTo>
                    <a:pt x="1181419" y="2240294"/>
                  </a:lnTo>
                  <a:lnTo>
                    <a:pt x="1177249" y="2250955"/>
                  </a:lnTo>
                  <a:lnTo>
                    <a:pt x="1172980" y="2261517"/>
                  </a:lnTo>
                  <a:lnTo>
                    <a:pt x="1168624" y="2271972"/>
                  </a:lnTo>
                  <a:lnTo>
                    <a:pt x="1189984" y="2280988"/>
                  </a:lnTo>
                  <a:lnTo>
                    <a:pt x="1194464" y="2270279"/>
                  </a:lnTo>
                  <a:lnTo>
                    <a:pt x="1198806" y="2259474"/>
                  </a:lnTo>
                  <a:lnTo>
                    <a:pt x="1203030" y="2248580"/>
                  </a:lnTo>
                  <a:lnTo>
                    <a:pt x="1207156" y="2237607"/>
                  </a:lnTo>
                  <a:lnTo>
                    <a:pt x="1185482" y="2229544"/>
                  </a:lnTo>
                  <a:close/>
                </a:path>
                <a:path w="3264534" h="3363595" extrusionOk="0">
                  <a:moveTo>
                    <a:pt x="3264476" y="2209000"/>
                  </a:moveTo>
                  <a:lnTo>
                    <a:pt x="3241314" y="2209000"/>
                  </a:lnTo>
                  <a:lnTo>
                    <a:pt x="3241314" y="2255187"/>
                  </a:lnTo>
                  <a:lnTo>
                    <a:pt x="3264476" y="2255187"/>
                  </a:lnTo>
                  <a:lnTo>
                    <a:pt x="3264476" y="2209000"/>
                  </a:lnTo>
                  <a:close/>
                </a:path>
                <a:path w="3264534" h="3363595" extrusionOk="0">
                  <a:moveTo>
                    <a:pt x="1213648" y="2142657"/>
                  </a:moveTo>
                  <a:lnTo>
                    <a:pt x="1210527" y="2153697"/>
                  </a:lnTo>
                  <a:lnTo>
                    <a:pt x="1207287" y="2164657"/>
                  </a:lnTo>
                  <a:lnTo>
                    <a:pt x="1203930" y="2175541"/>
                  </a:lnTo>
                  <a:lnTo>
                    <a:pt x="1200455" y="2186352"/>
                  </a:lnTo>
                  <a:lnTo>
                    <a:pt x="1222549" y="2193535"/>
                  </a:lnTo>
                  <a:lnTo>
                    <a:pt x="1226042" y="2182487"/>
                  </a:lnTo>
                  <a:lnTo>
                    <a:pt x="1229446" y="2171364"/>
                  </a:lnTo>
                  <a:lnTo>
                    <a:pt x="1232753" y="2160164"/>
                  </a:lnTo>
                  <a:lnTo>
                    <a:pt x="1235951" y="2148887"/>
                  </a:lnTo>
                  <a:lnTo>
                    <a:pt x="1213648" y="2142657"/>
                  </a:lnTo>
                  <a:close/>
                </a:path>
                <a:path w="3264534" h="3363595" extrusionOk="0">
                  <a:moveTo>
                    <a:pt x="3264476" y="2116679"/>
                  </a:moveTo>
                  <a:lnTo>
                    <a:pt x="3241314" y="2116679"/>
                  </a:lnTo>
                  <a:lnTo>
                    <a:pt x="3241314" y="2162845"/>
                  </a:lnTo>
                  <a:lnTo>
                    <a:pt x="3264476" y="2162845"/>
                  </a:lnTo>
                  <a:lnTo>
                    <a:pt x="3264476" y="2116679"/>
                  </a:lnTo>
                  <a:close/>
                </a:path>
                <a:path w="3264534" h="3363595" extrusionOk="0">
                  <a:moveTo>
                    <a:pt x="1234904" y="2053759"/>
                  </a:moveTo>
                  <a:lnTo>
                    <a:pt x="1232632" y="2064984"/>
                  </a:lnTo>
                  <a:lnTo>
                    <a:pt x="1230232" y="2076182"/>
                  </a:lnTo>
                  <a:lnTo>
                    <a:pt x="1227733" y="2087325"/>
                  </a:lnTo>
                  <a:lnTo>
                    <a:pt x="1225166" y="2098386"/>
                  </a:lnTo>
                  <a:lnTo>
                    <a:pt x="1247679" y="2103789"/>
                  </a:lnTo>
                  <a:lnTo>
                    <a:pt x="1250308" y="2092473"/>
                  </a:lnTo>
                  <a:lnTo>
                    <a:pt x="1252849" y="2081112"/>
                  </a:lnTo>
                  <a:lnTo>
                    <a:pt x="1255291" y="2069707"/>
                  </a:lnTo>
                  <a:lnTo>
                    <a:pt x="1257626" y="2058261"/>
                  </a:lnTo>
                  <a:lnTo>
                    <a:pt x="1234904" y="2053759"/>
                  </a:lnTo>
                  <a:close/>
                </a:path>
                <a:path w="3264534" h="3363595" extrusionOk="0">
                  <a:moveTo>
                    <a:pt x="3264476" y="2024346"/>
                  </a:moveTo>
                  <a:lnTo>
                    <a:pt x="3241314" y="2024346"/>
                  </a:lnTo>
                  <a:lnTo>
                    <a:pt x="3241314" y="2070512"/>
                  </a:lnTo>
                  <a:lnTo>
                    <a:pt x="3264476" y="2070512"/>
                  </a:lnTo>
                  <a:lnTo>
                    <a:pt x="3264476" y="2024346"/>
                  </a:lnTo>
                  <a:close/>
                </a:path>
                <a:path w="3264534" h="3363595" extrusionOk="0">
                  <a:moveTo>
                    <a:pt x="1249249" y="1963395"/>
                  </a:moveTo>
                  <a:lnTo>
                    <a:pt x="1247797" y="1974823"/>
                  </a:lnTo>
                  <a:lnTo>
                    <a:pt x="1246265" y="1986182"/>
                  </a:lnTo>
                  <a:lnTo>
                    <a:pt x="1244655" y="1997483"/>
                  </a:lnTo>
                  <a:lnTo>
                    <a:pt x="1242967" y="2008734"/>
                  </a:lnTo>
                  <a:lnTo>
                    <a:pt x="1265793" y="2012399"/>
                  </a:lnTo>
                  <a:lnTo>
                    <a:pt x="1267557" y="2000914"/>
                  </a:lnTo>
                  <a:lnTo>
                    <a:pt x="1269223" y="1989389"/>
                  </a:lnTo>
                  <a:lnTo>
                    <a:pt x="1270770" y="1977825"/>
                  </a:lnTo>
                  <a:lnTo>
                    <a:pt x="1272181" y="1966222"/>
                  </a:lnTo>
                  <a:lnTo>
                    <a:pt x="1249249" y="1963395"/>
                  </a:lnTo>
                  <a:close/>
                </a:path>
                <a:path w="3264534" h="3363595" extrusionOk="0">
                  <a:moveTo>
                    <a:pt x="3264476" y="1931983"/>
                  </a:moveTo>
                  <a:lnTo>
                    <a:pt x="3241314" y="1931983"/>
                  </a:lnTo>
                  <a:lnTo>
                    <a:pt x="3241314" y="1978159"/>
                  </a:lnTo>
                  <a:lnTo>
                    <a:pt x="3264476" y="1978159"/>
                  </a:lnTo>
                  <a:lnTo>
                    <a:pt x="3264476" y="1931983"/>
                  </a:lnTo>
                  <a:close/>
                </a:path>
                <a:path w="3264534" h="3363595" extrusionOk="0">
                  <a:moveTo>
                    <a:pt x="1256893" y="1872299"/>
                  </a:moveTo>
                  <a:lnTo>
                    <a:pt x="1256332" y="1883761"/>
                  </a:lnTo>
                  <a:lnTo>
                    <a:pt x="1255624" y="1895204"/>
                  </a:lnTo>
                  <a:lnTo>
                    <a:pt x="1254817" y="1906607"/>
                  </a:lnTo>
                  <a:lnTo>
                    <a:pt x="1253961" y="1917952"/>
                  </a:lnTo>
                  <a:lnTo>
                    <a:pt x="1276997" y="1919836"/>
                  </a:lnTo>
                  <a:lnTo>
                    <a:pt x="1277899" y="1908273"/>
                  </a:lnTo>
                  <a:lnTo>
                    <a:pt x="1278712" y="1896669"/>
                  </a:lnTo>
                  <a:lnTo>
                    <a:pt x="1279427" y="1885027"/>
                  </a:lnTo>
                  <a:lnTo>
                    <a:pt x="1280034" y="1873346"/>
                  </a:lnTo>
                  <a:lnTo>
                    <a:pt x="1256893" y="1872299"/>
                  </a:lnTo>
                  <a:close/>
                </a:path>
                <a:path w="3264534" h="3363595" extrusionOk="0">
                  <a:moveTo>
                    <a:pt x="3264476" y="1839629"/>
                  </a:moveTo>
                  <a:lnTo>
                    <a:pt x="3241314" y="1839629"/>
                  </a:lnTo>
                  <a:lnTo>
                    <a:pt x="3241314" y="1885806"/>
                  </a:lnTo>
                  <a:lnTo>
                    <a:pt x="3264476" y="1885806"/>
                  </a:lnTo>
                  <a:lnTo>
                    <a:pt x="3264476" y="1839629"/>
                  </a:lnTo>
                  <a:close/>
                </a:path>
                <a:path w="3264534" h="3363595" extrusionOk="0">
                  <a:moveTo>
                    <a:pt x="1281500" y="1780469"/>
                  </a:moveTo>
                  <a:lnTo>
                    <a:pt x="1258359" y="1780469"/>
                  </a:lnTo>
                  <a:lnTo>
                    <a:pt x="1258254" y="1826541"/>
                  </a:lnTo>
                  <a:lnTo>
                    <a:pt x="1281395" y="1826855"/>
                  </a:lnTo>
                  <a:lnTo>
                    <a:pt x="1281500" y="1780469"/>
                  </a:lnTo>
                  <a:close/>
                </a:path>
                <a:path w="3264534" h="3363595" extrusionOk="0">
                  <a:moveTo>
                    <a:pt x="3264476" y="1747370"/>
                  </a:moveTo>
                  <a:lnTo>
                    <a:pt x="3241314" y="1747370"/>
                  </a:lnTo>
                  <a:lnTo>
                    <a:pt x="3241314" y="1793557"/>
                  </a:lnTo>
                  <a:lnTo>
                    <a:pt x="3264476" y="1793557"/>
                  </a:lnTo>
                  <a:lnTo>
                    <a:pt x="3264476" y="1747370"/>
                  </a:lnTo>
                  <a:close/>
                </a:path>
                <a:path w="3264534" h="3363595" extrusionOk="0">
                  <a:moveTo>
                    <a:pt x="1281500" y="1688220"/>
                  </a:moveTo>
                  <a:lnTo>
                    <a:pt x="1258328" y="1688220"/>
                  </a:lnTo>
                  <a:lnTo>
                    <a:pt x="1258328" y="1734397"/>
                  </a:lnTo>
                  <a:lnTo>
                    <a:pt x="1281500" y="1734397"/>
                  </a:lnTo>
                  <a:lnTo>
                    <a:pt x="1281500" y="1688220"/>
                  </a:lnTo>
                  <a:close/>
                </a:path>
                <a:path w="3264534" h="3363595" extrusionOk="0">
                  <a:moveTo>
                    <a:pt x="3264476" y="1654986"/>
                  </a:moveTo>
                  <a:lnTo>
                    <a:pt x="3241314" y="1654986"/>
                  </a:lnTo>
                  <a:lnTo>
                    <a:pt x="3241314" y="1701204"/>
                  </a:lnTo>
                  <a:lnTo>
                    <a:pt x="3264476" y="1701204"/>
                  </a:lnTo>
                  <a:lnTo>
                    <a:pt x="3264476" y="1654986"/>
                  </a:lnTo>
                  <a:close/>
                </a:path>
                <a:path w="3264534" h="3363595" extrusionOk="0">
                  <a:moveTo>
                    <a:pt x="1281500" y="1595836"/>
                  </a:moveTo>
                  <a:lnTo>
                    <a:pt x="1258328" y="1595836"/>
                  </a:lnTo>
                  <a:lnTo>
                    <a:pt x="1258328" y="1642044"/>
                  </a:lnTo>
                  <a:lnTo>
                    <a:pt x="1281500" y="1642044"/>
                  </a:lnTo>
                  <a:lnTo>
                    <a:pt x="1281500" y="1595836"/>
                  </a:lnTo>
                  <a:close/>
                </a:path>
                <a:path w="3264534" h="3363595" extrusionOk="0">
                  <a:moveTo>
                    <a:pt x="3264476" y="1562685"/>
                  </a:moveTo>
                  <a:lnTo>
                    <a:pt x="3241314" y="1562685"/>
                  </a:lnTo>
                  <a:lnTo>
                    <a:pt x="3241314" y="1608851"/>
                  </a:lnTo>
                  <a:lnTo>
                    <a:pt x="3264476" y="1608851"/>
                  </a:lnTo>
                  <a:lnTo>
                    <a:pt x="3264476" y="1562685"/>
                  </a:lnTo>
                  <a:close/>
                </a:path>
                <a:path w="3264534" h="3363595" extrusionOk="0">
                  <a:moveTo>
                    <a:pt x="1281500" y="1503514"/>
                  </a:moveTo>
                  <a:lnTo>
                    <a:pt x="1258328" y="1503514"/>
                  </a:lnTo>
                  <a:lnTo>
                    <a:pt x="1258328" y="1549691"/>
                  </a:lnTo>
                  <a:lnTo>
                    <a:pt x="1281500" y="1549691"/>
                  </a:lnTo>
                  <a:lnTo>
                    <a:pt x="1281500" y="1503514"/>
                  </a:lnTo>
                  <a:close/>
                </a:path>
                <a:path w="3264534" h="3363595" extrusionOk="0">
                  <a:moveTo>
                    <a:pt x="3264476" y="1470332"/>
                  </a:moveTo>
                  <a:lnTo>
                    <a:pt x="3241314" y="1470332"/>
                  </a:lnTo>
                  <a:lnTo>
                    <a:pt x="3241314" y="1516498"/>
                  </a:lnTo>
                  <a:lnTo>
                    <a:pt x="3264476" y="1516498"/>
                  </a:lnTo>
                  <a:lnTo>
                    <a:pt x="3264476" y="1470332"/>
                  </a:lnTo>
                  <a:close/>
                </a:path>
                <a:path w="3264534" h="3363595" extrusionOk="0">
                  <a:moveTo>
                    <a:pt x="1281500" y="1411265"/>
                  </a:moveTo>
                  <a:lnTo>
                    <a:pt x="1258328" y="1411265"/>
                  </a:lnTo>
                  <a:lnTo>
                    <a:pt x="1258328" y="1457442"/>
                  </a:lnTo>
                  <a:lnTo>
                    <a:pt x="1281500" y="1457442"/>
                  </a:lnTo>
                  <a:lnTo>
                    <a:pt x="1281500" y="1411265"/>
                  </a:lnTo>
                  <a:close/>
                </a:path>
                <a:path w="3264534" h="3363595" extrusionOk="0">
                  <a:moveTo>
                    <a:pt x="3264476" y="1378083"/>
                  </a:moveTo>
                  <a:lnTo>
                    <a:pt x="3241314" y="1378083"/>
                  </a:lnTo>
                  <a:lnTo>
                    <a:pt x="3241314" y="1424249"/>
                  </a:lnTo>
                  <a:lnTo>
                    <a:pt x="3264476" y="1424249"/>
                  </a:lnTo>
                  <a:lnTo>
                    <a:pt x="3264476" y="1378083"/>
                  </a:lnTo>
                  <a:close/>
                </a:path>
                <a:path w="3264534" h="3363595" extrusionOk="0">
                  <a:moveTo>
                    <a:pt x="1281500" y="1318933"/>
                  </a:moveTo>
                  <a:lnTo>
                    <a:pt x="1258328" y="1318933"/>
                  </a:lnTo>
                  <a:lnTo>
                    <a:pt x="1258328" y="1365089"/>
                  </a:lnTo>
                  <a:lnTo>
                    <a:pt x="1281500" y="1365089"/>
                  </a:lnTo>
                  <a:lnTo>
                    <a:pt x="1281500" y="1318933"/>
                  </a:lnTo>
                  <a:close/>
                </a:path>
                <a:path w="3264534" h="3363595" extrusionOk="0">
                  <a:moveTo>
                    <a:pt x="3264476" y="1285751"/>
                  </a:moveTo>
                  <a:lnTo>
                    <a:pt x="3241314" y="1285751"/>
                  </a:lnTo>
                  <a:lnTo>
                    <a:pt x="3241314" y="1331896"/>
                  </a:lnTo>
                  <a:lnTo>
                    <a:pt x="3264476" y="1331896"/>
                  </a:lnTo>
                  <a:lnTo>
                    <a:pt x="3264476" y="1285751"/>
                  </a:lnTo>
                  <a:close/>
                </a:path>
                <a:path w="3264534" h="3363595" extrusionOk="0">
                  <a:moveTo>
                    <a:pt x="1281500" y="1226569"/>
                  </a:moveTo>
                  <a:lnTo>
                    <a:pt x="1258328" y="1226569"/>
                  </a:lnTo>
                  <a:lnTo>
                    <a:pt x="1258328" y="1272736"/>
                  </a:lnTo>
                  <a:lnTo>
                    <a:pt x="1281500" y="1272736"/>
                  </a:lnTo>
                  <a:lnTo>
                    <a:pt x="1281500" y="1226569"/>
                  </a:lnTo>
                  <a:close/>
                </a:path>
                <a:path w="3264534" h="3363595" extrusionOk="0">
                  <a:moveTo>
                    <a:pt x="3264476" y="1193377"/>
                  </a:moveTo>
                  <a:lnTo>
                    <a:pt x="3241314" y="1193377"/>
                  </a:lnTo>
                  <a:lnTo>
                    <a:pt x="3241314" y="1239543"/>
                  </a:lnTo>
                  <a:lnTo>
                    <a:pt x="3264476" y="1239543"/>
                  </a:lnTo>
                  <a:lnTo>
                    <a:pt x="3264476" y="1193377"/>
                  </a:lnTo>
                  <a:close/>
                </a:path>
                <a:path w="3264534" h="3363595" extrusionOk="0">
                  <a:moveTo>
                    <a:pt x="1281500" y="1134216"/>
                  </a:moveTo>
                  <a:lnTo>
                    <a:pt x="1258328" y="1134216"/>
                  </a:lnTo>
                  <a:lnTo>
                    <a:pt x="1258328" y="1180382"/>
                  </a:lnTo>
                  <a:lnTo>
                    <a:pt x="1281500" y="1180382"/>
                  </a:lnTo>
                  <a:lnTo>
                    <a:pt x="1281500" y="1134216"/>
                  </a:lnTo>
                  <a:close/>
                </a:path>
                <a:path w="3264534" h="3363595" extrusionOk="0">
                  <a:moveTo>
                    <a:pt x="3264476" y="1101013"/>
                  </a:moveTo>
                  <a:lnTo>
                    <a:pt x="3241314" y="1101013"/>
                  </a:lnTo>
                  <a:lnTo>
                    <a:pt x="3241314" y="1147190"/>
                  </a:lnTo>
                  <a:lnTo>
                    <a:pt x="3264476" y="1147190"/>
                  </a:lnTo>
                  <a:lnTo>
                    <a:pt x="3264476" y="1101013"/>
                  </a:lnTo>
                  <a:close/>
                </a:path>
                <a:path w="3264534" h="3363595" extrusionOk="0">
                  <a:moveTo>
                    <a:pt x="1281500" y="1041853"/>
                  </a:moveTo>
                  <a:lnTo>
                    <a:pt x="1258328" y="1041853"/>
                  </a:lnTo>
                  <a:lnTo>
                    <a:pt x="1258328" y="1088029"/>
                  </a:lnTo>
                  <a:lnTo>
                    <a:pt x="1281500" y="1088029"/>
                  </a:lnTo>
                  <a:lnTo>
                    <a:pt x="1281500" y="1041853"/>
                  </a:lnTo>
                  <a:close/>
                </a:path>
                <a:path w="3264534" h="3363595" extrusionOk="0">
                  <a:moveTo>
                    <a:pt x="3264476" y="1008733"/>
                  </a:moveTo>
                  <a:lnTo>
                    <a:pt x="3241314" y="1008733"/>
                  </a:lnTo>
                  <a:lnTo>
                    <a:pt x="3241314" y="1054941"/>
                  </a:lnTo>
                  <a:lnTo>
                    <a:pt x="3264476" y="1054941"/>
                  </a:lnTo>
                  <a:lnTo>
                    <a:pt x="3264476" y="1008733"/>
                  </a:lnTo>
                  <a:close/>
                </a:path>
                <a:path w="3264534" h="3363595" extrusionOk="0">
                  <a:moveTo>
                    <a:pt x="1281500" y="949510"/>
                  </a:moveTo>
                  <a:lnTo>
                    <a:pt x="1258328" y="949510"/>
                  </a:lnTo>
                  <a:lnTo>
                    <a:pt x="1258328" y="995676"/>
                  </a:lnTo>
                  <a:lnTo>
                    <a:pt x="1281500" y="995676"/>
                  </a:lnTo>
                  <a:lnTo>
                    <a:pt x="1281500" y="949510"/>
                  </a:lnTo>
                  <a:close/>
                </a:path>
                <a:path w="3264534" h="3363595" extrusionOk="0">
                  <a:moveTo>
                    <a:pt x="3264476" y="916401"/>
                  </a:moveTo>
                  <a:lnTo>
                    <a:pt x="3241314" y="916401"/>
                  </a:lnTo>
                  <a:lnTo>
                    <a:pt x="3241314" y="962588"/>
                  </a:lnTo>
                  <a:lnTo>
                    <a:pt x="3264476" y="962588"/>
                  </a:lnTo>
                  <a:lnTo>
                    <a:pt x="3264476" y="916401"/>
                  </a:lnTo>
                  <a:close/>
                </a:path>
                <a:path w="3264534" h="3363595" extrusionOk="0">
                  <a:moveTo>
                    <a:pt x="1281500" y="857251"/>
                  </a:moveTo>
                  <a:lnTo>
                    <a:pt x="1258328" y="857251"/>
                  </a:lnTo>
                  <a:lnTo>
                    <a:pt x="1258328" y="903427"/>
                  </a:lnTo>
                  <a:lnTo>
                    <a:pt x="1281500" y="903427"/>
                  </a:lnTo>
                  <a:lnTo>
                    <a:pt x="1281500" y="857251"/>
                  </a:lnTo>
                  <a:close/>
                </a:path>
                <a:path w="3264534" h="3363595" extrusionOk="0">
                  <a:moveTo>
                    <a:pt x="3264476" y="824037"/>
                  </a:moveTo>
                  <a:lnTo>
                    <a:pt x="3241314" y="824037"/>
                  </a:lnTo>
                  <a:lnTo>
                    <a:pt x="3241314" y="870235"/>
                  </a:lnTo>
                  <a:lnTo>
                    <a:pt x="3264476" y="870235"/>
                  </a:lnTo>
                  <a:lnTo>
                    <a:pt x="3264476" y="824037"/>
                  </a:lnTo>
                  <a:close/>
                </a:path>
                <a:path w="3264534" h="3363595" extrusionOk="0">
                  <a:moveTo>
                    <a:pt x="1281500" y="764919"/>
                  </a:moveTo>
                  <a:lnTo>
                    <a:pt x="1258328" y="764919"/>
                  </a:lnTo>
                  <a:lnTo>
                    <a:pt x="1258328" y="811074"/>
                  </a:lnTo>
                  <a:lnTo>
                    <a:pt x="1281500" y="811074"/>
                  </a:lnTo>
                  <a:lnTo>
                    <a:pt x="1281500" y="764919"/>
                  </a:lnTo>
                  <a:close/>
                </a:path>
                <a:path w="3264534" h="3363595" extrusionOk="0">
                  <a:moveTo>
                    <a:pt x="3264476" y="731694"/>
                  </a:moveTo>
                  <a:lnTo>
                    <a:pt x="3241314" y="731694"/>
                  </a:lnTo>
                  <a:lnTo>
                    <a:pt x="3241314" y="777882"/>
                  </a:lnTo>
                  <a:lnTo>
                    <a:pt x="3264476" y="777882"/>
                  </a:lnTo>
                  <a:lnTo>
                    <a:pt x="3264476" y="731694"/>
                  </a:lnTo>
                  <a:close/>
                </a:path>
                <a:path w="3264534" h="3363595" extrusionOk="0">
                  <a:moveTo>
                    <a:pt x="1281500" y="672534"/>
                  </a:moveTo>
                  <a:lnTo>
                    <a:pt x="1258328" y="672534"/>
                  </a:lnTo>
                  <a:lnTo>
                    <a:pt x="1258328" y="718721"/>
                  </a:lnTo>
                  <a:lnTo>
                    <a:pt x="1281500" y="718721"/>
                  </a:lnTo>
                  <a:lnTo>
                    <a:pt x="1281500" y="672534"/>
                  </a:lnTo>
                  <a:close/>
                </a:path>
                <a:path w="3264534" h="3363595" extrusionOk="0">
                  <a:moveTo>
                    <a:pt x="3264476" y="639362"/>
                  </a:moveTo>
                  <a:lnTo>
                    <a:pt x="3241314" y="639362"/>
                  </a:lnTo>
                  <a:lnTo>
                    <a:pt x="3241314" y="685528"/>
                  </a:lnTo>
                  <a:lnTo>
                    <a:pt x="3264476" y="685528"/>
                  </a:lnTo>
                  <a:lnTo>
                    <a:pt x="3264476" y="639362"/>
                  </a:lnTo>
                  <a:close/>
                </a:path>
                <a:path w="3264534" h="3363595" extrusionOk="0">
                  <a:moveTo>
                    <a:pt x="1281500" y="580202"/>
                  </a:moveTo>
                  <a:lnTo>
                    <a:pt x="1258328" y="580202"/>
                  </a:lnTo>
                  <a:lnTo>
                    <a:pt x="1258328" y="626368"/>
                  </a:lnTo>
                  <a:lnTo>
                    <a:pt x="1281500" y="626368"/>
                  </a:lnTo>
                  <a:lnTo>
                    <a:pt x="1281500" y="580202"/>
                  </a:lnTo>
                  <a:close/>
                </a:path>
                <a:path w="3264534" h="3363595" extrusionOk="0">
                  <a:moveTo>
                    <a:pt x="3264476" y="547103"/>
                  </a:moveTo>
                  <a:lnTo>
                    <a:pt x="3241314" y="547103"/>
                  </a:lnTo>
                  <a:lnTo>
                    <a:pt x="3241314" y="593280"/>
                  </a:lnTo>
                  <a:lnTo>
                    <a:pt x="3264476" y="593280"/>
                  </a:lnTo>
                  <a:lnTo>
                    <a:pt x="3264476" y="547103"/>
                  </a:lnTo>
                  <a:close/>
                </a:path>
                <a:path w="3264534" h="3363595" extrusionOk="0">
                  <a:moveTo>
                    <a:pt x="1281500" y="487953"/>
                  </a:moveTo>
                  <a:lnTo>
                    <a:pt x="1258328" y="487953"/>
                  </a:lnTo>
                  <a:lnTo>
                    <a:pt x="1258328" y="534119"/>
                  </a:lnTo>
                  <a:lnTo>
                    <a:pt x="1281500" y="534119"/>
                  </a:lnTo>
                  <a:lnTo>
                    <a:pt x="1281500" y="487953"/>
                  </a:lnTo>
                  <a:close/>
                </a:path>
                <a:path w="3264534" h="3363595" extrusionOk="0">
                  <a:moveTo>
                    <a:pt x="3264476" y="454740"/>
                  </a:moveTo>
                  <a:lnTo>
                    <a:pt x="3241314" y="454740"/>
                  </a:lnTo>
                  <a:lnTo>
                    <a:pt x="3241314" y="500927"/>
                  </a:lnTo>
                  <a:lnTo>
                    <a:pt x="3264476" y="500927"/>
                  </a:lnTo>
                  <a:lnTo>
                    <a:pt x="3264476" y="454740"/>
                  </a:lnTo>
                  <a:close/>
                </a:path>
                <a:path w="3264534" h="3363595" extrusionOk="0">
                  <a:moveTo>
                    <a:pt x="1281500" y="395579"/>
                  </a:moveTo>
                  <a:lnTo>
                    <a:pt x="1258328" y="395579"/>
                  </a:lnTo>
                  <a:lnTo>
                    <a:pt x="1258328" y="441766"/>
                  </a:lnTo>
                  <a:lnTo>
                    <a:pt x="1281500" y="441766"/>
                  </a:lnTo>
                  <a:lnTo>
                    <a:pt x="1281500" y="395579"/>
                  </a:lnTo>
                  <a:close/>
                </a:path>
                <a:path w="3264534" h="3363595" extrusionOk="0">
                  <a:moveTo>
                    <a:pt x="3264476" y="362397"/>
                  </a:moveTo>
                  <a:lnTo>
                    <a:pt x="3241314" y="362397"/>
                  </a:lnTo>
                  <a:lnTo>
                    <a:pt x="3241314" y="408573"/>
                  </a:lnTo>
                  <a:lnTo>
                    <a:pt x="3264476" y="408573"/>
                  </a:lnTo>
                  <a:lnTo>
                    <a:pt x="3264476" y="362397"/>
                  </a:lnTo>
                  <a:close/>
                </a:path>
                <a:path w="3264534" h="3363595" extrusionOk="0">
                  <a:moveTo>
                    <a:pt x="1281500" y="303226"/>
                  </a:moveTo>
                  <a:lnTo>
                    <a:pt x="1258328" y="303226"/>
                  </a:lnTo>
                  <a:lnTo>
                    <a:pt x="1258328" y="349413"/>
                  </a:lnTo>
                  <a:lnTo>
                    <a:pt x="1281500" y="349413"/>
                  </a:lnTo>
                  <a:lnTo>
                    <a:pt x="1281500" y="303226"/>
                  </a:lnTo>
                  <a:close/>
                </a:path>
                <a:path w="3264534" h="3363595" extrusionOk="0">
                  <a:moveTo>
                    <a:pt x="3264267" y="269939"/>
                  </a:moveTo>
                  <a:lnTo>
                    <a:pt x="3241126" y="270253"/>
                  </a:lnTo>
                  <a:lnTo>
                    <a:pt x="3241330" y="277583"/>
                  </a:lnTo>
                  <a:lnTo>
                    <a:pt x="3241335" y="316220"/>
                  </a:lnTo>
                  <a:lnTo>
                    <a:pt x="3264476" y="316220"/>
                  </a:lnTo>
                  <a:lnTo>
                    <a:pt x="3264476" y="277583"/>
                  </a:lnTo>
                  <a:lnTo>
                    <a:pt x="3264267" y="269939"/>
                  </a:lnTo>
                  <a:close/>
                </a:path>
                <a:path w="3264534" h="3363595" extrusionOk="0">
                  <a:moveTo>
                    <a:pt x="1260872" y="210255"/>
                  </a:moveTo>
                  <a:lnTo>
                    <a:pt x="1260167" y="223021"/>
                  </a:lnTo>
                  <a:lnTo>
                    <a:pt x="1259643" y="234456"/>
                  </a:lnTo>
                  <a:lnTo>
                    <a:pt x="1259213" y="245910"/>
                  </a:lnTo>
                  <a:lnTo>
                    <a:pt x="1258883" y="256746"/>
                  </a:lnTo>
                  <a:lnTo>
                    <a:pt x="1282023" y="257374"/>
                  </a:lnTo>
                  <a:lnTo>
                    <a:pt x="1282407" y="245108"/>
                  </a:lnTo>
                  <a:lnTo>
                    <a:pt x="1282853" y="233461"/>
                  </a:lnTo>
                  <a:lnTo>
                    <a:pt x="1283380" y="221833"/>
                  </a:lnTo>
                  <a:lnTo>
                    <a:pt x="1283908" y="211616"/>
                  </a:lnTo>
                  <a:lnTo>
                    <a:pt x="1260872" y="210255"/>
                  </a:lnTo>
                  <a:close/>
                </a:path>
                <a:path w="3264534" h="3363595" extrusionOk="0">
                  <a:moveTo>
                    <a:pt x="3259659" y="176957"/>
                  </a:moveTo>
                  <a:lnTo>
                    <a:pt x="3236623" y="178842"/>
                  </a:lnTo>
                  <a:lnTo>
                    <a:pt x="3237525" y="190231"/>
                  </a:lnTo>
                  <a:lnTo>
                    <a:pt x="3238338" y="201629"/>
                  </a:lnTo>
                  <a:lnTo>
                    <a:pt x="3239053" y="213048"/>
                  </a:lnTo>
                  <a:lnTo>
                    <a:pt x="3239660" y="224495"/>
                  </a:lnTo>
                  <a:lnTo>
                    <a:pt x="3262801" y="223448"/>
                  </a:lnTo>
                  <a:lnTo>
                    <a:pt x="3262133" y="211767"/>
                  </a:lnTo>
                  <a:lnTo>
                    <a:pt x="3261387" y="200124"/>
                  </a:lnTo>
                  <a:lnTo>
                    <a:pt x="3260563" y="188521"/>
                  </a:lnTo>
                  <a:lnTo>
                    <a:pt x="3259659" y="176957"/>
                  </a:lnTo>
                  <a:close/>
                </a:path>
                <a:path w="3264534" h="3363595" extrusionOk="0">
                  <a:moveTo>
                    <a:pt x="1269563" y="117588"/>
                  </a:moveTo>
                  <a:lnTo>
                    <a:pt x="1268113" y="129089"/>
                  </a:lnTo>
                  <a:lnTo>
                    <a:pt x="1266762" y="140650"/>
                  </a:lnTo>
                  <a:lnTo>
                    <a:pt x="1265528" y="152249"/>
                  </a:lnTo>
                  <a:lnTo>
                    <a:pt x="1264432" y="163869"/>
                  </a:lnTo>
                  <a:lnTo>
                    <a:pt x="1287468" y="166068"/>
                  </a:lnTo>
                  <a:lnTo>
                    <a:pt x="1288563" y="154622"/>
                  </a:lnTo>
                  <a:lnTo>
                    <a:pt x="1289785" y="143215"/>
                  </a:lnTo>
                  <a:lnTo>
                    <a:pt x="1291105" y="131848"/>
                  </a:lnTo>
                  <a:lnTo>
                    <a:pt x="1292494" y="120519"/>
                  </a:lnTo>
                  <a:lnTo>
                    <a:pt x="1269563" y="117588"/>
                  </a:lnTo>
                  <a:close/>
                </a:path>
                <a:path w="3264534" h="3363595" extrusionOk="0">
                  <a:moveTo>
                    <a:pt x="3248560" y="84500"/>
                  </a:moveTo>
                  <a:lnTo>
                    <a:pt x="3225734" y="88060"/>
                  </a:lnTo>
                  <a:lnTo>
                    <a:pt x="3227406" y="99311"/>
                  </a:lnTo>
                  <a:lnTo>
                    <a:pt x="3228980" y="110611"/>
                  </a:lnTo>
                  <a:lnTo>
                    <a:pt x="3230475" y="121971"/>
                  </a:lnTo>
                  <a:lnTo>
                    <a:pt x="3231912" y="133399"/>
                  </a:lnTo>
                  <a:lnTo>
                    <a:pt x="3254843" y="130571"/>
                  </a:lnTo>
                  <a:lnTo>
                    <a:pt x="3253449" y="119029"/>
                  </a:lnTo>
                  <a:lnTo>
                    <a:pt x="3251937" y="107496"/>
                  </a:lnTo>
                  <a:lnTo>
                    <a:pt x="3250308" y="95983"/>
                  </a:lnTo>
                  <a:lnTo>
                    <a:pt x="3248560" y="84500"/>
                  </a:lnTo>
                  <a:close/>
                </a:path>
                <a:path w="3264534" h="3363595" extrusionOk="0">
                  <a:moveTo>
                    <a:pt x="1284641" y="25758"/>
                  </a:moveTo>
                  <a:lnTo>
                    <a:pt x="1282419" y="37104"/>
                  </a:lnTo>
                  <a:lnTo>
                    <a:pt x="1280296" y="48519"/>
                  </a:lnTo>
                  <a:lnTo>
                    <a:pt x="1278251" y="59993"/>
                  </a:lnTo>
                  <a:lnTo>
                    <a:pt x="1276264" y="71516"/>
                  </a:lnTo>
                  <a:lnTo>
                    <a:pt x="1299091" y="75285"/>
                  </a:lnTo>
                  <a:lnTo>
                    <a:pt x="1301031" y="63995"/>
                  </a:lnTo>
                  <a:lnTo>
                    <a:pt x="1303070" y="52733"/>
                  </a:lnTo>
                  <a:lnTo>
                    <a:pt x="1305187" y="41492"/>
                  </a:lnTo>
                  <a:lnTo>
                    <a:pt x="1307363" y="30260"/>
                  </a:lnTo>
                  <a:lnTo>
                    <a:pt x="1284641" y="25758"/>
                  </a:lnTo>
                  <a:close/>
                </a:path>
                <a:path w="3264534" h="3363595" extrusionOk="0">
                  <a:moveTo>
                    <a:pt x="3232749" y="0"/>
                  </a:moveTo>
                  <a:lnTo>
                    <a:pt x="3208980" y="0"/>
                  </a:lnTo>
                  <a:lnTo>
                    <a:pt x="3211358" y="10698"/>
                  </a:lnTo>
                  <a:lnTo>
                    <a:pt x="3213627" y="21426"/>
                  </a:lnTo>
                  <a:lnTo>
                    <a:pt x="3215798" y="32173"/>
                  </a:lnTo>
                  <a:lnTo>
                    <a:pt x="3217881" y="42930"/>
                  </a:lnTo>
                  <a:lnTo>
                    <a:pt x="3240707" y="38637"/>
                  </a:lnTo>
                  <a:lnTo>
                    <a:pt x="3238845" y="28919"/>
                  </a:lnTo>
                  <a:lnTo>
                    <a:pt x="3236885" y="19240"/>
                  </a:lnTo>
                  <a:lnTo>
                    <a:pt x="3234847" y="9600"/>
                  </a:lnTo>
                  <a:lnTo>
                    <a:pt x="3232749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1"/>
            <p:cNvSpPr/>
            <p:nvPr/>
          </p:nvSpPr>
          <p:spPr>
            <a:xfrm>
              <a:off x="9346406" y="273766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82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1"/>
            <p:cNvSpPr/>
            <p:nvPr/>
          </p:nvSpPr>
          <p:spPr>
            <a:xfrm>
              <a:off x="12648337" y="3432481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5" h="4309109" extrusionOk="0">
                  <a:moveTo>
                    <a:pt x="46312" y="0"/>
                  </a:moveTo>
                  <a:lnTo>
                    <a:pt x="0" y="0"/>
                  </a:lnTo>
                  <a:lnTo>
                    <a:pt x="0" y="3358955"/>
                  </a:lnTo>
                  <a:lnTo>
                    <a:pt x="1230" y="3409311"/>
                  </a:lnTo>
                  <a:lnTo>
                    <a:pt x="4880" y="3458991"/>
                  </a:lnTo>
                  <a:lnTo>
                    <a:pt x="10889" y="3507929"/>
                  </a:lnTo>
                  <a:lnTo>
                    <a:pt x="19194" y="3556059"/>
                  </a:lnTo>
                  <a:lnTo>
                    <a:pt x="29734" y="3603314"/>
                  </a:lnTo>
                  <a:lnTo>
                    <a:pt x="42446" y="3649630"/>
                  </a:lnTo>
                  <a:lnTo>
                    <a:pt x="57270" y="3694939"/>
                  </a:lnTo>
                  <a:lnTo>
                    <a:pt x="74144" y="3739176"/>
                  </a:lnTo>
                  <a:lnTo>
                    <a:pt x="93006" y="3782274"/>
                  </a:lnTo>
                  <a:lnTo>
                    <a:pt x="113794" y="3824167"/>
                  </a:lnTo>
                  <a:lnTo>
                    <a:pt x="136446" y="3864789"/>
                  </a:lnTo>
                  <a:lnTo>
                    <a:pt x="160901" y="3904074"/>
                  </a:lnTo>
                  <a:lnTo>
                    <a:pt x="187097" y="3941956"/>
                  </a:lnTo>
                  <a:lnTo>
                    <a:pt x="214973" y="3978369"/>
                  </a:lnTo>
                  <a:lnTo>
                    <a:pt x="244466" y="4013247"/>
                  </a:lnTo>
                  <a:lnTo>
                    <a:pt x="275516" y="4046522"/>
                  </a:lnTo>
                  <a:lnTo>
                    <a:pt x="308059" y="4078131"/>
                  </a:lnTo>
                  <a:lnTo>
                    <a:pt x="342036" y="4108005"/>
                  </a:lnTo>
                  <a:lnTo>
                    <a:pt x="377383" y="4136080"/>
                  </a:lnTo>
                  <a:lnTo>
                    <a:pt x="414039" y="4162289"/>
                  </a:lnTo>
                  <a:lnTo>
                    <a:pt x="451943" y="4186565"/>
                  </a:lnTo>
                  <a:lnTo>
                    <a:pt x="491032" y="4208843"/>
                  </a:lnTo>
                  <a:lnTo>
                    <a:pt x="531246" y="4229057"/>
                  </a:lnTo>
                  <a:lnTo>
                    <a:pt x="572521" y="4247141"/>
                  </a:lnTo>
                  <a:lnTo>
                    <a:pt x="614798" y="4263028"/>
                  </a:lnTo>
                  <a:lnTo>
                    <a:pt x="658013" y="4276652"/>
                  </a:lnTo>
                  <a:lnTo>
                    <a:pt x="702106" y="4287947"/>
                  </a:lnTo>
                  <a:lnTo>
                    <a:pt x="747014" y="4296848"/>
                  </a:lnTo>
                  <a:lnTo>
                    <a:pt x="792676" y="4303287"/>
                  </a:lnTo>
                  <a:lnTo>
                    <a:pt x="839030" y="4307199"/>
                  </a:lnTo>
                  <a:lnTo>
                    <a:pt x="886014" y="4308518"/>
                  </a:lnTo>
                  <a:lnTo>
                    <a:pt x="939842" y="4306786"/>
                  </a:lnTo>
                  <a:lnTo>
                    <a:pt x="992828" y="4301657"/>
                  </a:lnTo>
                  <a:lnTo>
                    <a:pt x="1044878" y="4293230"/>
                  </a:lnTo>
                  <a:lnTo>
                    <a:pt x="1095901" y="4281605"/>
                  </a:lnTo>
                  <a:lnTo>
                    <a:pt x="1145803" y="4266880"/>
                  </a:lnTo>
                  <a:lnTo>
                    <a:pt x="1158705" y="4262184"/>
                  </a:lnTo>
                  <a:lnTo>
                    <a:pt x="886014" y="4262184"/>
                  </a:lnTo>
                  <a:lnTo>
                    <a:pt x="840009" y="4260845"/>
                  </a:lnTo>
                  <a:lnTo>
                    <a:pt x="794644" y="4256874"/>
                  </a:lnTo>
                  <a:lnTo>
                    <a:pt x="749983" y="4250341"/>
                  </a:lnTo>
                  <a:lnTo>
                    <a:pt x="706092" y="4241315"/>
                  </a:lnTo>
                  <a:lnTo>
                    <a:pt x="663035" y="4229865"/>
                  </a:lnTo>
                  <a:lnTo>
                    <a:pt x="620877" y="4216062"/>
                  </a:lnTo>
                  <a:lnTo>
                    <a:pt x="579681" y="4199973"/>
                  </a:lnTo>
                  <a:lnTo>
                    <a:pt x="539513" y="4181669"/>
                  </a:lnTo>
                  <a:lnTo>
                    <a:pt x="500437" y="4161219"/>
                  </a:lnTo>
                  <a:lnTo>
                    <a:pt x="462517" y="4138693"/>
                  </a:lnTo>
                  <a:lnTo>
                    <a:pt x="425818" y="4114159"/>
                  </a:lnTo>
                  <a:lnTo>
                    <a:pt x="390404" y="4087688"/>
                  </a:lnTo>
                  <a:lnTo>
                    <a:pt x="356341" y="4059348"/>
                  </a:lnTo>
                  <a:lnTo>
                    <a:pt x="323676" y="4029193"/>
                  </a:lnTo>
                  <a:lnTo>
                    <a:pt x="292522" y="3997341"/>
                  </a:lnTo>
                  <a:lnTo>
                    <a:pt x="262895" y="3963813"/>
                  </a:lnTo>
                  <a:lnTo>
                    <a:pt x="234877" y="3928693"/>
                  </a:lnTo>
                  <a:lnTo>
                    <a:pt x="208531" y="3892053"/>
                  </a:lnTo>
                  <a:lnTo>
                    <a:pt x="183922" y="3853960"/>
                  </a:lnTo>
                  <a:lnTo>
                    <a:pt x="161114" y="3814484"/>
                  </a:lnTo>
                  <a:lnTo>
                    <a:pt x="140173" y="3773696"/>
                  </a:lnTo>
                  <a:lnTo>
                    <a:pt x="121162" y="3731664"/>
                  </a:lnTo>
                  <a:lnTo>
                    <a:pt x="104146" y="3688457"/>
                  </a:lnTo>
                  <a:lnTo>
                    <a:pt x="89189" y="3644145"/>
                  </a:lnTo>
                  <a:lnTo>
                    <a:pt x="76357" y="3598798"/>
                  </a:lnTo>
                  <a:lnTo>
                    <a:pt x="65713" y="3552484"/>
                  </a:lnTo>
                  <a:lnTo>
                    <a:pt x="57322" y="3505273"/>
                  </a:lnTo>
                  <a:lnTo>
                    <a:pt x="51248" y="3457235"/>
                  </a:lnTo>
                  <a:lnTo>
                    <a:pt x="47557" y="3408439"/>
                  </a:lnTo>
                  <a:lnTo>
                    <a:pt x="46312" y="3358955"/>
                  </a:lnTo>
                  <a:lnTo>
                    <a:pt x="46312" y="0"/>
                  </a:lnTo>
                  <a:close/>
                </a:path>
                <a:path w="2649855" h="4309109" extrusionOk="0">
                  <a:moveTo>
                    <a:pt x="2649469" y="1703990"/>
                  </a:moveTo>
                  <a:lnTo>
                    <a:pt x="2598858" y="1705233"/>
                  </a:lnTo>
                  <a:lnTo>
                    <a:pt x="2548952" y="1708922"/>
                  </a:lnTo>
                  <a:lnTo>
                    <a:pt x="2499820" y="1714991"/>
                  </a:lnTo>
                  <a:lnTo>
                    <a:pt x="2451535" y="1723376"/>
                  </a:lnTo>
                  <a:lnTo>
                    <a:pt x="2404166" y="1734013"/>
                  </a:lnTo>
                  <a:lnTo>
                    <a:pt x="2357786" y="1746836"/>
                  </a:lnTo>
                  <a:lnTo>
                    <a:pt x="2312464" y="1761782"/>
                  </a:lnTo>
                  <a:lnTo>
                    <a:pt x="2268273" y="1778786"/>
                  </a:lnTo>
                  <a:lnTo>
                    <a:pt x="2225282" y="1797783"/>
                  </a:lnTo>
                  <a:lnTo>
                    <a:pt x="2183564" y="1818709"/>
                  </a:lnTo>
                  <a:lnTo>
                    <a:pt x="2143188" y="1841500"/>
                  </a:lnTo>
                  <a:lnTo>
                    <a:pt x="2104227" y="1866091"/>
                  </a:lnTo>
                  <a:lnTo>
                    <a:pt x="2066750" y="1892418"/>
                  </a:lnTo>
                  <a:lnTo>
                    <a:pt x="2030829" y="1920416"/>
                  </a:lnTo>
                  <a:lnTo>
                    <a:pt x="1996536" y="1950020"/>
                  </a:lnTo>
                  <a:lnTo>
                    <a:pt x="1963940" y="1981167"/>
                  </a:lnTo>
                  <a:lnTo>
                    <a:pt x="1933113" y="2013791"/>
                  </a:lnTo>
                  <a:lnTo>
                    <a:pt x="1904126" y="2047828"/>
                  </a:lnTo>
                  <a:lnTo>
                    <a:pt x="1877050" y="2083215"/>
                  </a:lnTo>
                  <a:lnTo>
                    <a:pt x="1851956" y="2119885"/>
                  </a:lnTo>
                  <a:lnTo>
                    <a:pt x="1828915" y="2157776"/>
                  </a:lnTo>
                  <a:lnTo>
                    <a:pt x="1807998" y="2196821"/>
                  </a:lnTo>
                  <a:lnTo>
                    <a:pt x="1789276" y="2236958"/>
                  </a:lnTo>
                  <a:lnTo>
                    <a:pt x="1772820" y="2278121"/>
                  </a:lnTo>
                  <a:lnTo>
                    <a:pt x="1758701" y="2320246"/>
                  </a:lnTo>
                  <a:lnTo>
                    <a:pt x="1746989" y="2363268"/>
                  </a:lnTo>
                  <a:lnTo>
                    <a:pt x="1737757" y="2407124"/>
                  </a:lnTo>
                  <a:lnTo>
                    <a:pt x="1731074" y="2451747"/>
                  </a:lnTo>
                  <a:lnTo>
                    <a:pt x="1727013" y="2497075"/>
                  </a:lnTo>
                  <a:lnTo>
                    <a:pt x="1725643" y="2543042"/>
                  </a:lnTo>
                  <a:lnTo>
                    <a:pt x="1725643" y="3358955"/>
                  </a:lnTo>
                  <a:lnTo>
                    <a:pt x="1724209" y="3412065"/>
                  </a:lnTo>
                  <a:lnTo>
                    <a:pt x="1719958" y="3464377"/>
                  </a:lnTo>
                  <a:lnTo>
                    <a:pt x="1712970" y="3515802"/>
                  </a:lnTo>
                  <a:lnTo>
                    <a:pt x="1703327" y="3566256"/>
                  </a:lnTo>
                  <a:lnTo>
                    <a:pt x="1691107" y="3615653"/>
                  </a:lnTo>
                  <a:lnTo>
                    <a:pt x="1676391" y="3663906"/>
                  </a:lnTo>
                  <a:lnTo>
                    <a:pt x="1659259" y="3710930"/>
                  </a:lnTo>
                  <a:lnTo>
                    <a:pt x="1639790" y="3756638"/>
                  </a:lnTo>
                  <a:lnTo>
                    <a:pt x="1618065" y="3800945"/>
                  </a:lnTo>
                  <a:lnTo>
                    <a:pt x="1594164" y="3843765"/>
                  </a:lnTo>
                  <a:lnTo>
                    <a:pt x="1568166" y="3885011"/>
                  </a:lnTo>
                  <a:lnTo>
                    <a:pt x="1540152" y="3924598"/>
                  </a:lnTo>
                  <a:lnTo>
                    <a:pt x="1510201" y="3962440"/>
                  </a:lnTo>
                  <a:lnTo>
                    <a:pt x="1478394" y="3998450"/>
                  </a:lnTo>
                  <a:lnTo>
                    <a:pt x="1444810" y="4032544"/>
                  </a:lnTo>
                  <a:lnTo>
                    <a:pt x="1409530" y="4064634"/>
                  </a:lnTo>
                  <a:lnTo>
                    <a:pt x="1372633" y="4094635"/>
                  </a:lnTo>
                  <a:lnTo>
                    <a:pt x="1334200" y="4122460"/>
                  </a:lnTo>
                  <a:lnTo>
                    <a:pt x="1299629" y="4144793"/>
                  </a:lnTo>
                  <a:lnTo>
                    <a:pt x="1242278" y="4176783"/>
                  </a:lnTo>
                  <a:lnTo>
                    <a:pt x="1195152" y="4198759"/>
                  </a:lnTo>
                  <a:lnTo>
                    <a:pt x="1146592" y="4217665"/>
                  </a:lnTo>
                  <a:lnTo>
                    <a:pt x="1096706" y="4233389"/>
                  </a:lnTo>
                  <a:lnTo>
                    <a:pt x="1045598" y="4245816"/>
                  </a:lnTo>
                  <a:lnTo>
                    <a:pt x="993377" y="4254834"/>
                  </a:lnTo>
                  <a:lnTo>
                    <a:pt x="940147" y="4260327"/>
                  </a:lnTo>
                  <a:lnTo>
                    <a:pt x="886014" y="4262184"/>
                  </a:lnTo>
                  <a:lnTo>
                    <a:pt x="1158705" y="4262184"/>
                  </a:lnTo>
                  <a:lnTo>
                    <a:pt x="1241879" y="4228532"/>
                  </a:lnTo>
                  <a:lnTo>
                    <a:pt x="1287866" y="4205107"/>
                  </a:lnTo>
                  <a:lnTo>
                    <a:pt x="1322777" y="4184915"/>
                  </a:lnTo>
                  <a:lnTo>
                    <a:pt x="1372810" y="4152013"/>
                  </a:lnTo>
                  <a:lnTo>
                    <a:pt x="1410065" y="4124167"/>
                  </a:lnTo>
                  <a:lnTo>
                    <a:pt x="1445899" y="4094367"/>
                  </a:lnTo>
                  <a:lnTo>
                    <a:pt x="1480244" y="4062685"/>
                  </a:lnTo>
                  <a:lnTo>
                    <a:pt x="1513031" y="4029193"/>
                  </a:lnTo>
                  <a:lnTo>
                    <a:pt x="1544194" y="3993963"/>
                  </a:lnTo>
                  <a:lnTo>
                    <a:pt x="1573665" y="3957069"/>
                  </a:lnTo>
                  <a:lnTo>
                    <a:pt x="1601375" y="3918583"/>
                  </a:lnTo>
                  <a:lnTo>
                    <a:pt x="1627257" y="3878577"/>
                  </a:lnTo>
                  <a:lnTo>
                    <a:pt x="1651244" y="3837124"/>
                  </a:lnTo>
                  <a:lnTo>
                    <a:pt x="1673267" y="3794296"/>
                  </a:lnTo>
                  <a:lnTo>
                    <a:pt x="1693260" y="3750166"/>
                  </a:lnTo>
                  <a:lnTo>
                    <a:pt x="1711154" y="3704806"/>
                  </a:lnTo>
                  <a:lnTo>
                    <a:pt x="1726882" y="3658290"/>
                  </a:lnTo>
                  <a:lnTo>
                    <a:pt x="1740376" y="3610689"/>
                  </a:lnTo>
                  <a:lnTo>
                    <a:pt x="1751568" y="3562076"/>
                  </a:lnTo>
                  <a:lnTo>
                    <a:pt x="1760391" y="3512523"/>
                  </a:lnTo>
                  <a:lnTo>
                    <a:pt x="1766777" y="3462104"/>
                  </a:lnTo>
                  <a:lnTo>
                    <a:pt x="1770658" y="3410890"/>
                  </a:lnTo>
                  <a:lnTo>
                    <a:pt x="1771966" y="3358955"/>
                  </a:lnTo>
                  <a:lnTo>
                    <a:pt x="1771966" y="2543042"/>
                  </a:lnTo>
                  <a:lnTo>
                    <a:pt x="1773358" y="2498127"/>
                  </a:lnTo>
                  <a:lnTo>
                    <a:pt x="1777484" y="2453861"/>
                  </a:lnTo>
                  <a:lnTo>
                    <a:pt x="1784269" y="2410311"/>
                  </a:lnTo>
                  <a:lnTo>
                    <a:pt x="1793638" y="2367544"/>
                  </a:lnTo>
                  <a:lnTo>
                    <a:pt x="1805518" y="2325629"/>
                  </a:lnTo>
                  <a:lnTo>
                    <a:pt x="1819832" y="2284632"/>
                  </a:lnTo>
                  <a:lnTo>
                    <a:pt x="1836507" y="2244621"/>
                  </a:lnTo>
                  <a:lnTo>
                    <a:pt x="1855469" y="2205663"/>
                  </a:lnTo>
                  <a:lnTo>
                    <a:pt x="1876641" y="2167826"/>
                  </a:lnTo>
                  <a:lnTo>
                    <a:pt x="1899950" y="2131177"/>
                  </a:lnTo>
                  <a:lnTo>
                    <a:pt x="1925321" y="2095785"/>
                  </a:lnTo>
                  <a:lnTo>
                    <a:pt x="1952679" y="2061715"/>
                  </a:lnTo>
                  <a:lnTo>
                    <a:pt x="1981949" y="2029036"/>
                  </a:lnTo>
                  <a:lnTo>
                    <a:pt x="2013058" y="1997814"/>
                  </a:lnTo>
                  <a:lnTo>
                    <a:pt x="2045930" y="1968119"/>
                  </a:lnTo>
                  <a:lnTo>
                    <a:pt x="2080490" y="1940016"/>
                  </a:lnTo>
                  <a:lnTo>
                    <a:pt x="2116665" y="1913573"/>
                  </a:lnTo>
                  <a:lnTo>
                    <a:pt x="2154378" y="1888859"/>
                  </a:lnTo>
                  <a:lnTo>
                    <a:pt x="2193557" y="1865940"/>
                  </a:lnTo>
                  <a:lnTo>
                    <a:pt x="2234125" y="1844883"/>
                  </a:lnTo>
                  <a:lnTo>
                    <a:pt x="2276008" y="1825756"/>
                  </a:lnTo>
                  <a:lnTo>
                    <a:pt x="2319133" y="1808628"/>
                  </a:lnTo>
                  <a:lnTo>
                    <a:pt x="2363423" y="1793564"/>
                  </a:lnTo>
                  <a:lnTo>
                    <a:pt x="2408804" y="1780632"/>
                  </a:lnTo>
                  <a:lnTo>
                    <a:pt x="2455203" y="1769901"/>
                  </a:lnTo>
                  <a:lnTo>
                    <a:pt x="2502543" y="1761437"/>
                  </a:lnTo>
                  <a:lnTo>
                    <a:pt x="2550750" y="1755308"/>
                  </a:lnTo>
                  <a:lnTo>
                    <a:pt x="2599750" y="1751580"/>
                  </a:lnTo>
                  <a:lnTo>
                    <a:pt x="2649469" y="1750323"/>
                  </a:lnTo>
                  <a:lnTo>
                    <a:pt x="2649469" y="170399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1"/>
            <p:cNvSpPr/>
            <p:nvPr/>
          </p:nvSpPr>
          <p:spPr>
            <a:xfrm>
              <a:off x="17852011" y="467926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75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1"/>
            <p:cNvSpPr/>
            <p:nvPr/>
          </p:nvSpPr>
          <p:spPr>
            <a:xfrm>
              <a:off x="15368883" y="4737164"/>
              <a:ext cx="2506345" cy="4854575"/>
            </a:xfrm>
            <a:custGeom>
              <a:avLst/>
              <a:gdLst/>
              <a:ahLst/>
              <a:cxnLst/>
              <a:rect l="l" t="t" r="r" b="b"/>
              <a:pathLst>
                <a:path w="2506344" h="4854575" extrusionOk="0">
                  <a:moveTo>
                    <a:pt x="1631981" y="4830376"/>
                  </a:moveTo>
                  <a:lnTo>
                    <a:pt x="1631039" y="4853538"/>
                  </a:lnTo>
                  <a:lnTo>
                    <a:pt x="1638779" y="4853815"/>
                  </a:lnTo>
                  <a:lnTo>
                    <a:pt x="1646542" y="4854007"/>
                  </a:lnTo>
                  <a:lnTo>
                    <a:pt x="1662116" y="4854155"/>
                  </a:lnTo>
                  <a:lnTo>
                    <a:pt x="1672807" y="4854124"/>
                  </a:lnTo>
                  <a:lnTo>
                    <a:pt x="1678095" y="4853998"/>
                  </a:lnTo>
                  <a:lnTo>
                    <a:pt x="1677595" y="4830940"/>
                  </a:lnTo>
                  <a:lnTo>
                    <a:pt x="1655557" y="4830940"/>
                  </a:lnTo>
                  <a:lnTo>
                    <a:pt x="1639831" y="4830636"/>
                  </a:lnTo>
                  <a:lnTo>
                    <a:pt x="1631981" y="4830376"/>
                  </a:lnTo>
                  <a:close/>
                </a:path>
                <a:path w="2506344" h="4854575" extrusionOk="0">
                  <a:moveTo>
                    <a:pt x="1677592" y="4830837"/>
                  </a:moveTo>
                  <a:lnTo>
                    <a:pt x="1655557" y="4830940"/>
                  </a:lnTo>
                  <a:lnTo>
                    <a:pt x="1677595" y="4830940"/>
                  </a:lnTo>
                  <a:close/>
                </a:path>
                <a:path w="2506344" h="4854575" extrusionOk="0">
                  <a:moveTo>
                    <a:pt x="1768469" y="4823371"/>
                  </a:moveTo>
                  <a:lnTo>
                    <a:pt x="1757208" y="4824915"/>
                  </a:lnTo>
                  <a:lnTo>
                    <a:pt x="1745898" y="4826282"/>
                  </a:lnTo>
                  <a:lnTo>
                    <a:pt x="1734539" y="4827476"/>
                  </a:lnTo>
                  <a:lnTo>
                    <a:pt x="1723130" y="4828502"/>
                  </a:lnTo>
                  <a:lnTo>
                    <a:pt x="1725036" y="4851600"/>
                  </a:lnTo>
                  <a:lnTo>
                    <a:pt x="1736791" y="4850529"/>
                  </a:lnTo>
                  <a:lnTo>
                    <a:pt x="1748504" y="4849292"/>
                  </a:lnTo>
                  <a:lnTo>
                    <a:pt x="1760166" y="4847890"/>
                  </a:lnTo>
                  <a:lnTo>
                    <a:pt x="1771768" y="4846323"/>
                  </a:lnTo>
                  <a:lnTo>
                    <a:pt x="1768469" y="4823371"/>
                  </a:lnTo>
                  <a:close/>
                </a:path>
                <a:path w="2506344" h="4854575" extrusionOk="0">
                  <a:moveTo>
                    <a:pt x="1541282" y="4821162"/>
                  </a:moveTo>
                  <a:lnTo>
                    <a:pt x="1572429" y="4848922"/>
                  </a:lnTo>
                  <a:lnTo>
                    <a:pt x="1584150" y="4850197"/>
                  </a:lnTo>
                  <a:lnTo>
                    <a:pt x="1586475" y="4827151"/>
                  </a:lnTo>
                  <a:lnTo>
                    <a:pt x="1575142" y="4825907"/>
                  </a:lnTo>
                  <a:lnTo>
                    <a:pt x="1563835" y="4824490"/>
                  </a:lnTo>
                  <a:lnTo>
                    <a:pt x="1552551" y="4822906"/>
                  </a:lnTo>
                  <a:lnTo>
                    <a:pt x="1541282" y="4821162"/>
                  </a:lnTo>
                  <a:close/>
                </a:path>
                <a:path w="2506344" h="4854575" extrusionOk="0">
                  <a:moveTo>
                    <a:pt x="1857713" y="4804879"/>
                  </a:moveTo>
                  <a:lnTo>
                    <a:pt x="1846717" y="4807779"/>
                  </a:lnTo>
                  <a:lnTo>
                    <a:pt x="1835661" y="4810521"/>
                  </a:lnTo>
                  <a:lnTo>
                    <a:pt x="1824550" y="4813102"/>
                  </a:lnTo>
                  <a:lnTo>
                    <a:pt x="1813389" y="4815518"/>
                  </a:lnTo>
                  <a:lnTo>
                    <a:pt x="1818091" y="4838177"/>
                  </a:lnTo>
                  <a:lnTo>
                    <a:pt x="1829606" y="4835691"/>
                  </a:lnTo>
                  <a:lnTo>
                    <a:pt x="1841064" y="4833028"/>
                  </a:lnTo>
                  <a:lnTo>
                    <a:pt x="1852467" y="4830196"/>
                  </a:lnTo>
                  <a:lnTo>
                    <a:pt x="1863817" y="4827203"/>
                  </a:lnTo>
                  <a:lnTo>
                    <a:pt x="1857713" y="4804879"/>
                  </a:lnTo>
                  <a:close/>
                </a:path>
                <a:path w="2506344" h="4854575" extrusionOk="0">
                  <a:moveTo>
                    <a:pt x="1452364" y="4800859"/>
                  </a:moveTo>
                  <a:lnTo>
                    <a:pt x="1479935" y="4832245"/>
                  </a:lnTo>
                  <a:lnTo>
                    <a:pt x="1491420" y="4834962"/>
                  </a:lnTo>
                  <a:lnTo>
                    <a:pt x="1496561" y="4812377"/>
                  </a:lnTo>
                  <a:lnTo>
                    <a:pt x="1485426" y="4809745"/>
                  </a:lnTo>
                  <a:lnTo>
                    <a:pt x="1474345" y="4806951"/>
                  </a:lnTo>
                  <a:lnTo>
                    <a:pt x="1463322" y="4803991"/>
                  </a:lnTo>
                  <a:lnTo>
                    <a:pt x="1452364" y="4800859"/>
                  </a:lnTo>
                  <a:close/>
                </a:path>
                <a:path w="2506344" h="4854575" extrusionOk="0">
                  <a:moveTo>
                    <a:pt x="1943961" y="4775666"/>
                  </a:moveTo>
                  <a:lnTo>
                    <a:pt x="1933377" y="4779877"/>
                  </a:lnTo>
                  <a:lnTo>
                    <a:pt x="1922735" y="4783932"/>
                  </a:lnTo>
                  <a:lnTo>
                    <a:pt x="1912037" y="4787831"/>
                  </a:lnTo>
                  <a:lnTo>
                    <a:pt x="1901282" y="4791571"/>
                  </a:lnTo>
                  <a:lnTo>
                    <a:pt x="1908685" y="4813507"/>
                  </a:lnTo>
                  <a:lnTo>
                    <a:pt x="1919788" y="4809649"/>
                  </a:lnTo>
                  <a:lnTo>
                    <a:pt x="1930833" y="4805629"/>
                  </a:lnTo>
                  <a:lnTo>
                    <a:pt x="1941812" y="4801446"/>
                  </a:lnTo>
                  <a:lnTo>
                    <a:pt x="1952715" y="4797100"/>
                  </a:lnTo>
                  <a:lnTo>
                    <a:pt x="1943961" y="4775666"/>
                  </a:lnTo>
                  <a:close/>
                </a:path>
                <a:path w="2506344" h="4854575" extrusionOk="0">
                  <a:moveTo>
                    <a:pt x="1366502" y="4769886"/>
                  </a:moveTo>
                  <a:lnTo>
                    <a:pt x="1390043" y="4804357"/>
                  </a:lnTo>
                  <a:lnTo>
                    <a:pt x="1401067" y="4808439"/>
                  </a:lnTo>
                  <a:lnTo>
                    <a:pt x="1408941" y="4786660"/>
                  </a:lnTo>
                  <a:lnTo>
                    <a:pt x="1398247" y="4782704"/>
                  </a:lnTo>
                  <a:lnTo>
                    <a:pt x="1387608" y="4778583"/>
                  </a:lnTo>
                  <a:lnTo>
                    <a:pt x="1377025" y="4774308"/>
                  </a:lnTo>
                  <a:lnTo>
                    <a:pt x="1366502" y="4769886"/>
                  </a:lnTo>
                  <a:close/>
                </a:path>
                <a:path w="2506344" h="4854575" extrusionOk="0">
                  <a:moveTo>
                    <a:pt x="2026231" y="4736306"/>
                  </a:moveTo>
                  <a:lnTo>
                    <a:pt x="2016209" y="4741755"/>
                  </a:lnTo>
                  <a:lnTo>
                    <a:pt x="2006106" y="4747050"/>
                  </a:lnTo>
                  <a:lnTo>
                    <a:pt x="1995925" y="4752198"/>
                  </a:lnTo>
                  <a:lnTo>
                    <a:pt x="1985667" y="4757205"/>
                  </a:lnTo>
                  <a:lnTo>
                    <a:pt x="1995666" y="4778084"/>
                  </a:lnTo>
                  <a:lnTo>
                    <a:pt x="2006223" y="4772942"/>
                  </a:lnTo>
                  <a:lnTo>
                    <a:pt x="2016708" y="4767642"/>
                  </a:lnTo>
                  <a:lnTo>
                    <a:pt x="2027121" y="4762182"/>
                  </a:lnTo>
                  <a:lnTo>
                    <a:pt x="2037466" y="4756556"/>
                  </a:lnTo>
                  <a:lnTo>
                    <a:pt x="2026231" y="4736306"/>
                  </a:lnTo>
                  <a:close/>
                </a:path>
                <a:path w="2506344" h="4854575" extrusionOk="0">
                  <a:moveTo>
                    <a:pt x="1284997" y="4728934"/>
                  </a:moveTo>
                  <a:lnTo>
                    <a:pt x="1273374" y="4748996"/>
                  </a:lnTo>
                  <a:lnTo>
                    <a:pt x="1283607" y="4754809"/>
                  </a:lnTo>
                  <a:lnTo>
                    <a:pt x="1293908" y="4760458"/>
                  </a:lnTo>
                  <a:lnTo>
                    <a:pt x="1304287" y="4765952"/>
                  </a:lnTo>
                  <a:lnTo>
                    <a:pt x="1314755" y="4771299"/>
                  </a:lnTo>
                  <a:lnTo>
                    <a:pt x="1325101" y="4750619"/>
                  </a:lnTo>
                  <a:lnTo>
                    <a:pt x="1314969" y="4745414"/>
                  </a:lnTo>
                  <a:lnTo>
                    <a:pt x="1304903" y="4740067"/>
                  </a:lnTo>
                  <a:lnTo>
                    <a:pt x="1294910" y="4734575"/>
                  </a:lnTo>
                  <a:lnTo>
                    <a:pt x="1284997" y="4728934"/>
                  </a:lnTo>
                  <a:close/>
                </a:path>
                <a:path w="2506344" h="4854575" extrusionOk="0">
                  <a:moveTo>
                    <a:pt x="2103558" y="4687616"/>
                  </a:moveTo>
                  <a:lnTo>
                    <a:pt x="2094181" y="4694183"/>
                  </a:lnTo>
                  <a:lnTo>
                    <a:pt x="2084724" y="4700612"/>
                  </a:lnTo>
                  <a:lnTo>
                    <a:pt x="2075184" y="4706901"/>
                  </a:lnTo>
                  <a:lnTo>
                    <a:pt x="2065560" y="4713050"/>
                  </a:lnTo>
                  <a:lnTo>
                    <a:pt x="2077926" y="4732651"/>
                  </a:lnTo>
                  <a:lnTo>
                    <a:pt x="2087811" y="4726316"/>
                  </a:lnTo>
                  <a:lnTo>
                    <a:pt x="2097623" y="4719841"/>
                  </a:lnTo>
                  <a:lnTo>
                    <a:pt x="2107350" y="4713228"/>
                  </a:lnTo>
                  <a:lnTo>
                    <a:pt x="2116982" y="4706474"/>
                  </a:lnTo>
                  <a:lnTo>
                    <a:pt x="2103558" y="4687616"/>
                  </a:lnTo>
                  <a:close/>
                </a:path>
                <a:path w="2506344" h="4854575" extrusionOk="0">
                  <a:moveTo>
                    <a:pt x="1208727" y="4678915"/>
                  </a:moveTo>
                  <a:lnTo>
                    <a:pt x="1194947" y="4697542"/>
                  </a:lnTo>
                  <a:lnTo>
                    <a:pt x="1204448" y="4704467"/>
                  </a:lnTo>
                  <a:lnTo>
                    <a:pt x="1214020" y="4711249"/>
                  </a:lnTo>
                  <a:lnTo>
                    <a:pt x="1223678" y="4717889"/>
                  </a:lnTo>
                  <a:lnTo>
                    <a:pt x="1233438" y="4724390"/>
                  </a:lnTo>
                  <a:lnTo>
                    <a:pt x="1246140" y="4705039"/>
                  </a:lnTo>
                  <a:lnTo>
                    <a:pt x="1236661" y="4698703"/>
                  </a:lnTo>
                  <a:lnTo>
                    <a:pt x="1227272" y="4692240"/>
                  </a:lnTo>
                  <a:lnTo>
                    <a:pt x="1217964" y="4685646"/>
                  </a:lnTo>
                  <a:lnTo>
                    <a:pt x="1208727" y="4678915"/>
                  </a:lnTo>
                  <a:close/>
                </a:path>
                <a:path w="2506344" h="4854575" extrusionOk="0">
                  <a:moveTo>
                    <a:pt x="2175012" y="4630508"/>
                  </a:moveTo>
                  <a:lnTo>
                    <a:pt x="2166428" y="4638093"/>
                  </a:lnTo>
                  <a:lnTo>
                    <a:pt x="2157737" y="4645549"/>
                  </a:lnTo>
                  <a:lnTo>
                    <a:pt x="2148949" y="4652872"/>
                  </a:lnTo>
                  <a:lnTo>
                    <a:pt x="2140070" y="4660057"/>
                  </a:lnTo>
                  <a:lnTo>
                    <a:pt x="2154541" y="4678150"/>
                  </a:lnTo>
                  <a:lnTo>
                    <a:pt x="2163650" y="4670760"/>
                  </a:lnTo>
                  <a:lnTo>
                    <a:pt x="2172683" y="4663233"/>
                  </a:lnTo>
                  <a:lnTo>
                    <a:pt x="2181624" y="4655579"/>
                  </a:lnTo>
                  <a:lnTo>
                    <a:pt x="2190456" y="4647806"/>
                  </a:lnTo>
                  <a:lnTo>
                    <a:pt x="2175012" y="4630508"/>
                  </a:lnTo>
                  <a:close/>
                </a:path>
                <a:path w="2506344" h="4854575" extrusionOk="0">
                  <a:moveTo>
                    <a:pt x="1138478" y="4620738"/>
                  </a:moveTo>
                  <a:lnTo>
                    <a:pt x="1122730" y="4637754"/>
                  </a:lnTo>
                  <a:lnTo>
                    <a:pt x="1131424" y="4645662"/>
                  </a:lnTo>
                  <a:lnTo>
                    <a:pt x="1140210" y="4653444"/>
                  </a:lnTo>
                  <a:lnTo>
                    <a:pt x="1149080" y="4661101"/>
                  </a:lnTo>
                  <a:lnTo>
                    <a:pt x="1158027" y="4668632"/>
                  </a:lnTo>
                  <a:lnTo>
                    <a:pt x="1172812" y="4650790"/>
                  </a:lnTo>
                  <a:lnTo>
                    <a:pt x="1164077" y="4643460"/>
                  </a:lnTo>
                  <a:lnTo>
                    <a:pt x="1155445" y="4636004"/>
                  </a:lnTo>
                  <a:lnTo>
                    <a:pt x="1146913" y="4628427"/>
                  </a:lnTo>
                  <a:lnTo>
                    <a:pt x="1138478" y="4620738"/>
                  </a:lnTo>
                  <a:close/>
                </a:path>
                <a:path w="2506344" h="4854575" extrusionOk="0">
                  <a:moveTo>
                    <a:pt x="2239973" y="4565965"/>
                  </a:moveTo>
                  <a:lnTo>
                    <a:pt x="2232230" y="4574412"/>
                  </a:lnTo>
                  <a:lnTo>
                    <a:pt x="2224381" y="4582755"/>
                  </a:lnTo>
                  <a:lnTo>
                    <a:pt x="2216427" y="4590988"/>
                  </a:lnTo>
                  <a:lnTo>
                    <a:pt x="2208372" y="4599106"/>
                  </a:lnTo>
                  <a:lnTo>
                    <a:pt x="2224707" y="4615513"/>
                  </a:lnTo>
                  <a:lnTo>
                    <a:pt x="2232955" y="4607199"/>
                  </a:lnTo>
                  <a:lnTo>
                    <a:pt x="2241113" y="4598752"/>
                  </a:lnTo>
                  <a:lnTo>
                    <a:pt x="2249183" y="4590184"/>
                  </a:lnTo>
                  <a:lnTo>
                    <a:pt x="2257166" y="4581504"/>
                  </a:lnTo>
                  <a:lnTo>
                    <a:pt x="2239973" y="4565965"/>
                  </a:lnTo>
                  <a:close/>
                </a:path>
                <a:path w="2506344" h="4854575" extrusionOk="0">
                  <a:moveTo>
                    <a:pt x="1074794" y="4555295"/>
                  </a:moveTo>
                  <a:lnTo>
                    <a:pt x="1057370" y="4570562"/>
                  </a:lnTo>
                  <a:lnTo>
                    <a:pt x="1065179" y="4579372"/>
                  </a:lnTo>
                  <a:lnTo>
                    <a:pt x="1073090" y="4588054"/>
                  </a:lnTo>
                  <a:lnTo>
                    <a:pt x="1081107" y="4596610"/>
                  </a:lnTo>
                  <a:lnTo>
                    <a:pt x="1089233" y="4605043"/>
                  </a:lnTo>
                  <a:lnTo>
                    <a:pt x="1105819" y="4588907"/>
                  </a:lnTo>
                  <a:lnTo>
                    <a:pt x="1097904" y="4580672"/>
                  </a:lnTo>
                  <a:lnTo>
                    <a:pt x="1090099" y="4572321"/>
                  </a:lnTo>
                  <a:lnTo>
                    <a:pt x="1082397" y="4563860"/>
                  </a:lnTo>
                  <a:lnTo>
                    <a:pt x="1074794" y="4555295"/>
                  </a:lnTo>
                  <a:close/>
                </a:path>
                <a:path w="2506344" h="4854575" extrusionOk="0">
                  <a:moveTo>
                    <a:pt x="2297804" y="4495119"/>
                  </a:moveTo>
                  <a:lnTo>
                    <a:pt x="2290961" y="4504304"/>
                  </a:lnTo>
                  <a:lnTo>
                    <a:pt x="2284016" y="4513390"/>
                  </a:lnTo>
                  <a:lnTo>
                    <a:pt x="2276966" y="4522379"/>
                  </a:lnTo>
                  <a:lnTo>
                    <a:pt x="2269805" y="4531275"/>
                  </a:lnTo>
                  <a:lnTo>
                    <a:pt x="2287731" y="4545934"/>
                  </a:lnTo>
                  <a:lnTo>
                    <a:pt x="2295077" y="4536808"/>
                  </a:lnTo>
                  <a:lnTo>
                    <a:pt x="2302318" y="4527583"/>
                  </a:lnTo>
                  <a:lnTo>
                    <a:pt x="2309451" y="4518253"/>
                  </a:lnTo>
                  <a:lnTo>
                    <a:pt x="2316473" y="4508815"/>
                  </a:lnTo>
                  <a:lnTo>
                    <a:pt x="2297804" y="4495119"/>
                  </a:lnTo>
                  <a:close/>
                </a:path>
                <a:path w="2506344" h="4854575" extrusionOk="0">
                  <a:moveTo>
                    <a:pt x="1018115" y="4483538"/>
                  </a:moveTo>
                  <a:lnTo>
                    <a:pt x="999268" y="4496962"/>
                  </a:lnTo>
                  <a:lnTo>
                    <a:pt x="1006109" y="4506501"/>
                  </a:lnTo>
                  <a:lnTo>
                    <a:pt x="1013081" y="4515941"/>
                  </a:lnTo>
                  <a:lnTo>
                    <a:pt x="1020168" y="4525278"/>
                  </a:lnTo>
                  <a:lnTo>
                    <a:pt x="1027350" y="4534511"/>
                  </a:lnTo>
                  <a:lnTo>
                    <a:pt x="1045528" y="4520155"/>
                  </a:lnTo>
                  <a:lnTo>
                    <a:pt x="1038519" y="4511160"/>
                  </a:lnTo>
                  <a:lnTo>
                    <a:pt x="1031613" y="4502055"/>
                  </a:lnTo>
                  <a:lnTo>
                    <a:pt x="1024812" y="4492845"/>
                  </a:lnTo>
                  <a:lnTo>
                    <a:pt x="1018115" y="4483538"/>
                  </a:lnTo>
                  <a:close/>
                </a:path>
                <a:path w="2506344" h="4854575" extrusionOk="0">
                  <a:moveTo>
                    <a:pt x="2348179" y="4418745"/>
                  </a:moveTo>
                  <a:lnTo>
                    <a:pt x="2342294" y="4428585"/>
                  </a:lnTo>
                  <a:lnTo>
                    <a:pt x="2336304" y="4438332"/>
                  </a:lnTo>
                  <a:lnTo>
                    <a:pt x="2330202" y="4447986"/>
                  </a:lnTo>
                  <a:lnTo>
                    <a:pt x="2323981" y="4457550"/>
                  </a:lnTo>
                  <a:lnTo>
                    <a:pt x="2343289" y="4470324"/>
                  </a:lnTo>
                  <a:lnTo>
                    <a:pt x="2349684" y="4460528"/>
                  </a:lnTo>
                  <a:lnTo>
                    <a:pt x="2355957" y="4450623"/>
                  </a:lnTo>
                  <a:lnTo>
                    <a:pt x="2362108" y="4440624"/>
                  </a:lnTo>
                  <a:lnTo>
                    <a:pt x="2368137" y="4430545"/>
                  </a:lnTo>
                  <a:lnTo>
                    <a:pt x="2348179" y="4418745"/>
                  </a:lnTo>
                  <a:close/>
                </a:path>
                <a:path w="2506344" h="4854575" extrusionOk="0">
                  <a:moveTo>
                    <a:pt x="968902" y="4406431"/>
                  </a:moveTo>
                  <a:lnTo>
                    <a:pt x="948787" y="4417886"/>
                  </a:lnTo>
                  <a:lnTo>
                    <a:pt x="954670" y="4428054"/>
                  </a:lnTo>
                  <a:lnTo>
                    <a:pt x="960676" y="4438141"/>
                  </a:lnTo>
                  <a:lnTo>
                    <a:pt x="966797" y="4448147"/>
                  </a:lnTo>
                  <a:lnTo>
                    <a:pt x="973027" y="4458073"/>
                  </a:lnTo>
                  <a:lnTo>
                    <a:pt x="992545" y="4445592"/>
                  </a:lnTo>
                  <a:lnTo>
                    <a:pt x="986480" y="4435936"/>
                  </a:lnTo>
                  <a:lnTo>
                    <a:pt x="980519" y="4426184"/>
                  </a:lnTo>
                  <a:lnTo>
                    <a:pt x="974661" y="4416346"/>
                  </a:lnTo>
                  <a:lnTo>
                    <a:pt x="968902" y="4406431"/>
                  </a:lnTo>
                  <a:close/>
                </a:path>
                <a:path w="2506344" h="4854575" extrusionOk="0">
                  <a:moveTo>
                    <a:pt x="2390869" y="4337794"/>
                  </a:moveTo>
                  <a:lnTo>
                    <a:pt x="2385959" y="4348168"/>
                  </a:lnTo>
                  <a:lnTo>
                    <a:pt x="2380927" y="4358462"/>
                  </a:lnTo>
                  <a:lnTo>
                    <a:pt x="2375744" y="4368755"/>
                  </a:lnTo>
                  <a:lnTo>
                    <a:pt x="2370545" y="4378809"/>
                  </a:lnTo>
                  <a:lnTo>
                    <a:pt x="2391026" y="4389594"/>
                  </a:lnTo>
                  <a:lnTo>
                    <a:pt x="2396394" y="4379219"/>
                  </a:lnTo>
                  <a:lnTo>
                    <a:pt x="2401706" y="4368676"/>
                  </a:lnTo>
                  <a:lnTo>
                    <a:pt x="2406835" y="4358211"/>
                  </a:lnTo>
                  <a:lnTo>
                    <a:pt x="2411884" y="4347595"/>
                  </a:lnTo>
                  <a:lnTo>
                    <a:pt x="2390869" y="4337794"/>
                  </a:lnTo>
                  <a:close/>
                </a:path>
                <a:path w="2506344" h="4854575" extrusionOk="0">
                  <a:moveTo>
                    <a:pt x="927427" y="4324800"/>
                  </a:moveTo>
                  <a:lnTo>
                    <a:pt x="906286" y="4334297"/>
                  </a:lnTo>
                  <a:lnTo>
                    <a:pt x="911190" y="4344992"/>
                  </a:lnTo>
                  <a:lnTo>
                    <a:pt x="916197" y="4355608"/>
                  </a:lnTo>
                  <a:lnTo>
                    <a:pt x="921305" y="4366149"/>
                  </a:lnTo>
                  <a:lnTo>
                    <a:pt x="926516" y="4376620"/>
                  </a:lnTo>
                  <a:lnTo>
                    <a:pt x="947185" y="4366128"/>
                  </a:lnTo>
                  <a:lnTo>
                    <a:pt x="942079" y="4355916"/>
                  </a:lnTo>
                  <a:lnTo>
                    <a:pt x="937082" y="4345621"/>
                  </a:lnTo>
                  <a:lnTo>
                    <a:pt x="932197" y="4335248"/>
                  </a:lnTo>
                  <a:lnTo>
                    <a:pt x="927427" y="4324800"/>
                  </a:lnTo>
                  <a:close/>
                </a:path>
                <a:path w="2506344" h="4854575" extrusionOk="0">
                  <a:moveTo>
                    <a:pt x="2425622" y="4253095"/>
                  </a:moveTo>
                  <a:lnTo>
                    <a:pt x="2421710" y="4263894"/>
                  </a:lnTo>
                  <a:lnTo>
                    <a:pt x="2417680" y="4274619"/>
                  </a:lnTo>
                  <a:lnTo>
                    <a:pt x="2413524" y="4285276"/>
                  </a:lnTo>
                  <a:lnTo>
                    <a:pt x="2409235" y="4295869"/>
                  </a:lnTo>
                  <a:lnTo>
                    <a:pt x="2430690" y="4304654"/>
                  </a:lnTo>
                  <a:lnTo>
                    <a:pt x="2435073" y="4293813"/>
                  </a:lnTo>
                  <a:lnTo>
                    <a:pt x="2439321" y="4282902"/>
                  </a:lnTo>
                  <a:lnTo>
                    <a:pt x="2443439" y="4271922"/>
                  </a:lnTo>
                  <a:lnTo>
                    <a:pt x="2447433" y="4260875"/>
                  </a:lnTo>
                  <a:lnTo>
                    <a:pt x="2425622" y="4253095"/>
                  </a:lnTo>
                  <a:close/>
                </a:path>
                <a:path w="2506344" h="4854575" extrusionOk="0">
                  <a:moveTo>
                    <a:pt x="893941" y="4239609"/>
                  </a:moveTo>
                  <a:lnTo>
                    <a:pt x="872004" y="4247043"/>
                  </a:lnTo>
                  <a:lnTo>
                    <a:pt x="875863" y="4258160"/>
                  </a:lnTo>
                  <a:lnTo>
                    <a:pt x="879835" y="4269207"/>
                  </a:lnTo>
                  <a:lnTo>
                    <a:pt x="883915" y="4280179"/>
                  </a:lnTo>
                  <a:lnTo>
                    <a:pt x="888098" y="4291073"/>
                  </a:lnTo>
                  <a:lnTo>
                    <a:pt x="909700" y="4282623"/>
                  </a:lnTo>
                  <a:lnTo>
                    <a:pt x="905587" y="4271982"/>
                  </a:lnTo>
                  <a:lnTo>
                    <a:pt x="901589" y="4261265"/>
                  </a:lnTo>
                  <a:lnTo>
                    <a:pt x="897706" y="4250473"/>
                  </a:lnTo>
                  <a:lnTo>
                    <a:pt x="893941" y="4239609"/>
                  </a:lnTo>
                  <a:close/>
                </a:path>
                <a:path w="2506344" h="4854575" extrusionOk="0">
                  <a:moveTo>
                    <a:pt x="2452249" y="4165517"/>
                  </a:moveTo>
                  <a:lnTo>
                    <a:pt x="2449362" y="4176633"/>
                  </a:lnTo>
                  <a:lnTo>
                    <a:pt x="2446353" y="4187691"/>
                  </a:lnTo>
                  <a:lnTo>
                    <a:pt x="2443225" y="4198683"/>
                  </a:lnTo>
                  <a:lnTo>
                    <a:pt x="2439978" y="4209599"/>
                  </a:lnTo>
                  <a:lnTo>
                    <a:pt x="2462144" y="4216363"/>
                  </a:lnTo>
                  <a:lnTo>
                    <a:pt x="2465451" y="4205154"/>
                  </a:lnTo>
                  <a:lnTo>
                    <a:pt x="2468648" y="4193891"/>
                  </a:lnTo>
                  <a:lnTo>
                    <a:pt x="2471738" y="4182572"/>
                  </a:lnTo>
                  <a:lnTo>
                    <a:pt x="2474720" y="4171192"/>
                  </a:lnTo>
                  <a:lnTo>
                    <a:pt x="2452249" y="4165517"/>
                  </a:lnTo>
                  <a:close/>
                </a:path>
                <a:path w="2506344" h="4854575" extrusionOk="0">
                  <a:moveTo>
                    <a:pt x="868633" y="4151653"/>
                  </a:moveTo>
                  <a:lnTo>
                    <a:pt x="846068" y="4157004"/>
                  </a:lnTo>
                  <a:lnTo>
                    <a:pt x="848861" y="4168424"/>
                  </a:lnTo>
                  <a:lnTo>
                    <a:pt x="851784" y="4179785"/>
                  </a:lnTo>
                  <a:lnTo>
                    <a:pt x="854831" y="4191084"/>
                  </a:lnTo>
                  <a:lnTo>
                    <a:pt x="857994" y="4202322"/>
                  </a:lnTo>
                  <a:lnTo>
                    <a:pt x="880234" y="4195924"/>
                  </a:lnTo>
                  <a:lnTo>
                    <a:pt x="877145" y="4184937"/>
                  </a:lnTo>
                  <a:lnTo>
                    <a:pt x="874178" y="4173899"/>
                  </a:lnTo>
                  <a:lnTo>
                    <a:pt x="871339" y="4162805"/>
                  </a:lnTo>
                  <a:lnTo>
                    <a:pt x="868633" y="4151653"/>
                  </a:lnTo>
                  <a:close/>
                </a:path>
                <a:path w="2506344" h="4854575" extrusionOk="0">
                  <a:moveTo>
                    <a:pt x="2470615" y="4075771"/>
                  </a:moveTo>
                  <a:lnTo>
                    <a:pt x="2468770" y="4087115"/>
                  </a:lnTo>
                  <a:lnTo>
                    <a:pt x="2466800" y="4098418"/>
                  </a:lnTo>
                  <a:lnTo>
                    <a:pt x="2464706" y="4109671"/>
                  </a:lnTo>
                  <a:lnTo>
                    <a:pt x="2462490" y="4120869"/>
                  </a:lnTo>
                  <a:lnTo>
                    <a:pt x="2485170" y="4125518"/>
                  </a:lnTo>
                  <a:lnTo>
                    <a:pt x="2487446" y="4114066"/>
                  </a:lnTo>
                  <a:lnTo>
                    <a:pt x="2489604" y="4102563"/>
                  </a:lnTo>
                  <a:lnTo>
                    <a:pt x="2491637" y="4091009"/>
                  </a:lnTo>
                  <a:lnTo>
                    <a:pt x="2493536" y="4079404"/>
                  </a:lnTo>
                  <a:lnTo>
                    <a:pt x="2470615" y="4075771"/>
                  </a:lnTo>
                  <a:close/>
                </a:path>
                <a:path w="2506344" h="4854575" extrusionOk="0">
                  <a:moveTo>
                    <a:pt x="851513" y="4061677"/>
                  </a:moveTo>
                  <a:lnTo>
                    <a:pt x="828592" y="4064965"/>
                  </a:lnTo>
                  <a:lnTo>
                    <a:pt x="830314" y="4076592"/>
                  </a:lnTo>
                  <a:lnTo>
                    <a:pt x="832176" y="4088167"/>
                  </a:lnTo>
                  <a:lnTo>
                    <a:pt x="834167" y="4099693"/>
                  </a:lnTo>
                  <a:lnTo>
                    <a:pt x="836278" y="4111173"/>
                  </a:lnTo>
                  <a:lnTo>
                    <a:pt x="859031" y="4106869"/>
                  </a:lnTo>
                  <a:lnTo>
                    <a:pt x="856962" y="4095647"/>
                  </a:lnTo>
                  <a:lnTo>
                    <a:pt x="855025" y="4084375"/>
                  </a:lnTo>
                  <a:lnTo>
                    <a:pt x="853210" y="4073053"/>
                  </a:lnTo>
                  <a:lnTo>
                    <a:pt x="851513" y="4061677"/>
                  </a:lnTo>
                  <a:close/>
                </a:path>
                <a:path w="2506344" h="4854575" extrusionOk="0">
                  <a:moveTo>
                    <a:pt x="2480814" y="3984789"/>
                  </a:moveTo>
                  <a:lnTo>
                    <a:pt x="2479998" y="3996252"/>
                  </a:lnTo>
                  <a:lnTo>
                    <a:pt x="2479046" y="4007669"/>
                  </a:lnTo>
                  <a:lnTo>
                    <a:pt x="2477962" y="4019049"/>
                  </a:lnTo>
                  <a:lnTo>
                    <a:pt x="2476751" y="4030400"/>
                  </a:lnTo>
                  <a:lnTo>
                    <a:pt x="2499777" y="4032987"/>
                  </a:lnTo>
                  <a:lnTo>
                    <a:pt x="2501003" y="4021374"/>
                  </a:lnTo>
                  <a:lnTo>
                    <a:pt x="2502105" y="4009723"/>
                  </a:lnTo>
                  <a:lnTo>
                    <a:pt x="2503080" y="3998036"/>
                  </a:lnTo>
                  <a:lnTo>
                    <a:pt x="2503923" y="3986318"/>
                  </a:lnTo>
                  <a:lnTo>
                    <a:pt x="2480814" y="3984789"/>
                  </a:lnTo>
                  <a:close/>
                </a:path>
                <a:path w="2506344" h="4854575" extrusionOk="0">
                  <a:moveTo>
                    <a:pt x="842613" y="3970528"/>
                  </a:moveTo>
                  <a:lnTo>
                    <a:pt x="819441" y="3971753"/>
                  </a:lnTo>
                  <a:lnTo>
                    <a:pt x="820127" y="3983480"/>
                  </a:lnTo>
                  <a:lnTo>
                    <a:pt x="820944" y="3995170"/>
                  </a:lnTo>
                  <a:lnTo>
                    <a:pt x="821889" y="4006826"/>
                  </a:lnTo>
                  <a:lnTo>
                    <a:pt x="822959" y="4018453"/>
                  </a:lnTo>
                  <a:lnTo>
                    <a:pt x="845995" y="4016181"/>
                  </a:lnTo>
                  <a:lnTo>
                    <a:pt x="844967" y="4004838"/>
                  </a:lnTo>
                  <a:lnTo>
                    <a:pt x="844048" y="3993445"/>
                  </a:lnTo>
                  <a:lnTo>
                    <a:pt x="843257" y="3982006"/>
                  </a:lnTo>
                  <a:lnTo>
                    <a:pt x="842613" y="3970528"/>
                  </a:lnTo>
                  <a:close/>
                </a:path>
                <a:path w="2506344" h="4854575" extrusionOk="0">
                  <a:moveTo>
                    <a:pt x="2506279" y="3892918"/>
                  </a:moveTo>
                  <a:lnTo>
                    <a:pt x="2483128" y="3892918"/>
                  </a:lnTo>
                  <a:lnTo>
                    <a:pt x="2483128" y="3923796"/>
                  </a:lnTo>
                  <a:lnTo>
                    <a:pt x="2483016" y="3931754"/>
                  </a:lnTo>
                  <a:lnTo>
                    <a:pt x="2482866" y="3939000"/>
                  </a:lnTo>
                  <a:lnTo>
                    <a:pt x="2506007" y="3939503"/>
                  </a:lnTo>
                  <a:lnTo>
                    <a:pt x="2506195" y="3931754"/>
                  </a:lnTo>
                  <a:lnTo>
                    <a:pt x="2506279" y="3892918"/>
                  </a:lnTo>
                  <a:close/>
                </a:path>
                <a:path w="2506344" h="4854575" extrusionOk="0">
                  <a:moveTo>
                    <a:pt x="841157" y="3878457"/>
                  </a:moveTo>
                  <a:lnTo>
                    <a:pt x="817996" y="3878457"/>
                  </a:lnTo>
                  <a:lnTo>
                    <a:pt x="818048" y="3924896"/>
                  </a:lnTo>
                  <a:lnTo>
                    <a:pt x="841199" y="3924718"/>
                  </a:lnTo>
                  <a:lnTo>
                    <a:pt x="841157" y="3878457"/>
                  </a:lnTo>
                  <a:close/>
                </a:path>
                <a:path w="2506344" h="4854575" extrusionOk="0">
                  <a:moveTo>
                    <a:pt x="2506279" y="3800208"/>
                  </a:moveTo>
                  <a:lnTo>
                    <a:pt x="2483128" y="3800208"/>
                  </a:lnTo>
                  <a:lnTo>
                    <a:pt x="2483128" y="3846563"/>
                  </a:lnTo>
                  <a:lnTo>
                    <a:pt x="2506279" y="3846563"/>
                  </a:lnTo>
                  <a:lnTo>
                    <a:pt x="2506279" y="3800208"/>
                  </a:lnTo>
                  <a:close/>
                </a:path>
                <a:path w="2506344" h="4854575" extrusionOk="0">
                  <a:moveTo>
                    <a:pt x="841157" y="3785769"/>
                  </a:moveTo>
                  <a:lnTo>
                    <a:pt x="817985" y="3785769"/>
                  </a:lnTo>
                  <a:lnTo>
                    <a:pt x="817985" y="3832124"/>
                  </a:lnTo>
                  <a:lnTo>
                    <a:pt x="841157" y="3832124"/>
                  </a:lnTo>
                  <a:lnTo>
                    <a:pt x="841157" y="3785769"/>
                  </a:lnTo>
                  <a:close/>
                </a:path>
                <a:path w="2506344" h="4854575" extrusionOk="0">
                  <a:moveTo>
                    <a:pt x="2506279" y="3707531"/>
                  </a:moveTo>
                  <a:lnTo>
                    <a:pt x="2483128" y="3707531"/>
                  </a:lnTo>
                  <a:lnTo>
                    <a:pt x="2483128" y="3753885"/>
                  </a:lnTo>
                  <a:lnTo>
                    <a:pt x="2506279" y="3753885"/>
                  </a:lnTo>
                  <a:lnTo>
                    <a:pt x="2506279" y="3707531"/>
                  </a:lnTo>
                  <a:close/>
                </a:path>
                <a:path w="2506344" h="4854575" extrusionOk="0">
                  <a:moveTo>
                    <a:pt x="841157" y="3693091"/>
                  </a:moveTo>
                  <a:lnTo>
                    <a:pt x="817985" y="3693091"/>
                  </a:lnTo>
                  <a:lnTo>
                    <a:pt x="817985" y="3739446"/>
                  </a:lnTo>
                  <a:lnTo>
                    <a:pt x="841157" y="3739446"/>
                  </a:lnTo>
                  <a:lnTo>
                    <a:pt x="841157" y="3693091"/>
                  </a:lnTo>
                  <a:close/>
                </a:path>
                <a:path w="2506344" h="4854575" extrusionOk="0">
                  <a:moveTo>
                    <a:pt x="2506279" y="3614842"/>
                  </a:moveTo>
                  <a:lnTo>
                    <a:pt x="2483128" y="3614842"/>
                  </a:lnTo>
                  <a:lnTo>
                    <a:pt x="2483128" y="3661197"/>
                  </a:lnTo>
                  <a:lnTo>
                    <a:pt x="2506279" y="3661197"/>
                  </a:lnTo>
                  <a:lnTo>
                    <a:pt x="2506279" y="3614842"/>
                  </a:lnTo>
                  <a:close/>
                </a:path>
                <a:path w="2506344" h="4854575" extrusionOk="0">
                  <a:moveTo>
                    <a:pt x="841157" y="3600434"/>
                  </a:moveTo>
                  <a:lnTo>
                    <a:pt x="817985" y="3600434"/>
                  </a:lnTo>
                  <a:lnTo>
                    <a:pt x="817985" y="3646758"/>
                  </a:lnTo>
                  <a:lnTo>
                    <a:pt x="841157" y="3646758"/>
                  </a:lnTo>
                  <a:lnTo>
                    <a:pt x="841157" y="3600434"/>
                  </a:lnTo>
                  <a:close/>
                </a:path>
                <a:path w="2506344" h="4854575" extrusionOk="0">
                  <a:moveTo>
                    <a:pt x="2506279" y="3522154"/>
                  </a:moveTo>
                  <a:lnTo>
                    <a:pt x="2483128" y="3522154"/>
                  </a:lnTo>
                  <a:lnTo>
                    <a:pt x="2483128" y="3568498"/>
                  </a:lnTo>
                  <a:lnTo>
                    <a:pt x="2506279" y="3568498"/>
                  </a:lnTo>
                  <a:lnTo>
                    <a:pt x="2506279" y="3522154"/>
                  </a:lnTo>
                  <a:close/>
                </a:path>
                <a:path w="2506344" h="4854575" extrusionOk="0">
                  <a:moveTo>
                    <a:pt x="841157" y="3507715"/>
                  </a:moveTo>
                  <a:lnTo>
                    <a:pt x="817985" y="3507715"/>
                  </a:lnTo>
                  <a:lnTo>
                    <a:pt x="817985" y="3554027"/>
                  </a:lnTo>
                  <a:lnTo>
                    <a:pt x="841157" y="3554027"/>
                  </a:lnTo>
                  <a:lnTo>
                    <a:pt x="841157" y="3507715"/>
                  </a:lnTo>
                  <a:close/>
                </a:path>
                <a:path w="2506344" h="4854575" extrusionOk="0">
                  <a:moveTo>
                    <a:pt x="2506279" y="3429466"/>
                  </a:moveTo>
                  <a:lnTo>
                    <a:pt x="2483128" y="3429466"/>
                  </a:lnTo>
                  <a:lnTo>
                    <a:pt x="2483128" y="3475862"/>
                  </a:lnTo>
                  <a:lnTo>
                    <a:pt x="2506279" y="3475862"/>
                  </a:lnTo>
                  <a:lnTo>
                    <a:pt x="2506279" y="3429466"/>
                  </a:lnTo>
                  <a:close/>
                </a:path>
                <a:path w="2506344" h="4854575" extrusionOk="0">
                  <a:moveTo>
                    <a:pt x="841157" y="3415037"/>
                  </a:moveTo>
                  <a:lnTo>
                    <a:pt x="817985" y="3415037"/>
                  </a:lnTo>
                  <a:lnTo>
                    <a:pt x="817985" y="3461360"/>
                  </a:lnTo>
                  <a:lnTo>
                    <a:pt x="841157" y="3461360"/>
                  </a:lnTo>
                  <a:lnTo>
                    <a:pt x="841157" y="3415037"/>
                  </a:lnTo>
                  <a:close/>
                </a:path>
                <a:path w="2506344" h="4854575" extrusionOk="0">
                  <a:moveTo>
                    <a:pt x="2506279" y="3336788"/>
                  </a:moveTo>
                  <a:lnTo>
                    <a:pt x="2483128" y="3336788"/>
                  </a:lnTo>
                  <a:lnTo>
                    <a:pt x="2483128" y="3383153"/>
                  </a:lnTo>
                  <a:lnTo>
                    <a:pt x="2506279" y="3383153"/>
                  </a:lnTo>
                  <a:lnTo>
                    <a:pt x="2506279" y="3336788"/>
                  </a:lnTo>
                  <a:close/>
                </a:path>
                <a:path w="2506344" h="4854575" extrusionOk="0">
                  <a:moveTo>
                    <a:pt x="841157" y="3322349"/>
                  </a:moveTo>
                  <a:lnTo>
                    <a:pt x="817985" y="3322349"/>
                  </a:lnTo>
                  <a:lnTo>
                    <a:pt x="817985" y="3368661"/>
                  </a:lnTo>
                  <a:lnTo>
                    <a:pt x="841157" y="3368661"/>
                  </a:lnTo>
                  <a:lnTo>
                    <a:pt x="841157" y="3322349"/>
                  </a:lnTo>
                  <a:close/>
                </a:path>
                <a:path w="2506344" h="4854575" extrusionOk="0">
                  <a:moveTo>
                    <a:pt x="2506279" y="3244100"/>
                  </a:moveTo>
                  <a:lnTo>
                    <a:pt x="2483128" y="3244100"/>
                  </a:lnTo>
                  <a:lnTo>
                    <a:pt x="2483128" y="3290454"/>
                  </a:lnTo>
                  <a:lnTo>
                    <a:pt x="2506279" y="3290454"/>
                  </a:lnTo>
                  <a:lnTo>
                    <a:pt x="2506279" y="3244100"/>
                  </a:lnTo>
                  <a:close/>
                </a:path>
                <a:path w="2506344" h="4854575" extrusionOk="0">
                  <a:moveTo>
                    <a:pt x="841157" y="3229660"/>
                  </a:moveTo>
                  <a:lnTo>
                    <a:pt x="817985" y="3229660"/>
                  </a:lnTo>
                  <a:lnTo>
                    <a:pt x="817985" y="3275984"/>
                  </a:lnTo>
                  <a:lnTo>
                    <a:pt x="841157" y="3275984"/>
                  </a:lnTo>
                  <a:lnTo>
                    <a:pt x="841157" y="3229660"/>
                  </a:lnTo>
                  <a:close/>
                </a:path>
                <a:path w="2506344" h="4854575" extrusionOk="0">
                  <a:moveTo>
                    <a:pt x="2506279" y="3151422"/>
                  </a:moveTo>
                  <a:lnTo>
                    <a:pt x="2483128" y="3151422"/>
                  </a:lnTo>
                  <a:lnTo>
                    <a:pt x="2483128" y="3197776"/>
                  </a:lnTo>
                  <a:lnTo>
                    <a:pt x="2506279" y="3197776"/>
                  </a:lnTo>
                  <a:lnTo>
                    <a:pt x="2506279" y="3151422"/>
                  </a:lnTo>
                  <a:close/>
                </a:path>
                <a:path w="2506344" h="4854575" extrusionOk="0">
                  <a:moveTo>
                    <a:pt x="841157" y="3136972"/>
                  </a:moveTo>
                  <a:lnTo>
                    <a:pt x="817985" y="3136972"/>
                  </a:lnTo>
                  <a:lnTo>
                    <a:pt x="817985" y="3183295"/>
                  </a:lnTo>
                  <a:lnTo>
                    <a:pt x="841157" y="3183295"/>
                  </a:lnTo>
                  <a:lnTo>
                    <a:pt x="841157" y="3136972"/>
                  </a:lnTo>
                  <a:close/>
                </a:path>
                <a:path w="2506344" h="4854575" extrusionOk="0">
                  <a:moveTo>
                    <a:pt x="2506279" y="3058723"/>
                  </a:moveTo>
                  <a:lnTo>
                    <a:pt x="2483128" y="3058723"/>
                  </a:lnTo>
                  <a:lnTo>
                    <a:pt x="2483128" y="3105046"/>
                  </a:lnTo>
                  <a:lnTo>
                    <a:pt x="2506279" y="3105046"/>
                  </a:lnTo>
                  <a:lnTo>
                    <a:pt x="2506279" y="3058723"/>
                  </a:lnTo>
                  <a:close/>
                </a:path>
                <a:path w="2506344" h="4854575" extrusionOk="0">
                  <a:moveTo>
                    <a:pt x="841157" y="3044294"/>
                  </a:moveTo>
                  <a:lnTo>
                    <a:pt x="817985" y="3044294"/>
                  </a:lnTo>
                  <a:lnTo>
                    <a:pt x="817985" y="3090617"/>
                  </a:lnTo>
                  <a:lnTo>
                    <a:pt x="841157" y="3090617"/>
                  </a:lnTo>
                  <a:lnTo>
                    <a:pt x="841157" y="3044294"/>
                  </a:lnTo>
                  <a:close/>
                </a:path>
                <a:path w="2506344" h="4854575" extrusionOk="0">
                  <a:moveTo>
                    <a:pt x="2506279" y="2966045"/>
                  </a:moveTo>
                  <a:lnTo>
                    <a:pt x="2483128" y="2966045"/>
                  </a:lnTo>
                  <a:lnTo>
                    <a:pt x="2483128" y="3012369"/>
                  </a:lnTo>
                  <a:lnTo>
                    <a:pt x="2506279" y="3012369"/>
                  </a:lnTo>
                  <a:lnTo>
                    <a:pt x="2506279" y="2966045"/>
                  </a:lnTo>
                  <a:close/>
                </a:path>
                <a:path w="2506344" h="4854575" extrusionOk="0">
                  <a:moveTo>
                    <a:pt x="841157" y="2951595"/>
                  </a:moveTo>
                  <a:lnTo>
                    <a:pt x="817985" y="2951595"/>
                  </a:lnTo>
                  <a:lnTo>
                    <a:pt x="817985" y="2997929"/>
                  </a:lnTo>
                  <a:lnTo>
                    <a:pt x="841157" y="2997929"/>
                  </a:lnTo>
                  <a:lnTo>
                    <a:pt x="841157" y="2951595"/>
                  </a:lnTo>
                  <a:close/>
                </a:path>
                <a:path w="2506344" h="4854575" extrusionOk="0">
                  <a:moveTo>
                    <a:pt x="2506279" y="2873357"/>
                  </a:moveTo>
                  <a:lnTo>
                    <a:pt x="2483128" y="2873357"/>
                  </a:lnTo>
                  <a:lnTo>
                    <a:pt x="2483128" y="2919670"/>
                  </a:lnTo>
                  <a:lnTo>
                    <a:pt x="2506279" y="2919670"/>
                  </a:lnTo>
                  <a:lnTo>
                    <a:pt x="2506279" y="2873357"/>
                  </a:lnTo>
                  <a:close/>
                </a:path>
                <a:path w="2506344" h="4854575" extrusionOk="0">
                  <a:moveTo>
                    <a:pt x="841157" y="2858886"/>
                  </a:moveTo>
                  <a:lnTo>
                    <a:pt x="817985" y="2858886"/>
                  </a:lnTo>
                  <a:lnTo>
                    <a:pt x="817985" y="2905230"/>
                  </a:lnTo>
                  <a:lnTo>
                    <a:pt x="841157" y="2905230"/>
                  </a:lnTo>
                  <a:lnTo>
                    <a:pt x="841157" y="2858886"/>
                  </a:lnTo>
                  <a:close/>
                </a:path>
                <a:path w="2506344" h="4854575" extrusionOk="0">
                  <a:moveTo>
                    <a:pt x="2506279" y="2780679"/>
                  </a:moveTo>
                  <a:lnTo>
                    <a:pt x="2483128" y="2780679"/>
                  </a:lnTo>
                  <a:lnTo>
                    <a:pt x="2483128" y="2827002"/>
                  </a:lnTo>
                  <a:lnTo>
                    <a:pt x="2506279" y="2827002"/>
                  </a:lnTo>
                  <a:lnTo>
                    <a:pt x="2506279" y="2780679"/>
                  </a:lnTo>
                  <a:close/>
                </a:path>
                <a:path w="2506344" h="4854575" extrusionOk="0">
                  <a:moveTo>
                    <a:pt x="841157" y="2766208"/>
                  </a:moveTo>
                  <a:lnTo>
                    <a:pt x="817985" y="2766208"/>
                  </a:lnTo>
                  <a:lnTo>
                    <a:pt x="817985" y="2812542"/>
                  </a:lnTo>
                  <a:lnTo>
                    <a:pt x="841157" y="2812542"/>
                  </a:lnTo>
                  <a:lnTo>
                    <a:pt x="841157" y="2766208"/>
                  </a:lnTo>
                  <a:close/>
                </a:path>
                <a:path w="2506344" h="4854575" extrusionOk="0">
                  <a:moveTo>
                    <a:pt x="2506279" y="2687960"/>
                  </a:moveTo>
                  <a:lnTo>
                    <a:pt x="2483128" y="2687960"/>
                  </a:lnTo>
                  <a:lnTo>
                    <a:pt x="2483128" y="2734314"/>
                  </a:lnTo>
                  <a:lnTo>
                    <a:pt x="2506279" y="2734314"/>
                  </a:lnTo>
                  <a:lnTo>
                    <a:pt x="2506279" y="2687960"/>
                  </a:lnTo>
                  <a:close/>
                </a:path>
                <a:path w="2506344" h="4854575" extrusionOk="0">
                  <a:moveTo>
                    <a:pt x="841157" y="2673520"/>
                  </a:moveTo>
                  <a:lnTo>
                    <a:pt x="817985" y="2673520"/>
                  </a:lnTo>
                  <a:lnTo>
                    <a:pt x="817985" y="2719833"/>
                  </a:lnTo>
                  <a:lnTo>
                    <a:pt x="841157" y="2719833"/>
                  </a:lnTo>
                  <a:lnTo>
                    <a:pt x="841157" y="2673520"/>
                  </a:lnTo>
                  <a:close/>
                </a:path>
                <a:path w="2506344" h="4854575" extrusionOk="0">
                  <a:moveTo>
                    <a:pt x="2506279" y="2595271"/>
                  </a:moveTo>
                  <a:lnTo>
                    <a:pt x="2483128" y="2595271"/>
                  </a:lnTo>
                  <a:lnTo>
                    <a:pt x="2483128" y="2641626"/>
                  </a:lnTo>
                  <a:lnTo>
                    <a:pt x="2506279" y="2641626"/>
                  </a:lnTo>
                  <a:lnTo>
                    <a:pt x="2506279" y="2595271"/>
                  </a:lnTo>
                  <a:close/>
                </a:path>
                <a:path w="2506344" h="4854575" extrusionOk="0">
                  <a:moveTo>
                    <a:pt x="841157" y="2580832"/>
                  </a:moveTo>
                  <a:lnTo>
                    <a:pt x="817985" y="2580832"/>
                  </a:lnTo>
                  <a:lnTo>
                    <a:pt x="817985" y="2627187"/>
                  </a:lnTo>
                  <a:lnTo>
                    <a:pt x="841157" y="2627187"/>
                  </a:lnTo>
                  <a:lnTo>
                    <a:pt x="841157" y="2580832"/>
                  </a:lnTo>
                  <a:close/>
                </a:path>
                <a:path w="2506344" h="4854575" extrusionOk="0">
                  <a:moveTo>
                    <a:pt x="2506279" y="2502614"/>
                  </a:moveTo>
                  <a:lnTo>
                    <a:pt x="2483128" y="2502614"/>
                  </a:lnTo>
                  <a:lnTo>
                    <a:pt x="2483128" y="2548938"/>
                  </a:lnTo>
                  <a:lnTo>
                    <a:pt x="2506279" y="2548938"/>
                  </a:lnTo>
                  <a:lnTo>
                    <a:pt x="2506279" y="2502614"/>
                  </a:lnTo>
                  <a:close/>
                </a:path>
                <a:path w="2506344" h="4854575" extrusionOk="0">
                  <a:moveTo>
                    <a:pt x="841157" y="2488154"/>
                  </a:moveTo>
                  <a:lnTo>
                    <a:pt x="817985" y="2488154"/>
                  </a:lnTo>
                  <a:lnTo>
                    <a:pt x="817985" y="2534509"/>
                  </a:lnTo>
                  <a:lnTo>
                    <a:pt x="841157" y="2534509"/>
                  </a:lnTo>
                  <a:lnTo>
                    <a:pt x="841157" y="2488154"/>
                  </a:lnTo>
                  <a:close/>
                </a:path>
                <a:path w="2506344" h="4854575" extrusionOk="0">
                  <a:moveTo>
                    <a:pt x="2506279" y="2409905"/>
                  </a:moveTo>
                  <a:lnTo>
                    <a:pt x="2483128" y="2409905"/>
                  </a:lnTo>
                  <a:lnTo>
                    <a:pt x="2483128" y="2456249"/>
                  </a:lnTo>
                  <a:lnTo>
                    <a:pt x="2506279" y="2456249"/>
                  </a:lnTo>
                  <a:lnTo>
                    <a:pt x="2506279" y="2409905"/>
                  </a:lnTo>
                  <a:close/>
                </a:path>
                <a:path w="2506344" h="4854575" extrusionOk="0">
                  <a:moveTo>
                    <a:pt x="841157" y="2395466"/>
                  </a:moveTo>
                  <a:lnTo>
                    <a:pt x="817985" y="2395466"/>
                  </a:lnTo>
                  <a:lnTo>
                    <a:pt x="817985" y="2441789"/>
                  </a:lnTo>
                  <a:lnTo>
                    <a:pt x="841157" y="2441789"/>
                  </a:lnTo>
                  <a:lnTo>
                    <a:pt x="841157" y="2395466"/>
                  </a:lnTo>
                  <a:close/>
                </a:path>
                <a:path w="2506344" h="4854575" extrusionOk="0">
                  <a:moveTo>
                    <a:pt x="2506279" y="2317196"/>
                  </a:moveTo>
                  <a:lnTo>
                    <a:pt x="2483128" y="2317196"/>
                  </a:lnTo>
                  <a:lnTo>
                    <a:pt x="2483128" y="2363572"/>
                  </a:lnTo>
                  <a:lnTo>
                    <a:pt x="2506279" y="2363572"/>
                  </a:lnTo>
                  <a:lnTo>
                    <a:pt x="2506279" y="2317196"/>
                  </a:lnTo>
                  <a:close/>
                </a:path>
                <a:path w="2506344" h="4854575" extrusionOk="0">
                  <a:moveTo>
                    <a:pt x="841157" y="2302778"/>
                  </a:moveTo>
                  <a:lnTo>
                    <a:pt x="817985" y="2302778"/>
                  </a:lnTo>
                  <a:lnTo>
                    <a:pt x="817985" y="2349111"/>
                  </a:lnTo>
                  <a:lnTo>
                    <a:pt x="841157" y="2349111"/>
                  </a:lnTo>
                  <a:lnTo>
                    <a:pt x="841157" y="2302778"/>
                  </a:lnTo>
                  <a:close/>
                </a:path>
                <a:path w="2506344" h="4854575" extrusionOk="0">
                  <a:moveTo>
                    <a:pt x="2506279" y="2224497"/>
                  </a:moveTo>
                  <a:lnTo>
                    <a:pt x="2483128" y="2224497"/>
                  </a:lnTo>
                  <a:lnTo>
                    <a:pt x="2483128" y="2270862"/>
                  </a:lnTo>
                  <a:lnTo>
                    <a:pt x="2506279" y="2270862"/>
                  </a:lnTo>
                  <a:lnTo>
                    <a:pt x="2506279" y="2224497"/>
                  </a:lnTo>
                  <a:close/>
                </a:path>
                <a:path w="2506344" h="4854575" extrusionOk="0">
                  <a:moveTo>
                    <a:pt x="841157" y="2210089"/>
                  </a:moveTo>
                  <a:lnTo>
                    <a:pt x="817985" y="2210089"/>
                  </a:lnTo>
                  <a:lnTo>
                    <a:pt x="817985" y="2256402"/>
                  </a:lnTo>
                  <a:lnTo>
                    <a:pt x="841157" y="2256402"/>
                  </a:lnTo>
                  <a:lnTo>
                    <a:pt x="841157" y="2210089"/>
                  </a:lnTo>
                  <a:close/>
                </a:path>
                <a:path w="2506344" h="4854575" extrusionOk="0">
                  <a:moveTo>
                    <a:pt x="2506279" y="2131830"/>
                  </a:moveTo>
                  <a:lnTo>
                    <a:pt x="2483128" y="2131830"/>
                  </a:lnTo>
                  <a:lnTo>
                    <a:pt x="2483128" y="2178205"/>
                  </a:lnTo>
                  <a:lnTo>
                    <a:pt x="2506279" y="2178205"/>
                  </a:lnTo>
                  <a:lnTo>
                    <a:pt x="2506279" y="2131830"/>
                  </a:lnTo>
                  <a:close/>
                </a:path>
                <a:path w="2506344" h="4854575" extrusionOk="0">
                  <a:moveTo>
                    <a:pt x="841157" y="2117411"/>
                  </a:moveTo>
                  <a:lnTo>
                    <a:pt x="817985" y="2117411"/>
                  </a:lnTo>
                  <a:lnTo>
                    <a:pt x="817985" y="2163735"/>
                  </a:lnTo>
                  <a:lnTo>
                    <a:pt x="841157" y="2163735"/>
                  </a:lnTo>
                  <a:lnTo>
                    <a:pt x="841157" y="2117411"/>
                  </a:lnTo>
                  <a:close/>
                </a:path>
                <a:path w="2506344" h="4854575" extrusionOk="0">
                  <a:moveTo>
                    <a:pt x="2506279" y="2039142"/>
                  </a:moveTo>
                  <a:lnTo>
                    <a:pt x="2483128" y="2039142"/>
                  </a:lnTo>
                  <a:lnTo>
                    <a:pt x="2483128" y="2085517"/>
                  </a:lnTo>
                  <a:lnTo>
                    <a:pt x="2506279" y="2085517"/>
                  </a:lnTo>
                  <a:lnTo>
                    <a:pt x="2506279" y="2039142"/>
                  </a:lnTo>
                  <a:close/>
                </a:path>
                <a:path w="2506344" h="4854575" extrusionOk="0">
                  <a:moveTo>
                    <a:pt x="841157" y="2024692"/>
                  </a:moveTo>
                  <a:lnTo>
                    <a:pt x="817985" y="2024692"/>
                  </a:lnTo>
                  <a:lnTo>
                    <a:pt x="817985" y="2071015"/>
                  </a:lnTo>
                  <a:lnTo>
                    <a:pt x="841157" y="2071015"/>
                  </a:lnTo>
                  <a:lnTo>
                    <a:pt x="841157" y="2024692"/>
                  </a:lnTo>
                  <a:close/>
                </a:path>
                <a:path w="2506344" h="4854575" extrusionOk="0">
                  <a:moveTo>
                    <a:pt x="2506279" y="1946453"/>
                  </a:moveTo>
                  <a:lnTo>
                    <a:pt x="2483128" y="1946453"/>
                  </a:lnTo>
                  <a:lnTo>
                    <a:pt x="2483128" y="1992797"/>
                  </a:lnTo>
                  <a:lnTo>
                    <a:pt x="2506279" y="1992797"/>
                  </a:lnTo>
                  <a:lnTo>
                    <a:pt x="2506279" y="1946453"/>
                  </a:lnTo>
                  <a:close/>
                </a:path>
                <a:path w="2506344" h="4854575" extrusionOk="0">
                  <a:moveTo>
                    <a:pt x="841157" y="1931983"/>
                  </a:moveTo>
                  <a:lnTo>
                    <a:pt x="817985" y="1931983"/>
                  </a:lnTo>
                  <a:lnTo>
                    <a:pt x="817985" y="1978369"/>
                  </a:lnTo>
                  <a:lnTo>
                    <a:pt x="841157" y="1978369"/>
                  </a:lnTo>
                  <a:lnTo>
                    <a:pt x="841157" y="1931983"/>
                  </a:lnTo>
                  <a:close/>
                </a:path>
                <a:path w="2506344" h="4854575" extrusionOk="0">
                  <a:moveTo>
                    <a:pt x="2506279" y="1853776"/>
                  </a:moveTo>
                  <a:lnTo>
                    <a:pt x="2483128" y="1853776"/>
                  </a:lnTo>
                  <a:lnTo>
                    <a:pt x="2483128" y="1900088"/>
                  </a:lnTo>
                  <a:lnTo>
                    <a:pt x="2506279" y="1900088"/>
                  </a:lnTo>
                  <a:lnTo>
                    <a:pt x="2506279" y="1853776"/>
                  </a:lnTo>
                  <a:close/>
                </a:path>
                <a:path w="2506344" h="4854575" extrusionOk="0">
                  <a:moveTo>
                    <a:pt x="841157" y="1839284"/>
                  </a:moveTo>
                  <a:lnTo>
                    <a:pt x="817985" y="1839284"/>
                  </a:lnTo>
                  <a:lnTo>
                    <a:pt x="817985" y="1885659"/>
                  </a:lnTo>
                  <a:lnTo>
                    <a:pt x="841157" y="1885659"/>
                  </a:lnTo>
                  <a:lnTo>
                    <a:pt x="841157" y="1839284"/>
                  </a:lnTo>
                  <a:close/>
                </a:path>
                <a:path w="2506344" h="4854575" extrusionOk="0">
                  <a:moveTo>
                    <a:pt x="2506279" y="1761087"/>
                  </a:moveTo>
                  <a:lnTo>
                    <a:pt x="2483128" y="1761087"/>
                  </a:lnTo>
                  <a:lnTo>
                    <a:pt x="2483128" y="1807379"/>
                  </a:lnTo>
                  <a:lnTo>
                    <a:pt x="2506279" y="1807379"/>
                  </a:lnTo>
                  <a:lnTo>
                    <a:pt x="2506279" y="1761087"/>
                  </a:lnTo>
                  <a:close/>
                </a:path>
                <a:path w="2506344" h="4854575" extrusionOk="0">
                  <a:moveTo>
                    <a:pt x="841157" y="1746606"/>
                  </a:moveTo>
                  <a:lnTo>
                    <a:pt x="817985" y="1746606"/>
                  </a:lnTo>
                  <a:lnTo>
                    <a:pt x="817985" y="1792982"/>
                  </a:lnTo>
                  <a:lnTo>
                    <a:pt x="841157" y="1792982"/>
                  </a:lnTo>
                  <a:lnTo>
                    <a:pt x="841157" y="1746606"/>
                  </a:lnTo>
                  <a:close/>
                </a:path>
                <a:path w="2506344" h="4854575" extrusionOk="0">
                  <a:moveTo>
                    <a:pt x="2506279" y="1668409"/>
                  </a:moveTo>
                  <a:lnTo>
                    <a:pt x="2483128" y="1668409"/>
                  </a:lnTo>
                  <a:lnTo>
                    <a:pt x="2483128" y="1714722"/>
                  </a:lnTo>
                  <a:lnTo>
                    <a:pt x="2506279" y="1714722"/>
                  </a:lnTo>
                  <a:lnTo>
                    <a:pt x="2506279" y="1668409"/>
                  </a:lnTo>
                  <a:close/>
                </a:path>
                <a:path w="2506344" h="4854575" extrusionOk="0">
                  <a:moveTo>
                    <a:pt x="841157" y="1653939"/>
                  </a:moveTo>
                  <a:lnTo>
                    <a:pt x="817985" y="1653939"/>
                  </a:lnTo>
                  <a:lnTo>
                    <a:pt x="817985" y="1700293"/>
                  </a:lnTo>
                  <a:lnTo>
                    <a:pt x="841157" y="1700293"/>
                  </a:lnTo>
                  <a:lnTo>
                    <a:pt x="841157" y="1653939"/>
                  </a:lnTo>
                  <a:close/>
                </a:path>
                <a:path w="2506344" h="4854575" extrusionOk="0">
                  <a:moveTo>
                    <a:pt x="2506279" y="1575700"/>
                  </a:moveTo>
                  <a:lnTo>
                    <a:pt x="2483128" y="1575700"/>
                  </a:lnTo>
                  <a:lnTo>
                    <a:pt x="2483128" y="1622013"/>
                  </a:lnTo>
                  <a:lnTo>
                    <a:pt x="2506279" y="1622013"/>
                  </a:lnTo>
                  <a:lnTo>
                    <a:pt x="2506279" y="1575700"/>
                  </a:lnTo>
                  <a:close/>
                </a:path>
                <a:path w="2506344" h="4854575" extrusionOk="0">
                  <a:moveTo>
                    <a:pt x="841157" y="1561250"/>
                  </a:moveTo>
                  <a:lnTo>
                    <a:pt x="817985" y="1561250"/>
                  </a:lnTo>
                  <a:lnTo>
                    <a:pt x="817985" y="1607574"/>
                  </a:lnTo>
                  <a:lnTo>
                    <a:pt x="841157" y="1607574"/>
                  </a:lnTo>
                  <a:lnTo>
                    <a:pt x="841157" y="1561250"/>
                  </a:lnTo>
                  <a:close/>
                </a:path>
                <a:path w="2506344" h="4854575" extrusionOk="0">
                  <a:moveTo>
                    <a:pt x="2506279" y="1483022"/>
                  </a:moveTo>
                  <a:lnTo>
                    <a:pt x="2483128" y="1483022"/>
                  </a:lnTo>
                  <a:lnTo>
                    <a:pt x="2483128" y="1529356"/>
                  </a:lnTo>
                  <a:lnTo>
                    <a:pt x="2506279" y="1529356"/>
                  </a:lnTo>
                  <a:lnTo>
                    <a:pt x="2506279" y="1483022"/>
                  </a:lnTo>
                  <a:close/>
                </a:path>
                <a:path w="2506344" h="4854575" extrusionOk="0">
                  <a:moveTo>
                    <a:pt x="841157" y="1468552"/>
                  </a:moveTo>
                  <a:lnTo>
                    <a:pt x="817985" y="1468552"/>
                  </a:lnTo>
                  <a:lnTo>
                    <a:pt x="817985" y="1514927"/>
                  </a:lnTo>
                  <a:lnTo>
                    <a:pt x="841157" y="1514927"/>
                  </a:lnTo>
                  <a:lnTo>
                    <a:pt x="841157" y="1468552"/>
                  </a:lnTo>
                  <a:close/>
                </a:path>
                <a:path w="2506344" h="4854575" extrusionOk="0">
                  <a:moveTo>
                    <a:pt x="2506279" y="1390345"/>
                  </a:moveTo>
                  <a:lnTo>
                    <a:pt x="2483128" y="1390345"/>
                  </a:lnTo>
                  <a:lnTo>
                    <a:pt x="2483128" y="1436657"/>
                  </a:lnTo>
                  <a:lnTo>
                    <a:pt x="2506279" y="1436657"/>
                  </a:lnTo>
                  <a:lnTo>
                    <a:pt x="2506279" y="1390345"/>
                  </a:lnTo>
                  <a:close/>
                </a:path>
                <a:path w="2506344" h="4854575" extrusionOk="0">
                  <a:moveTo>
                    <a:pt x="841157" y="1375863"/>
                  </a:moveTo>
                  <a:lnTo>
                    <a:pt x="817985" y="1375863"/>
                  </a:lnTo>
                  <a:lnTo>
                    <a:pt x="817985" y="1422228"/>
                  </a:lnTo>
                  <a:lnTo>
                    <a:pt x="841157" y="1422228"/>
                  </a:lnTo>
                  <a:lnTo>
                    <a:pt x="841157" y="1375863"/>
                  </a:lnTo>
                  <a:close/>
                </a:path>
                <a:path w="2506344" h="4854575" extrusionOk="0">
                  <a:moveTo>
                    <a:pt x="2506279" y="1297646"/>
                  </a:moveTo>
                  <a:lnTo>
                    <a:pt x="2483128" y="1297646"/>
                  </a:lnTo>
                  <a:lnTo>
                    <a:pt x="2483128" y="1343969"/>
                  </a:lnTo>
                  <a:lnTo>
                    <a:pt x="2506279" y="1343969"/>
                  </a:lnTo>
                  <a:lnTo>
                    <a:pt x="2506279" y="1297646"/>
                  </a:lnTo>
                  <a:close/>
                </a:path>
                <a:path w="2506344" h="4854575" extrusionOk="0">
                  <a:moveTo>
                    <a:pt x="838927" y="1282474"/>
                  </a:moveTo>
                  <a:lnTo>
                    <a:pt x="815828" y="1284044"/>
                  </a:lnTo>
                  <a:lnTo>
                    <a:pt x="816532" y="1295431"/>
                  </a:lnTo>
                  <a:lnTo>
                    <a:pt x="817100" y="1306851"/>
                  </a:lnTo>
                  <a:lnTo>
                    <a:pt x="817527" y="1318304"/>
                  </a:lnTo>
                  <a:lnTo>
                    <a:pt x="817807" y="1329791"/>
                  </a:lnTo>
                  <a:lnTo>
                    <a:pt x="840979" y="1329320"/>
                  </a:lnTo>
                  <a:lnTo>
                    <a:pt x="840673" y="1317546"/>
                  </a:lnTo>
                  <a:lnTo>
                    <a:pt x="840236" y="1305814"/>
                  </a:lnTo>
                  <a:lnTo>
                    <a:pt x="839657" y="1294124"/>
                  </a:lnTo>
                  <a:lnTo>
                    <a:pt x="838927" y="1282474"/>
                  </a:lnTo>
                  <a:close/>
                </a:path>
                <a:path w="2506344" h="4854575" extrusionOk="0">
                  <a:moveTo>
                    <a:pt x="2506279" y="1204937"/>
                  </a:moveTo>
                  <a:lnTo>
                    <a:pt x="2483128" y="1204937"/>
                  </a:lnTo>
                  <a:lnTo>
                    <a:pt x="2483128" y="1251291"/>
                  </a:lnTo>
                  <a:lnTo>
                    <a:pt x="2506279" y="1251291"/>
                  </a:lnTo>
                  <a:lnTo>
                    <a:pt x="2506279" y="1204937"/>
                  </a:lnTo>
                  <a:close/>
                </a:path>
                <a:path w="2506344" h="4854575" extrusionOk="0">
                  <a:moveTo>
                    <a:pt x="828048" y="1189325"/>
                  </a:moveTo>
                  <a:lnTo>
                    <a:pt x="805179" y="1193167"/>
                  </a:lnTo>
                  <a:lnTo>
                    <a:pt x="806988" y="1204416"/>
                  </a:lnTo>
                  <a:lnTo>
                    <a:pt x="808654" y="1215716"/>
                  </a:lnTo>
                  <a:lnTo>
                    <a:pt x="810193" y="1227064"/>
                  </a:lnTo>
                  <a:lnTo>
                    <a:pt x="811619" y="1238454"/>
                  </a:lnTo>
                  <a:lnTo>
                    <a:pt x="834592" y="1235773"/>
                  </a:lnTo>
                  <a:lnTo>
                    <a:pt x="833164" y="1224095"/>
                  </a:lnTo>
                  <a:lnTo>
                    <a:pt x="831591" y="1212463"/>
                  </a:lnTo>
                  <a:lnTo>
                    <a:pt x="829881" y="1200873"/>
                  </a:lnTo>
                  <a:lnTo>
                    <a:pt x="828048" y="1189325"/>
                  </a:lnTo>
                  <a:close/>
                </a:path>
                <a:path w="2506344" h="4854575" extrusionOk="0">
                  <a:moveTo>
                    <a:pt x="2506279" y="1112259"/>
                  </a:moveTo>
                  <a:lnTo>
                    <a:pt x="2483128" y="1112259"/>
                  </a:lnTo>
                  <a:lnTo>
                    <a:pt x="2483128" y="1158592"/>
                  </a:lnTo>
                  <a:lnTo>
                    <a:pt x="2506279" y="1158592"/>
                  </a:lnTo>
                  <a:lnTo>
                    <a:pt x="2506279" y="1112259"/>
                  </a:lnTo>
                  <a:close/>
                </a:path>
                <a:path w="2506344" h="4854575" extrusionOk="0">
                  <a:moveTo>
                    <a:pt x="808101" y="1097715"/>
                  </a:moveTo>
                  <a:lnTo>
                    <a:pt x="785745" y="1103736"/>
                  </a:lnTo>
                  <a:lnTo>
                    <a:pt x="788654" y="1114789"/>
                  </a:lnTo>
                  <a:lnTo>
                    <a:pt x="791420" y="1125876"/>
                  </a:lnTo>
                  <a:lnTo>
                    <a:pt x="794053" y="1137010"/>
                  </a:lnTo>
                  <a:lnTo>
                    <a:pt x="796562" y="1148205"/>
                  </a:lnTo>
                  <a:lnTo>
                    <a:pt x="819231" y="1143326"/>
                  </a:lnTo>
                  <a:lnTo>
                    <a:pt x="816650" y="1131827"/>
                  </a:lnTo>
                  <a:lnTo>
                    <a:pt x="813933" y="1120391"/>
                  </a:lnTo>
                  <a:lnTo>
                    <a:pt x="811082" y="1109019"/>
                  </a:lnTo>
                  <a:lnTo>
                    <a:pt x="808101" y="1097715"/>
                  </a:lnTo>
                  <a:close/>
                </a:path>
                <a:path w="2506344" h="4854575" extrusionOk="0">
                  <a:moveTo>
                    <a:pt x="2506279" y="1019560"/>
                  </a:moveTo>
                  <a:lnTo>
                    <a:pt x="2483128" y="1019560"/>
                  </a:lnTo>
                  <a:lnTo>
                    <a:pt x="2483128" y="1065925"/>
                  </a:lnTo>
                  <a:lnTo>
                    <a:pt x="2506279" y="1065925"/>
                  </a:lnTo>
                  <a:lnTo>
                    <a:pt x="2506279" y="1019560"/>
                  </a:lnTo>
                  <a:close/>
                </a:path>
                <a:path w="2506344" h="4854575" extrusionOk="0">
                  <a:moveTo>
                    <a:pt x="779232" y="1008534"/>
                  </a:moveTo>
                  <a:lnTo>
                    <a:pt x="757599" y="1016712"/>
                  </a:lnTo>
                  <a:lnTo>
                    <a:pt x="761582" y="1027425"/>
                  </a:lnTo>
                  <a:lnTo>
                    <a:pt x="765441" y="1038190"/>
                  </a:lnTo>
                  <a:lnTo>
                    <a:pt x="769172" y="1049015"/>
                  </a:lnTo>
                  <a:lnTo>
                    <a:pt x="772772" y="1059904"/>
                  </a:lnTo>
                  <a:lnTo>
                    <a:pt x="794782" y="1052774"/>
                  </a:lnTo>
                  <a:lnTo>
                    <a:pt x="791096" y="1041609"/>
                  </a:lnTo>
                  <a:lnTo>
                    <a:pt x="787278" y="1030513"/>
                  </a:lnTo>
                  <a:lnTo>
                    <a:pt x="783324" y="1019487"/>
                  </a:lnTo>
                  <a:lnTo>
                    <a:pt x="779232" y="1008534"/>
                  </a:lnTo>
                  <a:close/>
                </a:path>
                <a:path w="2506344" h="4854575" extrusionOk="0">
                  <a:moveTo>
                    <a:pt x="741642" y="922390"/>
                  </a:moveTo>
                  <a:lnTo>
                    <a:pt x="720920" y="932715"/>
                  </a:lnTo>
                  <a:lnTo>
                    <a:pt x="725945" y="942999"/>
                  </a:lnTo>
                  <a:lnTo>
                    <a:pt x="730853" y="953346"/>
                  </a:lnTo>
                  <a:lnTo>
                    <a:pt x="735637" y="963762"/>
                  </a:lnTo>
                  <a:lnTo>
                    <a:pt x="740291" y="974253"/>
                  </a:lnTo>
                  <a:lnTo>
                    <a:pt x="761495" y="964954"/>
                  </a:lnTo>
                  <a:lnTo>
                    <a:pt x="756743" y="954204"/>
                  </a:lnTo>
                  <a:lnTo>
                    <a:pt x="751843" y="943523"/>
                  </a:lnTo>
                  <a:lnTo>
                    <a:pt x="746706" y="932715"/>
                  </a:lnTo>
                  <a:lnTo>
                    <a:pt x="741642" y="922390"/>
                  </a:lnTo>
                  <a:close/>
                </a:path>
                <a:path w="2506344" h="4854575" extrusionOk="0">
                  <a:moveTo>
                    <a:pt x="2506279" y="926882"/>
                  </a:moveTo>
                  <a:lnTo>
                    <a:pt x="2483128" y="926882"/>
                  </a:lnTo>
                  <a:lnTo>
                    <a:pt x="2483128" y="973216"/>
                  </a:lnTo>
                  <a:lnTo>
                    <a:pt x="2506279" y="973216"/>
                  </a:lnTo>
                  <a:lnTo>
                    <a:pt x="2506279" y="926882"/>
                  </a:lnTo>
                  <a:close/>
                </a:path>
                <a:path w="2506344" h="4854575" extrusionOk="0">
                  <a:moveTo>
                    <a:pt x="695696" y="840477"/>
                  </a:moveTo>
                  <a:lnTo>
                    <a:pt x="676105" y="852780"/>
                  </a:lnTo>
                  <a:lnTo>
                    <a:pt x="682116" y="862514"/>
                  </a:lnTo>
                  <a:lnTo>
                    <a:pt x="688013" y="872324"/>
                  </a:lnTo>
                  <a:lnTo>
                    <a:pt x="693804" y="882212"/>
                  </a:lnTo>
                  <a:lnTo>
                    <a:pt x="699497" y="892182"/>
                  </a:lnTo>
                  <a:lnTo>
                    <a:pt x="719653" y="880894"/>
                  </a:lnTo>
                  <a:lnTo>
                    <a:pt x="713853" y="870647"/>
                  </a:lnTo>
                  <a:lnTo>
                    <a:pt x="707922" y="860505"/>
                  </a:lnTo>
                  <a:lnTo>
                    <a:pt x="701867" y="850452"/>
                  </a:lnTo>
                  <a:lnTo>
                    <a:pt x="695696" y="840477"/>
                  </a:lnTo>
                  <a:close/>
                </a:path>
                <a:path w="2506344" h="4854575" extrusionOk="0">
                  <a:moveTo>
                    <a:pt x="2506279" y="834194"/>
                  </a:moveTo>
                  <a:lnTo>
                    <a:pt x="2483128" y="834194"/>
                  </a:lnTo>
                  <a:lnTo>
                    <a:pt x="2483128" y="880549"/>
                  </a:lnTo>
                  <a:lnTo>
                    <a:pt x="2506279" y="880549"/>
                  </a:lnTo>
                  <a:lnTo>
                    <a:pt x="2506279" y="834194"/>
                  </a:lnTo>
                  <a:close/>
                </a:path>
                <a:path w="2506344" h="4854575" extrusionOk="0">
                  <a:moveTo>
                    <a:pt x="641812" y="763568"/>
                  </a:moveTo>
                  <a:lnTo>
                    <a:pt x="623530" y="777787"/>
                  </a:lnTo>
                  <a:lnTo>
                    <a:pt x="630490" y="786864"/>
                  </a:lnTo>
                  <a:lnTo>
                    <a:pt x="637343" y="796029"/>
                  </a:lnTo>
                  <a:lnTo>
                    <a:pt x="644087" y="805274"/>
                  </a:lnTo>
                  <a:lnTo>
                    <a:pt x="650723" y="814592"/>
                  </a:lnTo>
                  <a:lnTo>
                    <a:pt x="669717" y="801357"/>
                  </a:lnTo>
                  <a:lnTo>
                    <a:pt x="662903" y="791774"/>
                  </a:lnTo>
                  <a:lnTo>
                    <a:pt x="655981" y="782282"/>
                  </a:lnTo>
                  <a:lnTo>
                    <a:pt x="648951" y="772880"/>
                  </a:lnTo>
                  <a:lnTo>
                    <a:pt x="641812" y="763568"/>
                  </a:lnTo>
                  <a:close/>
                </a:path>
                <a:path w="2506344" h="4854575" extrusionOk="0">
                  <a:moveTo>
                    <a:pt x="2506279" y="741516"/>
                  </a:moveTo>
                  <a:lnTo>
                    <a:pt x="2483128" y="741516"/>
                  </a:lnTo>
                  <a:lnTo>
                    <a:pt x="2483128" y="787871"/>
                  </a:lnTo>
                  <a:lnTo>
                    <a:pt x="2506279" y="787871"/>
                  </a:lnTo>
                  <a:lnTo>
                    <a:pt x="2506279" y="741516"/>
                  </a:lnTo>
                  <a:close/>
                </a:path>
                <a:path w="2506344" h="4854575" extrusionOk="0">
                  <a:moveTo>
                    <a:pt x="580558" y="692481"/>
                  </a:moveTo>
                  <a:lnTo>
                    <a:pt x="563773" y="708439"/>
                  </a:lnTo>
                  <a:lnTo>
                    <a:pt x="571623" y="716771"/>
                  </a:lnTo>
                  <a:lnTo>
                    <a:pt x="579364" y="725201"/>
                  </a:lnTo>
                  <a:lnTo>
                    <a:pt x="587003" y="733731"/>
                  </a:lnTo>
                  <a:lnTo>
                    <a:pt x="594547" y="742364"/>
                  </a:lnTo>
                  <a:lnTo>
                    <a:pt x="612096" y="727202"/>
                  </a:lnTo>
                  <a:lnTo>
                    <a:pt x="604363" y="718371"/>
                  </a:lnTo>
                  <a:lnTo>
                    <a:pt x="596527" y="709642"/>
                  </a:lnTo>
                  <a:lnTo>
                    <a:pt x="588591" y="701012"/>
                  </a:lnTo>
                  <a:lnTo>
                    <a:pt x="580558" y="692481"/>
                  </a:lnTo>
                  <a:close/>
                </a:path>
                <a:path w="2506344" h="4854575" extrusionOk="0">
                  <a:moveTo>
                    <a:pt x="2506279" y="648828"/>
                  </a:moveTo>
                  <a:lnTo>
                    <a:pt x="2483128" y="648828"/>
                  </a:lnTo>
                  <a:lnTo>
                    <a:pt x="2483128" y="695183"/>
                  </a:lnTo>
                  <a:lnTo>
                    <a:pt x="2506279" y="695183"/>
                  </a:lnTo>
                  <a:lnTo>
                    <a:pt x="2506279" y="648828"/>
                  </a:lnTo>
                  <a:close/>
                </a:path>
                <a:path w="2506344" h="4854575" extrusionOk="0">
                  <a:moveTo>
                    <a:pt x="512445" y="627823"/>
                  </a:moveTo>
                  <a:lnTo>
                    <a:pt x="497429" y="645467"/>
                  </a:lnTo>
                  <a:lnTo>
                    <a:pt x="506068" y="652950"/>
                  </a:lnTo>
                  <a:lnTo>
                    <a:pt x="514603" y="660554"/>
                  </a:lnTo>
                  <a:lnTo>
                    <a:pt x="523046" y="668274"/>
                  </a:lnTo>
                  <a:lnTo>
                    <a:pt x="531407" y="676105"/>
                  </a:lnTo>
                  <a:lnTo>
                    <a:pt x="547313" y="659267"/>
                  </a:lnTo>
                  <a:lnTo>
                    <a:pt x="538744" y="651246"/>
                  </a:lnTo>
                  <a:lnTo>
                    <a:pt x="530079" y="643329"/>
                  </a:lnTo>
                  <a:lnTo>
                    <a:pt x="521313" y="635521"/>
                  </a:lnTo>
                  <a:lnTo>
                    <a:pt x="512445" y="627823"/>
                  </a:lnTo>
                  <a:close/>
                </a:path>
                <a:path w="2506344" h="4854575" extrusionOk="0">
                  <a:moveTo>
                    <a:pt x="438154" y="570558"/>
                  </a:moveTo>
                  <a:lnTo>
                    <a:pt x="424992" y="589605"/>
                  </a:lnTo>
                  <a:lnTo>
                    <a:pt x="434355" y="596175"/>
                  </a:lnTo>
                  <a:lnTo>
                    <a:pt x="443629" y="602862"/>
                  </a:lnTo>
                  <a:lnTo>
                    <a:pt x="452814" y="609661"/>
                  </a:lnTo>
                  <a:lnTo>
                    <a:pt x="461912" y="616567"/>
                  </a:lnTo>
                  <a:lnTo>
                    <a:pt x="476069" y="598254"/>
                  </a:lnTo>
                  <a:lnTo>
                    <a:pt x="466734" y="591151"/>
                  </a:lnTo>
                  <a:lnTo>
                    <a:pt x="457308" y="584166"/>
                  </a:lnTo>
                  <a:lnTo>
                    <a:pt x="447783" y="577302"/>
                  </a:lnTo>
                  <a:lnTo>
                    <a:pt x="438154" y="570558"/>
                  </a:lnTo>
                  <a:close/>
                </a:path>
                <a:path w="2506344" h="4854575" extrusionOk="0">
                  <a:moveTo>
                    <a:pt x="2506279" y="556140"/>
                  </a:moveTo>
                  <a:lnTo>
                    <a:pt x="2483128" y="556140"/>
                  </a:lnTo>
                  <a:lnTo>
                    <a:pt x="2483128" y="602494"/>
                  </a:lnTo>
                  <a:lnTo>
                    <a:pt x="2506279" y="602494"/>
                  </a:lnTo>
                  <a:lnTo>
                    <a:pt x="2506279" y="556140"/>
                  </a:lnTo>
                  <a:close/>
                </a:path>
                <a:path w="2506344" h="4854575" extrusionOk="0">
                  <a:moveTo>
                    <a:pt x="358460" y="521177"/>
                  </a:moveTo>
                  <a:lnTo>
                    <a:pt x="347329" y="541480"/>
                  </a:lnTo>
                  <a:lnTo>
                    <a:pt x="357309" y="547046"/>
                  </a:lnTo>
                  <a:lnTo>
                    <a:pt x="367210" y="552748"/>
                  </a:lnTo>
                  <a:lnTo>
                    <a:pt x="377033" y="558586"/>
                  </a:lnTo>
                  <a:lnTo>
                    <a:pt x="386784" y="564558"/>
                  </a:lnTo>
                  <a:lnTo>
                    <a:pt x="398951" y="544831"/>
                  </a:lnTo>
                  <a:lnTo>
                    <a:pt x="388959" y="538723"/>
                  </a:lnTo>
                  <a:lnTo>
                    <a:pt x="378874" y="532745"/>
                  </a:lnTo>
                  <a:lnTo>
                    <a:pt x="368705" y="526896"/>
                  </a:lnTo>
                  <a:lnTo>
                    <a:pt x="358460" y="521177"/>
                  </a:lnTo>
                  <a:close/>
                </a:path>
                <a:path w="2506344" h="4854575" extrusionOk="0">
                  <a:moveTo>
                    <a:pt x="274106" y="480383"/>
                  </a:moveTo>
                  <a:lnTo>
                    <a:pt x="265143" y="501712"/>
                  </a:lnTo>
                  <a:lnTo>
                    <a:pt x="275649" y="506223"/>
                  </a:lnTo>
                  <a:lnTo>
                    <a:pt x="286082" y="510865"/>
                  </a:lnTo>
                  <a:lnTo>
                    <a:pt x="296457" y="515634"/>
                  </a:lnTo>
                  <a:lnTo>
                    <a:pt x="306786" y="520528"/>
                  </a:lnTo>
                  <a:lnTo>
                    <a:pt x="316848" y="499670"/>
                  </a:lnTo>
                  <a:lnTo>
                    <a:pt x="306264" y="494657"/>
                  </a:lnTo>
                  <a:lnTo>
                    <a:pt x="295607" y="489759"/>
                  </a:lnTo>
                  <a:lnTo>
                    <a:pt x="284886" y="484996"/>
                  </a:lnTo>
                  <a:lnTo>
                    <a:pt x="274106" y="480383"/>
                  </a:lnTo>
                  <a:close/>
                </a:path>
                <a:path w="2506344" h="4854575" extrusionOk="0">
                  <a:moveTo>
                    <a:pt x="2506279" y="463451"/>
                  </a:moveTo>
                  <a:lnTo>
                    <a:pt x="2483128" y="463451"/>
                  </a:lnTo>
                  <a:lnTo>
                    <a:pt x="2483128" y="509764"/>
                  </a:lnTo>
                  <a:lnTo>
                    <a:pt x="2506279" y="509764"/>
                  </a:lnTo>
                  <a:lnTo>
                    <a:pt x="2506279" y="463451"/>
                  </a:lnTo>
                  <a:close/>
                </a:path>
                <a:path w="2506344" h="4854575" extrusionOk="0">
                  <a:moveTo>
                    <a:pt x="186015" y="448666"/>
                  </a:moveTo>
                  <a:lnTo>
                    <a:pt x="179345" y="470823"/>
                  </a:lnTo>
                  <a:lnTo>
                    <a:pt x="190261" y="474207"/>
                  </a:lnTo>
                  <a:lnTo>
                    <a:pt x="201114" y="477721"/>
                  </a:lnTo>
                  <a:lnTo>
                    <a:pt x="211904" y="481372"/>
                  </a:lnTo>
                  <a:lnTo>
                    <a:pt x="222631" y="485168"/>
                  </a:lnTo>
                  <a:lnTo>
                    <a:pt x="230474" y="463357"/>
                  </a:lnTo>
                  <a:lnTo>
                    <a:pt x="219460" y="459471"/>
                  </a:lnTo>
                  <a:lnTo>
                    <a:pt x="208378" y="455729"/>
                  </a:lnTo>
                  <a:lnTo>
                    <a:pt x="197229" y="452128"/>
                  </a:lnTo>
                  <a:lnTo>
                    <a:pt x="186015" y="448666"/>
                  </a:lnTo>
                  <a:close/>
                </a:path>
                <a:path w="2506344" h="4854575" extrusionOk="0">
                  <a:moveTo>
                    <a:pt x="94845" y="426363"/>
                  </a:moveTo>
                  <a:lnTo>
                    <a:pt x="90541" y="449096"/>
                  </a:lnTo>
                  <a:lnTo>
                    <a:pt x="101810" y="451310"/>
                  </a:lnTo>
                  <a:lnTo>
                    <a:pt x="113007" y="453656"/>
                  </a:lnTo>
                  <a:lnTo>
                    <a:pt x="124140" y="456143"/>
                  </a:lnTo>
                  <a:lnTo>
                    <a:pt x="135221" y="458781"/>
                  </a:lnTo>
                  <a:lnTo>
                    <a:pt x="140739" y="436311"/>
                  </a:lnTo>
                  <a:lnTo>
                    <a:pt x="129351" y="433605"/>
                  </a:lnTo>
                  <a:lnTo>
                    <a:pt x="117910" y="431047"/>
                  </a:lnTo>
                  <a:lnTo>
                    <a:pt x="106410" y="428633"/>
                  </a:lnTo>
                  <a:lnTo>
                    <a:pt x="94845" y="426363"/>
                  </a:lnTo>
                  <a:close/>
                </a:path>
                <a:path w="2506344" h="4854575" extrusionOk="0">
                  <a:moveTo>
                    <a:pt x="1821" y="413819"/>
                  </a:moveTo>
                  <a:lnTo>
                    <a:pt x="0" y="436950"/>
                  </a:lnTo>
                  <a:lnTo>
                    <a:pt x="11407" y="437943"/>
                  </a:lnTo>
                  <a:lnTo>
                    <a:pt x="22780" y="439086"/>
                  </a:lnTo>
                  <a:lnTo>
                    <a:pt x="34124" y="440377"/>
                  </a:lnTo>
                  <a:lnTo>
                    <a:pt x="45443" y="441819"/>
                  </a:lnTo>
                  <a:lnTo>
                    <a:pt x="48501" y="418845"/>
                  </a:lnTo>
                  <a:lnTo>
                    <a:pt x="36890" y="417387"/>
                  </a:lnTo>
                  <a:lnTo>
                    <a:pt x="25240" y="416054"/>
                  </a:lnTo>
                  <a:lnTo>
                    <a:pt x="13550" y="414859"/>
                  </a:lnTo>
                  <a:lnTo>
                    <a:pt x="1821" y="413819"/>
                  </a:lnTo>
                  <a:close/>
                </a:path>
                <a:path w="2506344" h="4854575" extrusionOk="0">
                  <a:moveTo>
                    <a:pt x="2506279" y="370763"/>
                  </a:moveTo>
                  <a:lnTo>
                    <a:pt x="2483128" y="370763"/>
                  </a:lnTo>
                  <a:lnTo>
                    <a:pt x="2483128" y="417097"/>
                  </a:lnTo>
                  <a:lnTo>
                    <a:pt x="2506279" y="417097"/>
                  </a:lnTo>
                  <a:lnTo>
                    <a:pt x="2506279" y="370763"/>
                  </a:lnTo>
                  <a:close/>
                </a:path>
                <a:path w="2506344" h="4854575" extrusionOk="0">
                  <a:moveTo>
                    <a:pt x="2506279" y="278075"/>
                  </a:moveTo>
                  <a:lnTo>
                    <a:pt x="2483128" y="278075"/>
                  </a:lnTo>
                  <a:lnTo>
                    <a:pt x="2483128" y="324377"/>
                  </a:lnTo>
                  <a:lnTo>
                    <a:pt x="2506279" y="324377"/>
                  </a:lnTo>
                  <a:lnTo>
                    <a:pt x="2506279" y="278075"/>
                  </a:lnTo>
                  <a:close/>
                </a:path>
                <a:path w="2506344" h="4854575" extrusionOk="0">
                  <a:moveTo>
                    <a:pt x="2506279" y="185397"/>
                  </a:moveTo>
                  <a:lnTo>
                    <a:pt x="2483128" y="185397"/>
                  </a:lnTo>
                  <a:lnTo>
                    <a:pt x="2483128" y="231720"/>
                  </a:lnTo>
                  <a:lnTo>
                    <a:pt x="2506279" y="231720"/>
                  </a:lnTo>
                  <a:lnTo>
                    <a:pt x="2506279" y="185397"/>
                  </a:lnTo>
                  <a:close/>
                </a:path>
                <a:path w="2506344" h="4854575" extrusionOk="0">
                  <a:moveTo>
                    <a:pt x="2506279" y="92709"/>
                  </a:moveTo>
                  <a:lnTo>
                    <a:pt x="2483128" y="92709"/>
                  </a:lnTo>
                  <a:lnTo>
                    <a:pt x="2483128" y="139032"/>
                  </a:lnTo>
                  <a:lnTo>
                    <a:pt x="2506279" y="139032"/>
                  </a:lnTo>
                  <a:lnTo>
                    <a:pt x="2506279" y="92709"/>
                  </a:lnTo>
                  <a:close/>
                </a:path>
                <a:path w="2506344" h="4854575" extrusionOk="0">
                  <a:moveTo>
                    <a:pt x="2506279" y="0"/>
                  </a:moveTo>
                  <a:lnTo>
                    <a:pt x="2483128" y="0"/>
                  </a:lnTo>
                  <a:lnTo>
                    <a:pt x="2483128" y="46354"/>
                  </a:lnTo>
                  <a:lnTo>
                    <a:pt x="2506279" y="46354"/>
                  </a:lnTo>
                  <a:lnTo>
                    <a:pt x="2506279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134;p1"/>
            <p:cNvSpPr/>
            <p:nvPr/>
          </p:nvSpPr>
          <p:spPr>
            <a:xfrm>
              <a:off x="15297838" y="5148052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0" y="0"/>
                  </a:moveTo>
                  <a:lnTo>
                    <a:pt x="0" y="23161"/>
                  </a:lnTo>
                  <a:lnTo>
                    <a:pt x="15287" y="23245"/>
                  </a:lnTo>
                  <a:lnTo>
                    <a:pt x="22847" y="23465"/>
                  </a:lnTo>
                  <a:lnTo>
                    <a:pt x="23496" y="303"/>
                  </a:lnTo>
                  <a:lnTo>
                    <a:pt x="15674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135;p1"/>
            <p:cNvSpPr/>
            <p:nvPr/>
          </p:nvSpPr>
          <p:spPr>
            <a:xfrm>
              <a:off x="17863633" y="10"/>
              <a:ext cx="0" cy="4667885"/>
            </a:xfrm>
            <a:custGeom>
              <a:avLst/>
              <a:gdLst/>
              <a:ahLst/>
              <a:cxnLst/>
              <a:rect l="l" t="t" r="r" b="b"/>
              <a:pathLst>
                <a:path w="120000" h="4667885" extrusionOk="0">
                  <a:moveTo>
                    <a:pt x="0" y="0"/>
                  </a:moveTo>
                  <a:lnTo>
                    <a:pt x="0" y="4667658"/>
                  </a:lnTo>
                </a:path>
              </a:pathLst>
            </a:custGeom>
            <a:noFill/>
            <a:ln w="4630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1"/>
            <p:cNvSpPr/>
            <p:nvPr/>
          </p:nvSpPr>
          <p:spPr>
            <a:xfrm>
              <a:off x="19347102" y="10"/>
              <a:ext cx="0" cy="2402205"/>
            </a:xfrm>
            <a:custGeom>
              <a:avLst/>
              <a:gdLst/>
              <a:ahLst/>
              <a:cxnLst/>
              <a:rect l="l" t="t" r="r" b="b"/>
              <a:pathLst>
                <a:path w="120000" h="2402205" extrusionOk="0">
                  <a:moveTo>
                    <a:pt x="0" y="0"/>
                  </a:moveTo>
                  <a:lnTo>
                    <a:pt x="0" y="2401832"/>
                  </a:lnTo>
                </a:path>
              </a:pathLst>
            </a:custGeom>
            <a:noFill/>
            <a:ln w="46325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37;p1"/>
            <p:cNvSpPr/>
            <p:nvPr/>
          </p:nvSpPr>
          <p:spPr>
            <a:xfrm>
              <a:off x="19727263" y="4093676"/>
              <a:ext cx="328295" cy="63500"/>
            </a:xfrm>
            <a:custGeom>
              <a:avLst/>
              <a:gdLst/>
              <a:ahLst/>
              <a:cxnLst/>
              <a:rect l="l" t="t" r="r" b="b"/>
              <a:pathLst>
                <a:path w="328294" h="63500" extrusionOk="0">
                  <a:moveTo>
                    <a:pt x="186538" y="39946"/>
                  </a:moveTo>
                  <a:lnTo>
                    <a:pt x="185795" y="63055"/>
                  </a:lnTo>
                  <a:lnTo>
                    <a:pt x="191439" y="63265"/>
                  </a:lnTo>
                  <a:lnTo>
                    <a:pt x="202810" y="63359"/>
                  </a:lnTo>
                  <a:lnTo>
                    <a:pt x="210555" y="63298"/>
                  </a:lnTo>
                  <a:lnTo>
                    <a:pt x="218291" y="63117"/>
                  </a:lnTo>
                  <a:lnTo>
                    <a:pt x="226004" y="62815"/>
                  </a:lnTo>
                  <a:lnTo>
                    <a:pt x="233678" y="62396"/>
                  </a:lnTo>
                  <a:lnTo>
                    <a:pt x="232296" y="40121"/>
                  </a:lnTo>
                  <a:lnTo>
                    <a:pt x="191669" y="40103"/>
                  </a:lnTo>
                  <a:lnTo>
                    <a:pt x="186538" y="39946"/>
                  </a:lnTo>
                  <a:close/>
                </a:path>
                <a:path w="328294" h="63500" extrusionOk="0">
                  <a:moveTo>
                    <a:pt x="232244" y="39286"/>
                  </a:moveTo>
                  <a:lnTo>
                    <a:pt x="224715" y="39677"/>
                  </a:lnTo>
                  <a:lnTo>
                    <a:pt x="217150" y="39955"/>
                  </a:lnTo>
                  <a:lnTo>
                    <a:pt x="209562" y="40121"/>
                  </a:lnTo>
                  <a:lnTo>
                    <a:pt x="232296" y="40121"/>
                  </a:lnTo>
                  <a:lnTo>
                    <a:pt x="232244" y="39286"/>
                  </a:lnTo>
                  <a:close/>
                </a:path>
                <a:path w="328294" h="63500" extrusionOk="0">
                  <a:moveTo>
                    <a:pt x="96049" y="28334"/>
                  </a:moveTo>
                  <a:lnTo>
                    <a:pt x="126272" y="57603"/>
                  </a:lnTo>
                  <a:lnTo>
                    <a:pt x="138069" y="59265"/>
                  </a:lnTo>
                  <a:lnTo>
                    <a:pt x="141000" y="36281"/>
                  </a:lnTo>
                  <a:lnTo>
                    <a:pt x="129757" y="34704"/>
                  </a:lnTo>
                  <a:lnTo>
                    <a:pt x="118493" y="32849"/>
                  </a:lnTo>
                  <a:lnTo>
                    <a:pt x="107246" y="30724"/>
                  </a:lnTo>
                  <a:lnTo>
                    <a:pt x="96049" y="28334"/>
                  </a:lnTo>
                  <a:close/>
                </a:path>
                <a:path w="328294" h="63500" extrusionOk="0">
                  <a:moveTo>
                    <a:pt x="322346" y="25161"/>
                  </a:moveTo>
                  <a:lnTo>
                    <a:pt x="311215" y="27851"/>
                  </a:lnTo>
                  <a:lnTo>
                    <a:pt x="300036" y="30288"/>
                  </a:lnTo>
                  <a:lnTo>
                    <a:pt x="288840" y="32460"/>
                  </a:lnTo>
                  <a:lnTo>
                    <a:pt x="277656" y="34354"/>
                  </a:lnTo>
                  <a:lnTo>
                    <a:pt x="281227" y="57244"/>
                  </a:lnTo>
                  <a:lnTo>
                    <a:pt x="292931" y="55251"/>
                  </a:lnTo>
                  <a:lnTo>
                    <a:pt x="304673" y="52970"/>
                  </a:lnTo>
                  <a:lnTo>
                    <a:pt x="316404" y="50413"/>
                  </a:lnTo>
                  <a:lnTo>
                    <a:pt x="328073" y="47590"/>
                  </a:lnTo>
                  <a:lnTo>
                    <a:pt x="322346" y="25161"/>
                  </a:lnTo>
                  <a:close/>
                </a:path>
                <a:path w="328294" h="63500" extrusionOk="0">
                  <a:moveTo>
                    <a:pt x="9203" y="0"/>
                  </a:moveTo>
                  <a:lnTo>
                    <a:pt x="33475" y="34363"/>
                  </a:lnTo>
                  <a:lnTo>
                    <a:pt x="44773" y="38187"/>
                  </a:lnTo>
                  <a:lnTo>
                    <a:pt x="51998" y="16167"/>
                  </a:lnTo>
                  <a:lnTo>
                    <a:pt x="41177" y="12513"/>
                  </a:lnTo>
                  <a:lnTo>
                    <a:pt x="30412" y="8586"/>
                  </a:lnTo>
                  <a:lnTo>
                    <a:pt x="19742" y="4407"/>
                  </a:lnTo>
                  <a:lnTo>
                    <a:pt x="9203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38;p1"/>
            <p:cNvSpPr/>
            <p:nvPr/>
          </p:nvSpPr>
          <p:spPr>
            <a:xfrm>
              <a:off x="19335473" y="2473254"/>
              <a:ext cx="768985" cy="1654175"/>
            </a:xfrm>
            <a:custGeom>
              <a:avLst/>
              <a:gdLst/>
              <a:ahLst/>
              <a:cxnLst/>
              <a:rect l="l" t="t" r="r" b="b"/>
              <a:pathLst>
                <a:path w="768984" h="1654175" extrusionOk="0">
                  <a:moveTo>
                    <a:pt x="768615" y="1628233"/>
                  </a:moveTo>
                  <a:lnTo>
                    <a:pt x="765023" y="1629604"/>
                  </a:lnTo>
                  <a:lnTo>
                    <a:pt x="761421" y="1630934"/>
                  </a:lnTo>
                  <a:lnTo>
                    <a:pt x="757840" y="1632212"/>
                  </a:lnTo>
                  <a:lnTo>
                    <a:pt x="765589" y="1654033"/>
                  </a:lnTo>
                  <a:lnTo>
                    <a:pt x="768615" y="1652944"/>
                  </a:lnTo>
                  <a:lnTo>
                    <a:pt x="768615" y="1628233"/>
                  </a:lnTo>
                  <a:close/>
                </a:path>
                <a:path w="768984" h="1654175" extrusionOk="0">
                  <a:moveTo>
                    <a:pt x="320430" y="1577051"/>
                  </a:moveTo>
                  <a:lnTo>
                    <a:pt x="307760" y="1596464"/>
                  </a:lnTo>
                  <a:lnTo>
                    <a:pt x="317902" y="1602931"/>
                  </a:lnTo>
                  <a:lnTo>
                    <a:pt x="328140" y="1609172"/>
                  </a:lnTo>
                  <a:lnTo>
                    <a:pt x="338439" y="1615163"/>
                  </a:lnTo>
                  <a:lnTo>
                    <a:pt x="348764" y="1620882"/>
                  </a:lnTo>
                  <a:lnTo>
                    <a:pt x="359779" y="1600516"/>
                  </a:lnTo>
                  <a:lnTo>
                    <a:pt x="349869" y="1595025"/>
                  </a:lnTo>
                  <a:lnTo>
                    <a:pt x="339983" y="1589267"/>
                  </a:lnTo>
                  <a:lnTo>
                    <a:pt x="330157" y="1583266"/>
                  </a:lnTo>
                  <a:lnTo>
                    <a:pt x="320430" y="1577051"/>
                  </a:lnTo>
                  <a:close/>
                </a:path>
                <a:path w="768984" h="1654175" extrusionOk="0">
                  <a:moveTo>
                    <a:pt x="248097" y="1520770"/>
                  </a:moveTo>
                  <a:lnTo>
                    <a:pt x="232495" y="1537869"/>
                  </a:lnTo>
                  <a:lnTo>
                    <a:pt x="241378" y="1545837"/>
                  </a:lnTo>
                  <a:lnTo>
                    <a:pt x="250432" y="1553641"/>
                  </a:lnTo>
                  <a:lnTo>
                    <a:pt x="259627" y="1561252"/>
                  </a:lnTo>
                  <a:lnTo>
                    <a:pt x="268934" y="1568643"/>
                  </a:lnTo>
                  <a:lnTo>
                    <a:pt x="283153" y="1550371"/>
                  </a:lnTo>
                  <a:lnTo>
                    <a:pt x="274231" y="1543265"/>
                  </a:lnTo>
                  <a:lnTo>
                    <a:pt x="265393" y="1535944"/>
                  </a:lnTo>
                  <a:lnTo>
                    <a:pt x="256671" y="1528436"/>
                  </a:lnTo>
                  <a:lnTo>
                    <a:pt x="248097" y="1520770"/>
                  </a:lnTo>
                  <a:close/>
                </a:path>
                <a:path w="768984" h="1654175" extrusionOk="0">
                  <a:moveTo>
                    <a:pt x="185072" y="1453955"/>
                  </a:moveTo>
                  <a:lnTo>
                    <a:pt x="167115" y="1468573"/>
                  </a:lnTo>
                  <a:lnTo>
                    <a:pt x="174749" y="1477756"/>
                  </a:lnTo>
                  <a:lnTo>
                    <a:pt x="182542" y="1486812"/>
                  </a:lnTo>
                  <a:lnTo>
                    <a:pt x="190476" y="1495700"/>
                  </a:lnTo>
                  <a:lnTo>
                    <a:pt x="198527" y="1504383"/>
                  </a:lnTo>
                  <a:lnTo>
                    <a:pt x="215354" y="1488530"/>
                  </a:lnTo>
                  <a:lnTo>
                    <a:pt x="207594" y="1480146"/>
                  </a:lnTo>
                  <a:lnTo>
                    <a:pt x="199942" y="1471569"/>
                  </a:lnTo>
                  <a:lnTo>
                    <a:pt x="192426" y="1462828"/>
                  </a:lnTo>
                  <a:lnTo>
                    <a:pt x="185072" y="1453955"/>
                  </a:lnTo>
                  <a:close/>
                </a:path>
                <a:path w="768984" h="1654175" extrusionOk="0">
                  <a:moveTo>
                    <a:pt x="132079" y="1378764"/>
                  </a:moveTo>
                  <a:lnTo>
                    <a:pt x="112289" y="1390784"/>
                  </a:lnTo>
                  <a:lnTo>
                    <a:pt x="118547" y="1400896"/>
                  </a:lnTo>
                  <a:lnTo>
                    <a:pt x="124992" y="1410930"/>
                  </a:lnTo>
                  <a:lnTo>
                    <a:pt x="131604" y="1420855"/>
                  </a:lnTo>
                  <a:lnTo>
                    <a:pt x="138362" y="1430637"/>
                  </a:lnTo>
                  <a:lnTo>
                    <a:pt x="157314" y="1417255"/>
                  </a:lnTo>
                  <a:lnTo>
                    <a:pt x="150775" y="1407820"/>
                  </a:lnTo>
                  <a:lnTo>
                    <a:pt x="144379" y="1398241"/>
                  </a:lnTo>
                  <a:lnTo>
                    <a:pt x="138141" y="1388546"/>
                  </a:lnTo>
                  <a:lnTo>
                    <a:pt x="132079" y="1378764"/>
                  </a:lnTo>
                  <a:close/>
                </a:path>
                <a:path w="768984" h="1654175" extrusionOk="0">
                  <a:moveTo>
                    <a:pt x="89463" y="1297133"/>
                  </a:moveTo>
                  <a:lnTo>
                    <a:pt x="68301" y="1306504"/>
                  </a:lnTo>
                  <a:lnTo>
                    <a:pt x="73231" y="1317397"/>
                  </a:lnTo>
                  <a:lnTo>
                    <a:pt x="78313" y="1328167"/>
                  </a:lnTo>
                  <a:lnTo>
                    <a:pt x="83546" y="1338818"/>
                  </a:lnTo>
                  <a:lnTo>
                    <a:pt x="88929" y="1349351"/>
                  </a:lnTo>
                  <a:lnTo>
                    <a:pt x="109462" y="1338629"/>
                  </a:lnTo>
                  <a:lnTo>
                    <a:pt x="104240" y="1328427"/>
                  </a:lnTo>
                  <a:lnTo>
                    <a:pt x="99164" y="1318113"/>
                  </a:lnTo>
                  <a:lnTo>
                    <a:pt x="94237" y="1307682"/>
                  </a:lnTo>
                  <a:lnTo>
                    <a:pt x="89463" y="1297133"/>
                  </a:lnTo>
                  <a:close/>
                </a:path>
                <a:path w="768984" h="1654175" extrusionOk="0">
                  <a:moveTo>
                    <a:pt x="57349" y="1210717"/>
                  </a:moveTo>
                  <a:lnTo>
                    <a:pt x="35182" y="1217449"/>
                  </a:lnTo>
                  <a:lnTo>
                    <a:pt x="38730" y="1228854"/>
                  </a:lnTo>
                  <a:lnTo>
                    <a:pt x="42443" y="1240158"/>
                  </a:lnTo>
                  <a:lnTo>
                    <a:pt x="46314" y="1251372"/>
                  </a:lnTo>
                  <a:lnTo>
                    <a:pt x="50333" y="1262506"/>
                  </a:lnTo>
                  <a:lnTo>
                    <a:pt x="72060" y="1254443"/>
                  </a:lnTo>
                  <a:lnTo>
                    <a:pt x="68155" y="1243660"/>
                  </a:lnTo>
                  <a:lnTo>
                    <a:pt x="64394" y="1232772"/>
                  </a:lnTo>
                  <a:lnTo>
                    <a:pt x="60788" y="1221788"/>
                  </a:lnTo>
                  <a:lnTo>
                    <a:pt x="57349" y="1210717"/>
                  </a:lnTo>
                  <a:close/>
                </a:path>
                <a:path w="768984" h="1654175" extrusionOk="0">
                  <a:moveTo>
                    <a:pt x="35779" y="1121033"/>
                  </a:moveTo>
                  <a:lnTo>
                    <a:pt x="12973" y="1125159"/>
                  </a:lnTo>
                  <a:lnTo>
                    <a:pt x="15176" y="1136889"/>
                  </a:lnTo>
                  <a:lnTo>
                    <a:pt x="17530" y="1148550"/>
                  </a:lnTo>
                  <a:lnTo>
                    <a:pt x="20038" y="1160137"/>
                  </a:lnTo>
                  <a:lnTo>
                    <a:pt x="22700" y="1171650"/>
                  </a:lnTo>
                  <a:lnTo>
                    <a:pt x="45213" y="1166205"/>
                  </a:lnTo>
                  <a:lnTo>
                    <a:pt x="42624" y="1155039"/>
                  </a:lnTo>
                  <a:lnTo>
                    <a:pt x="40193" y="1143784"/>
                  </a:lnTo>
                  <a:lnTo>
                    <a:pt x="37914" y="1132447"/>
                  </a:lnTo>
                  <a:lnTo>
                    <a:pt x="35779" y="1121033"/>
                  </a:lnTo>
                  <a:close/>
                </a:path>
                <a:path w="768984" h="1654175" extrusionOk="0">
                  <a:moveTo>
                    <a:pt x="24795" y="1029466"/>
                  </a:moveTo>
                  <a:lnTo>
                    <a:pt x="1643" y="1030921"/>
                  </a:lnTo>
                  <a:lnTo>
                    <a:pt x="2491" y="1042833"/>
                  </a:lnTo>
                  <a:lnTo>
                    <a:pt x="3494" y="1054679"/>
                  </a:lnTo>
                  <a:lnTo>
                    <a:pt x="4650" y="1066463"/>
                  </a:lnTo>
                  <a:lnTo>
                    <a:pt x="5957" y="1078187"/>
                  </a:lnTo>
                  <a:lnTo>
                    <a:pt x="28993" y="1075433"/>
                  </a:lnTo>
                  <a:lnTo>
                    <a:pt x="27695" y="1064021"/>
                  </a:lnTo>
                  <a:lnTo>
                    <a:pt x="26564" y="1052559"/>
                  </a:lnTo>
                  <a:lnTo>
                    <a:pt x="25598" y="1041042"/>
                  </a:lnTo>
                  <a:lnTo>
                    <a:pt x="24795" y="1029466"/>
                  </a:lnTo>
                  <a:close/>
                </a:path>
                <a:path w="768984" h="1654175" extrusionOk="0">
                  <a:moveTo>
                    <a:pt x="23182" y="936547"/>
                  </a:moveTo>
                  <a:lnTo>
                    <a:pt x="0" y="936547"/>
                  </a:lnTo>
                  <a:lnTo>
                    <a:pt x="0" y="983456"/>
                  </a:lnTo>
                  <a:lnTo>
                    <a:pt x="23182" y="983341"/>
                  </a:lnTo>
                  <a:lnTo>
                    <a:pt x="23182" y="936547"/>
                  </a:lnTo>
                  <a:close/>
                </a:path>
                <a:path w="768984" h="1654175" extrusionOk="0">
                  <a:moveTo>
                    <a:pt x="23182" y="842885"/>
                  </a:moveTo>
                  <a:lnTo>
                    <a:pt x="0" y="842885"/>
                  </a:lnTo>
                  <a:lnTo>
                    <a:pt x="0" y="889732"/>
                  </a:lnTo>
                  <a:lnTo>
                    <a:pt x="23182" y="889732"/>
                  </a:lnTo>
                  <a:lnTo>
                    <a:pt x="23182" y="842885"/>
                  </a:lnTo>
                  <a:close/>
                </a:path>
                <a:path w="768984" h="1654175" extrusionOk="0">
                  <a:moveTo>
                    <a:pt x="23182" y="749244"/>
                  </a:moveTo>
                  <a:lnTo>
                    <a:pt x="0" y="749244"/>
                  </a:lnTo>
                  <a:lnTo>
                    <a:pt x="0" y="796101"/>
                  </a:lnTo>
                  <a:lnTo>
                    <a:pt x="23182" y="796101"/>
                  </a:lnTo>
                  <a:lnTo>
                    <a:pt x="23182" y="749244"/>
                  </a:lnTo>
                  <a:close/>
                </a:path>
                <a:path w="768984" h="1654175" extrusionOk="0">
                  <a:moveTo>
                    <a:pt x="23182" y="655613"/>
                  </a:moveTo>
                  <a:lnTo>
                    <a:pt x="0" y="655613"/>
                  </a:lnTo>
                  <a:lnTo>
                    <a:pt x="0" y="702439"/>
                  </a:lnTo>
                  <a:lnTo>
                    <a:pt x="23182" y="702439"/>
                  </a:lnTo>
                  <a:lnTo>
                    <a:pt x="23182" y="655613"/>
                  </a:lnTo>
                  <a:close/>
                </a:path>
                <a:path w="768984" h="1654175" extrusionOk="0">
                  <a:moveTo>
                    <a:pt x="23182" y="561941"/>
                  </a:moveTo>
                  <a:lnTo>
                    <a:pt x="0" y="561941"/>
                  </a:lnTo>
                  <a:lnTo>
                    <a:pt x="0" y="608766"/>
                  </a:lnTo>
                  <a:lnTo>
                    <a:pt x="23182" y="608766"/>
                  </a:lnTo>
                  <a:lnTo>
                    <a:pt x="23182" y="561941"/>
                  </a:lnTo>
                  <a:close/>
                </a:path>
                <a:path w="768984" h="1654175" extrusionOk="0">
                  <a:moveTo>
                    <a:pt x="23182" y="468278"/>
                  </a:moveTo>
                  <a:lnTo>
                    <a:pt x="0" y="468278"/>
                  </a:lnTo>
                  <a:lnTo>
                    <a:pt x="0" y="515094"/>
                  </a:lnTo>
                  <a:lnTo>
                    <a:pt x="23182" y="515094"/>
                  </a:lnTo>
                  <a:lnTo>
                    <a:pt x="23182" y="468278"/>
                  </a:lnTo>
                  <a:close/>
                </a:path>
                <a:path w="768984" h="1654175" extrusionOk="0">
                  <a:moveTo>
                    <a:pt x="23182" y="374616"/>
                  </a:moveTo>
                  <a:lnTo>
                    <a:pt x="0" y="374616"/>
                  </a:lnTo>
                  <a:lnTo>
                    <a:pt x="0" y="421442"/>
                  </a:lnTo>
                  <a:lnTo>
                    <a:pt x="23182" y="421442"/>
                  </a:lnTo>
                  <a:lnTo>
                    <a:pt x="23182" y="374616"/>
                  </a:lnTo>
                  <a:close/>
                </a:path>
                <a:path w="768984" h="1654175" extrusionOk="0">
                  <a:moveTo>
                    <a:pt x="23182" y="280965"/>
                  </a:moveTo>
                  <a:lnTo>
                    <a:pt x="0" y="280965"/>
                  </a:lnTo>
                  <a:lnTo>
                    <a:pt x="0" y="327780"/>
                  </a:lnTo>
                  <a:lnTo>
                    <a:pt x="23182" y="327780"/>
                  </a:lnTo>
                  <a:lnTo>
                    <a:pt x="23182" y="280965"/>
                  </a:lnTo>
                  <a:close/>
                </a:path>
                <a:path w="768984" h="1654175" extrusionOk="0">
                  <a:moveTo>
                    <a:pt x="23182" y="187313"/>
                  </a:moveTo>
                  <a:lnTo>
                    <a:pt x="0" y="187313"/>
                  </a:lnTo>
                  <a:lnTo>
                    <a:pt x="0" y="234128"/>
                  </a:lnTo>
                  <a:lnTo>
                    <a:pt x="23182" y="234128"/>
                  </a:lnTo>
                  <a:lnTo>
                    <a:pt x="23182" y="187313"/>
                  </a:lnTo>
                  <a:close/>
                </a:path>
                <a:path w="768984" h="1654175" extrusionOk="0">
                  <a:moveTo>
                    <a:pt x="23182" y="93651"/>
                  </a:moveTo>
                  <a:lnTo>
                    <a:pt x="0" y="93651"/>
                  </a:lnTo>
                  <a:lnTo>
                    <a:pt x="0" y="140477"/>
                  </a:lnTo>
                  <a:lnTo>
                    <a:pt x="23182" y="140477"/>
                  </a:lnTo>
                  <a:lnTo>
                    <a:pt x="23182" y="93651"/>
                  </a:lnTo>
                  <a:close/>
                </a:path>
                <a:path w="768984" h="1654175" extrusionOk="0">
                  <a:moveTo>
                    <a:pt x="23182" y="0"/>
                  </a:moveTo>
                  <a:lnTo>
                    <a:pt x="0" y="0"/>
                  </a:lnTo>
                  <a:lnTo>
                    <a:pt x="0" y="46846"/>
                  </a:lnTo>
                  <a:lnTo>
                    <a:pt x="23182" y="46846"/>
                  </a:lnTo>
                  <a:lnTo>
                    <a:pt x="23182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1"/>
            <p:cNvSpPr/>
            <p:nvPr/>
          </p:nvSpPr>
          <p:spPr>
            <a:xfrm>
              <a:off x="19335495" y="2413429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82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1"/>
            <p:cNvSpPr/>
            <p:nvPr/>
          </p:nvSpPr>
          <p:spPr>
            <a:xfrm>
              <a:off x="14554563" y="1555366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5" y="4705"/>
                  </a:lnTo>
                  <a:lnTo>
                    <a:pt x="141432" y="18200"/>
                  </a:lnTo>
                  <a:lnTo>
                    <a:pt x="102093" y="39555"/>
                  </a:lnTo>
                  <a:lnTo>
                    <a:pt x="67821" y="67836"/>
                  </a:lnTo>
                  <a:lnTo>
                    <a:pt x="39545" y="102115"/>
                  </a:lnTo>
                  <a:lnTo>
                    <a:pt x="18195" y="141458"/>
                  </a:lnTo>
                  <a:lnTo>
                    <a:pt x="4704" y="184935"/>
                  </a:lnTo>
                  <a:lnTo>
                    <a:pt x="0" y="231615"/>
                  </a:lnTo>
                  <a:lnTo>
                    <a:pt x="4704" y="278289"/>
                  </a:lnTo>
                  <a:lnTo>
                    <a:pt x="18195" y="321761"/>
                  </a:lnTo>
                  <a:lnTo>
                    <a:pt x="39545" y="361100"/>
                  </a:lnTo>
                  <a:lnTo>
                    <a:pt x="67821" y="395376"/>
                  </a:lnTo>
                  <a:lnTo>
                    <a:pt x="102093" y="423657"/>
                  </a:lnTo>
                  <a:lnTo>
                    <a:pt x="141432" y="445010"/>
                  </a:lnTo>
                  <a:lnTo>
                    <a:pt x="184905" y="458505"/>
                  </a:lnTo>
                  <a:lnTo>
                    <a:pt x="231584" y="463211"/>
                  </a:lnTo>
                  <a:lnTo>
                    <a:pt x="278261" y="458505"/>
                  </a:lnTo>
                  <a:lnTo>
                    <a:pt x="321735" y="445010"/>
                  </a:lnTo>
                  <a:lnTo>
                    <a:pt x="361077" y="423657"/>
                  </a:lnTo>
                  <a:lnTo>
                    <a:pt x="395354" y="395376"/>
                  </a:lnTo>
                  <a:lnTo>
                    <a:pt x="423635" y="361100"/>
                  </a:lnTo>
                  <a:lnTo>
                    <a:pt x="444989" y="321761"/>
                  </a:lnTo>
                  <a:lnTo>
                    <a:pt x="458484" y="278289"/>
                  </a:lnTo>
                  <a:lnTo>
                    <a:pt x="463190" y="231615"/>
                  </a:lnTo>
                  <a:lnTo>
                    <a:pt x="458484" y="184935"/>
                  </a:lnTo>
                  <a:lnTo>
                    <a:pt x="444989" y="141458"/>
                  </a:lnTo>
                  <a:lnTo>
                    <a:pt x="423635" y="102115"/>
                  </a:lnTo>
                  <a:lnTo>
                    <a:pt x="395354" y="67836"/>
                  </a:lnTo>
                  <a:lnTo>
                    <a:pt x="361077" y="39555"/>
                  </a:lnTo>
                  <a:lnTo>
                    <a:pt x="321735" y="18200"/>
                  </a:lnTo>
                  <a:lnTo>
                    <a:pt x="278261" y="4705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"/>
            <p:cNvSpPr/>
            <p:nvPr/>
          </p:nvSpPr>
          <p:spPr>
            <a:xfrm>
              <a:off x="13047372" y="10702553"/>
              <a:ext cx="340995" cy="340995"/>
            </a:xfrm>
            <a:custGeom>
              <a:avLst/>
              <a:gdLst/>
              <a:ahLst/>
              <a:cxnLst/>
              <a:rect l="l" t="t" r="r" b="b"/>
              <a:pathLst>
                <a:path w="340994" h="340995" extrusionOk="0">
                  <a:moveTo>
                    <a:pt x="170235" y="0"/>
                  </a:moveTo>
                  <a:lnTo>
                    <a:pt x="124973" y="6080"/>
                  </a:lnTo>
                  <a:lnTo>
                    <a:pt x="84305" y="23241"/>
                  </a:lnTo>
                  <a:lnTo>
                    <a:pt x="49853" y="49857"/>
                  </a:lnTo>
                  <a:lnTo>
                    <a:pt x="23237" y="84305"/>
                  </a:lnTo>
                  <a:lnTo>
                    <a:pt x="6079" y="124962"/>
                  </a:lnTo>
                  <a:lnTo>
                    <a:pt x="0" y="170204"/>
                  </a:lnTo>
                  <a:lnTo>
                    <a:pt x="6079" y="215454"/>
                  </a:lnTo>
                  <a:lnTo>
                    <a:pt x="23237" y="256115"/>
                  </a:lnTo>
                  <a:lnTo>
                    <a:pt x="49853" y="290564"/>
                  </a:lnTo>
                  <a:lnTo>
                    <a:pt x="84305" y="317179"/>
                  </a:lnTo>
                  <a:lnTo>
                    <a:pt x="124973" y="334338"/>
                  </a:lnTo>
                  <a:lnTo>
                    <a:pt x="170235" y="340418"/>
                  </a:lnTo>
                  <a:lnTo>
                    <a:pt x="215488" y="334338"/>
                  </a:lnTo>
                  <a:lnTo>
                    <a:pt x="256154" y="317179"/>
                  </a:lnTo>
                  <a:lnTo>
                    <a:pt x="290611" y="290564"/>
                  </a:lnTo>
                  <a:lnTo>
                    <a:pt x="317234" y="256115"/>
                  </a:lnTo>
                  <a:lnTo>
                    <a:pt x="334399" y="215454"/>
                  </a:lnTo>
                  <a:lnTo>
                    <a:pt x="340481" y="170204"/>
                  </a:lnTo>
                  <a:lnTo>
                    <a:pt x="334399" y="124962"/>
                  </a:lnTo>
                  <a:lnTo>
                    <a:pt x="317234" y="84305"/>
                  </a:lnTo>
                  <a:lnTo>
                    <a:pt x="290611" y="49857"/>
                  </a:lnTo>
                  <a:lnTo>
                    <a:pt x="256154" y="23241"/>
                  </a:lnTo>
                  <a:lnTo>
                    <a:pt x="215488" y="6080"/>
                  </a:lnTo>
                  <a:lnTo>
                    <a:pt x="170235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1"/>
            <p:cNvSpPr/>
            <p:nvPr/>
          </p:nvSpPr>
          <p:spPr>
            <a:xfrm>
              <a:off x="16345261" y="662597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1"/>
            <p:cNvSpPr/>
            <p:nvPr/>
          </p:nvSpPr>
          <p:spPr>
            <a:xfrm>
              <a:off x="13104040" y="6683702"/>
              <a:ext cx="3264535" cy="4239895"/>
            </a:xfrm>
            <a:custGeom>
              <a:avLst/>
              <a:gdLst/>
              <a:ahLst/>
              <a:cxnLst/>
              <a:rect l="l" t="t" r="r" b="b"/>
              <a:pathLst>
                <a:path w="3264534" h="4239895" extrusionOk="0">
                  <a:moveTo>
                    <a:pt x="2313165" y="4215013"/>
                  </a:moveTo>
                  <a:lnTo>
                    <a:pt x="2301841" y="4215621"/>
                  </a:lnTo>
                  <a:lnTo>
                    <a:pt x="2290474" y="4216079"/>
                  </a:lnTo>
                  <a:lnTo>
                    <a:pt x="2279068" y="4216386"/>
                  </a:lnTo>
                  <a:lnTo>
                    <a:pt x="2267627" y="4216541"/>
                  </a:lnTo>
                  <a:lnTo>
                    <a:pt x="2267847" y="4239703"/>
                  </a:lnTo>
                  <a:lnTo>
                    <a:pt x="2279570" y="4239553"/>
                  </a:lnTo>
                  <a:lnTo>
                    <a:pt x="2291270" y="4239237"/>
                  </a:lnTo>
                  <a:lnTo>
                    <a:pt x="2302939" y="4238763"/>
                  </a:lnTo>
                  <a:lnTo>
                    <a:pt x="2314568" y="4238143"/>
                  </a:lnTo>
                  <a:lnTo>
                    <a:pt x="2313165" y="4215013"/>
                  </a:lnTo>
                  <a:close/>
                </a:path>
                <a:path w="3264534" h="4239895" extrusionOk="0">
                  <a:moveTo>
                    <a:pt x="2176750" y="4212363"/>
                  </a:moveTo>
                  <a:lnTo>
                    <a:pt x="2209341" y="4238164"/>
                  </a:lnTo>
                  <a:lnTo>
                    <a:pt x="2221052" y="4238781"/>
                  </a:lnTo>
                  <a:lnTo>
                    <a:pt x="2222120" y="4215683"/>
                  </a:lnTo>
                  <a:lnTo>
                    <a:pt x="2210732" y="4215076"/>
                  </a:lnTo>
                  <a:lnTo>
                    <a:pt x="2199372" y="4214321"/>
                  </a:lnTo>
                  <a:lnTo>
                    <a:pt x="2188044" y="4213418"/>
                  </a:lnTo>
                  <a:lnTo>
                    <a:pt x="2176750" y="4212363"/>
                  </a:lnTo>
                  <a:close/>
                </a:path>
                <a:path w="3264534" h="4239895" extrusionOk="0">
                  <a:moveTo>
                    <a:pt x="2403528" y="4204625"/>
                  </a:moveTo>
                  <a:lnTo>
                    <a:pt x="2392348" y="4206460"/>
                  </a:lnTo>
                  <a:lnTo>
                    <a:pt x="2381113" y="4208137"/>
                  </a:lnTo>
                  <a:lnTo>
                    <a:pt x="2369827" y="4209663"/>
                  </a:lnTo>
                  <a:lnTo>
                    <a:pt x="2358493" y="4211044"/>
                  </a:lnTo>
                  <a:lnTo>
                    <a:pt x="2361111" y="4234049"/>
                  </a:lnTo>
                  <a:lnTo>
                    <a:pt x="2372782" y="4232633"/>
                  </a:lnTo>
                  <a:lnTo>
                    <a:pt x="2384385" y="4231059"/>
                  </a:lnTo>
                  <a:lnTo>
                    <a:pt x="2395929" y="4229328"/>
                  </a:lnTo>
                  <a:lnTo>
                    <a:pt x="2407424" y="4227441"/>
                  </a:lnTo>
                  <a:lnTo>
                    <a:pt x="2403528" y="4204625"/>
                  </a:lnTo>
                  <a:close/>
                </a:path>
                <a:path w="3264534" h="4239895" extrusionOk="0">
                  <a:moveTo>
                    <a:pt x="2086711" y="4198385"/>
                  </a:moveTo>
                  <a:lnTo>
                    <a:pt x="2116472" y="4227622"/>
                  </a:lnTo>
                  <a:lnTo>
                    <a:pt x="2128039" y="4229504"/>
                  </a:lnTo>
                  <a:lnTo>
                    <a:pt x="2131652" y="4206583"/>
                  </a:lnTo>
                  <a:lnTo>
                    <a:pt x="2120363" y="4204759"/>
                  </a:lnTo>
                  <a:lnTo>
                    <a:pt x="2109111" y="4202786"/>
                  </a:lnTo>
                  <a:lnTo>
                    <a:pt x="2097894" y="4200663"/>
                  </a:lnTo>
                  <a:lnTo>
                    <a:pt x="2086711" y="4198385"/>
                  </a:lnTo>
                  <a:close/>
                </a:path>
                <a:path w="3264534" h="4239895" extrusionOk="0">
                  <a:moveTo>
                    <a:pt x="2492196" y="4184595"/>
                  </a:moveTo>
                  <a:lnTo>
                    <a:pt x="2481279" y="4187611"/>
                  </a:lnTo>
                  <a:lnTo>
                    <a:pt x="2470295" y="4190484"/>
                  </a:lnTo>
                  <a:lnTo>
                    <a:pt x="2459261" y="4193209"/>
                  </a:lnTo>
                  <a:lnTo>
                    <a:pt x="2448197" y="4195778"/>
                  </a:lnTo>
                  <a:lnTo>
                    <a:pt x="2453286" y="4218353"/>
                  </a:lnTo>
                  <a:lnTo>
                    <a:pt x="2464668" y="4215706"/>
                  </a:lnTo>
                  <a:lnTo>
                    <a:pt x="2475993" y="4212916"/>
                  </a:lnTo>
                  <a:lnTo>
                    <a:pt x="2487266" y="4209980"/>
                  </a:lnTo>
                  <a:lnTo>
                    <a:pt x="2498489" y="4206898"/>
                  </a:lnTo>
                  <a:lnTo>
                    <a:pt x="2492196" y="4184595"/>
                  </a:lnTo>
                  <a:close/>
                </a:path>
                <a:path w="3264534" h="4239895" extrusionOk="0">
                  <a:moveTo>
                    <a:pt x="1998745" y="4174888"/>
                  </a:moveTo>
                  <a:lnTo>
                    <a:pt x="2025134" y="4207107"/>
                  </a:lnTo>
                  <a:lnTo>
                    <a:pt x="2036409" y="4210217"/>
                  </a:lnTo>
                  <a:lnTo>
                    <a:pt x="2042398" y="4187851"/>
                  </a:lnTo>
                  <a:lnTo>
                    <a:pt x="2031415" y="4184826"/>
                  </a:lnTo>
                  <a:lnTo>
                    <a:pt x="2020481" y="4181656"/>
                  </a:lnTo>
                  <a:lnTo>
                    <a:pt x="2009593" y="4178343"/>
                  </a:lnTo>
                  <a:lnTo>
                    <a:pt x="1998745" y="4174888"/>
                  </a:lnTo>
                  <a:close/>
                </a:path>
                <a:path w="3264534" h="4239895" extrusionOk="0">
                  <a:moveTo>
                    <a:pt x="2578267" y="4155276"/>
                  </a:moveTo>
                  <a:lnTo>
                    <a:pt x="2567670" y="4159430"/>
                  </a:lnTo>
                  <a:lnTo>
                    <a:pt x="2557029" y="4163443"/>
                  </a:lnTo>
                  <a:lnTo>
                    <a:pt x="2546329" y="4167315"/>
                  </a:lnTo>
                  <a:lnTo>
                    <a:pt x="2535556" y="4171045"/>
                  </a:lnTo>
                  <a:lnTo>
                    <a:pt x="2543032" y="4192982"/>
                  </a:lnTo>
                  <a:lnTo>
                    <a:pt x="2554068" y="4189152"/>
                  </a:lnTo>
                  <a:lnTo>
                    <a:pt x="2565051" y="4185170"/>
                  </a:lnTo>
                  <a:lnTo>
                    <a:pt x="2575984" y="4181040"/>
                  </a:lnTo>
                  <a:lnTo>
                    <a:pt x="2586874" y="4176762"/>
                  </a:lnTo>
                  <a:lnTo>
                    <a:pt x="2578267" y="4155276"/>
                  </a:lnTo>
                  <a:close/>
                </a:path>
                <a:path w="3264534" h="4239895" extrusionOk="0">
                  <a:moveTo>
                    <a:pt x="1913700" y="4142292"/>
                  </a:moveTo>
                  <a:lnTo>
                    <a:pt x="1936599" y="4177076"/>
                  </a:lnTo>
                  <a:lnTo>
                    <a:pt x="1947500" y="4181338"/>
                  </a:lnTo>
                  <a:lnTo>
                    <a:pt x="1955793" y="4159705"/>
                  </a:lnTo>
                  <a:lnTo>
                    <a:pt x="1945179" y="4155543"/>
                  </a:lnTo>
                  <a:lnTo>
                    <a:pt x="1934621" y="4151254"/>
                  </a:lnTo>
                  <a:lnTo>
                    <a:pt x="1924126" y="4146837"/>
                  </a:lnTo>
                  <a:lnTo>
                    <a:pt x="1913700" y="4142292"/>
                  </a:lnTo>
                  <a:close/>
                </a:path>
                <a:path w="3264534" h="4239895" extrusionOk="0">
                  <a:moveTo>
                    <a:pt x="2661060" y="4117194"/>
                  </a:moveTo>
                  <a:lnTo>
                    <a:pt x="2650897" y="4122429"/>
                  </a:lnTo>
                  <a:lnTo>
                    <a:pt x="2640674" y="4127535"/>
                  </a:lnTo>
                  <a:lnTo>
                    <a:pt x="2630399" y="4132509"/>
                  </a:lnTo>
                  <a:lnTo>
                    <a:pt x="2620077" y="4137350"/>
                  </a:lnTo>
                  <a:lnTo>
                    <a:pt x="2629804" y="4158386"/>
                  </a:lnTo>
                  <a:lnTo>
                    <a:pt x="2640386" y="4153402"/>
                  </a:lnTo>
                  <a:lnTo>
                    <a:pt x="2650911" y="4148306"/>
                  </a:lnTo>
                  <a:lnTo>
                    <a:pt x="2661377" y="4143091"/>
                  </a:lnTo>
                  <a:lnTo>
                    <a:pt x="2671782" y="4137748"/>
                  </a:lnTo>
                  <a:lnTo>
                    <a:pt x="2661060" y="4117194"/>
                  </a:lnTo>
                  <a:close/>
                </a:path>
                <a:path w="3264534" h="4239895" extrusionOk="0">
                  <a:moveTo>
                    <a:pt x="1832541" y="4101246"/>
                  </a:moveTo>
                  <a:lnTo>
                    <a:pt x="1821054" y="4121371"/>
                  </a:lnTo>
                  <a:lnTo>
                    <a:pt x="1831254" y="4127088"/>
                  </a:lnTo>
                  <a:lnTo>
                    <a:pt x="1841497" y="4132676"/>
                  </a:lnTo>
                  <a:lnTo>
                    <a:pt x="1851801" y="4138132"/>
                  </a:lnTo>
                  <a:lnTo>
                    <a:pt x="1862184" y="4143454"/>
                  </a:lnTo>
                  <a:lnTo>
                    <a:pt x="1872634" y="4122774"/>
                  </a:lnTo>
                  <a:lnTo>
                    <a:pt x="1862519" y="4117594"/>
                  </a:lnTo>
                  <a:lnTo>
                    <a:pt x="1852465" y="4112277"/>
                  </a:lnTo>
                  <a:lnTo>
                    <a:pt x="1842473" y="4106828"/>
                  </a:lnTo>
                  <a:lnTo>
                    <a:pt x="1832541" y="4101246"/>
                  </a:lnTo>
                  <a:close/>
                </a:path>
                <a:path w="3264534" h="4239895" extrusionOk="0">
                  <a:moveTo>
                    <a:pt x="2739686" y="4070944"/>
                  </a:moveTo>
                  <a:lnTo>
                    <a:pt x="2730078" y="4077138"/>
                  </a:lnTo>
                  <a:lnTo>
                    <a:pt x="2720402" y="4083222"/>
                  </a:lnTo>
                  <a:lnTo>
                    <a:pt x="2710662" y="4089198"/>
                  </a:lnTo>
                  <a:lnTo>
                    <a:pt x="2700860" y="4095069"/>
                  </a:lnTo>
                  <a:lnTo>
                    <a:pt x="2712618" y="4115005"/>
                  </a:lnTo>
                  <a:lnTo>
                    <a:pt x="2722665" y="4109021"/>
                  </a:lnTo>
                  <a:lnTo>
                    <a:pt x="2732641" y="4102910"/>
                  </a:lnTo>
                  <a:lnTo>
                    <a:pt x="2742551" y="4096671"/>
                  </a:lnTo>
                  <a:lnTo>
                    <a:pt x="2752397" y="4090304"/>
                  </a:lnTo>
                  <a:lnTo>
                    <a:pt x="2739686" y="4070944"/>
                  </a:lnTo>
                  <a:close/>
                </a:path>
                <a:path w="3264534" h="4239895" extrusionOk="0">
                  <a:moveTo>
                    <a:pt x="1755862" y="4052400"/>
                  </a:moveTo>
                  <a:lnTo>
                    <a:pt x="1742533" y="4071321"/>
                  </a:lnTo>
                  <a:lnTo>
                    <a:pt x="1752102" y="4077989"/>
                  </a:lnTo>
                  <a:lnTo>
                    <a:pt x="1761731" y="4084535"/>
                  </a:lnTo>
                  <a:lnTo>
                    <a:pt x="1771431" y="4090963"/>
                  </a:lnTo>
                  <a:lnTo>
                    <a:pt x="1781212" y="4097278"/>
                  </a:lnTo>
                  <a:lnTo>
                    <a:pt x="1793652" y="4077739"/>
                  </a:lnTo>
                  <a:lnTo>
                    <a:pt x="1784122" y="4071579"/>
                  </a:lnTo>
                  <a:lnTo>
                    <a:pt x="1774647" y="4065301"/>
                  </a:lnTo>
                  <a:lnTo>
                    <a:pt x="1765227" y="4058908"/>
                  </a:lnTo>
                  <a:lnTo>
                    <a:pt x="1755862" y="4052400"/>
                  </a:lnTo>
                  <a:close/>
                </a:path>
                <a:path w="3264534" h="4239895" extrusionOk="0">
                  <a:moveTo>
                    <a:pt x="2813683" y="4017228"/>
                  </a:moveTo>
                  <a:lnTo>
                    <a:pt x="2804682" y="4024333"/>
                  </a:lnTo>
                  <a:lnTo>
                    <a:pt x="2795626" y="4031324"/>
                  </a:lnTo>
                  <a:lnTo>
                    <a:pt x="2786508" y="4038202"/>
                  </a:lnTo>
                  <a:lnTo>
                    <a:pt x="2777318" y="4044965"/>
                  </a:lnTo>
                  <a:lnTo>
                    <a:pt x="2790878" y="4063719"/>
                  </a:lnTo>
                  <a:lnTo>
                    <a:pt x="2800305" y="4056799"/>
                  </a:lnTo>
                  <a:lnTo>
                    <a:pt x="2809653" y="4049754"/>
                  </a:lnTo>
                  <a:lnTo>
                    <a:pt x="2818933" y="4042590"/>
                  </a:lnTo>
                  <a:lnTo>
                    <a:pt x="2828154" y="4035311"/>
                  </a:lnTo>
                  <a:lnTo>
                    <a:pt x="2813683" y="4017228"/>
                  </a:lnTo>
                  <a:close/>
                </a:path>
                <a:path w="3264534" h="4239895" extrusionOk="0">
                  <a:moveTo>
                    <a:pt x="1683854" y="3996370"/>
                  </a:moveTo>
                  <a:lnTo>
                    <a:pt x="1668797" y="4013930"/>
                  </a:lnTo>
                  <a:lnTo>
                    <a:pt x="1677751" y="4021499"/>
                  </a:lnTo>
                  <a:lnTo>
                    <a:pt x="1686761" y="4028945"/>
                  </a:lnTo>
                  <a:lnTo>
                    <a:pt x="1695836" y="4036273"/>
                  </a:lnTo>
                  <a:lnTo>
                    <a:pt x="1704984" y="4043489"/>
                  </a:lnTo>
                  <a:lnTo>
                    <a:pt x="1719235" y="4025217"/>
                  </a:lnTo>
                  <a:lnTo>
                    <a:pt x="1710279" y="4018168"/>
                  </a:lnTo>
                  <a:lnTo>
                    <a:pt x="1701403" y="4011013"/>
                  </a:lnTo>
                  <a:lnTo>
                    <a:pt x="1692598" y="4003749"/>
                  </a:lnTo>
                  <a:lnTo>
                    <a:pt x="1683854" y="3996370"/>
                  </a:lnTo>
                  <a:close/>
                </a:path>
                <a:path w="3264534" h="4239895" extrusionOk="0">
                  <a:moveTo>
                    <a:pt x="2882268" y="3957104"/>
                  </a:moveTo>
                  <a:lnTo>
                    <a:pt x="2873970" y="3964977"/>
                  </a:lnTo>
                  <a:lnTo>
                    <a:pt x="2865589" y="3972738"/>
                  </a:lnTo>
                  <a:lnTo>
                    <a:pt x="2857131" y="3980400"/>
                  </a:lnTo>
                  <a:lnTo>
                    <a:pt x="2848604" y="3987972"/>
                  </a:lnTo>
                  <a:lnTo>
                    <a:pt x="2863891" y="4005364"/>
                  </a:lnTo>
                  <a:lnTo>
                    <a:pt x="2872609" y="3997645"/>
                  </a:lnTo>
                  <a:lnTo>
                    <a:pt x="2881247" y="3989814"/>
                  </a:lnTo>
                  <a:lnTo>
                    <a:pt x="2889798" y="3981871"/>
                  </a:lnTo>
                  <a:lnTo>
                    <a:pt x="2898257" y="3973816"/>
                  </a:lnTo>
                  <a:lnTo>
                    <a:pt x="2882268" y="3957104"/>
                  </a:lnTo>
                  <a:close/>
                </a:path>
                <a:path w="3264534" h="4239895" extrusionOk="0">
                  <a:moveTo>
                    <a:pt x="1617186" y="3934005"/>
                  </a:moveTo>
                  <a:lnTo>
                    <a:pt x="1600673" y="3950225"/>
                  </a:lnTo>
                  <a:lnTo>
                    <a:pt x="1608903" y="3958549"/>
                  </a:lnTo>
                  <a:lnTo>
                    <a:pt x="1617199" y="3966762"/>
                  </a:lnTo>
                  <a:lnTo>
                    <a:pt x="1625570" y="3974864"/>
                  </a:lnTo>
                  <a:lnTo>
                    <a:pt x="1634023" y="3982852"/>
                  </a:lnTo>
                  <a:lnTo>
                    <a:pt x="1649845" y="3965921"/>
                  </a:lnTo>
                  <a:lnTo>
                    <a:pt x="1641574" y="3958102"/>
                  </a:lnTo>
                  <a:lnTo>
                    <a:pt x="1633378" y="3950179"/>
                  </a:lnTo>
                  <a:lnTo>
                    <a:pt x="1625250" y="3942148"/>
                  </a:lnTo>
                  <a:lnTo>
                    <a:pt x="1617186" y="3934005"/>
                  </a:lnTo>
                  <a:close/>
                </a:path>
                <a:path w="3264534" h="4239895" extrusionOk="0">
                  <a:moveTo>
                    <a:pt x="2945344" y="3891085"/>
                  </a:moveTo>
                  <a:lnTo>
                    <a:pt x="2937753" y="3899650"/>
                  </a:lnTo>
                  <a:lnTo>
                    <a:pt x="2930086" y="3908117"/>
                  </a:lnTo>
                  <a:lnTo>
                    <a:pt x="2922336" y="3916493"/>
                  </a:lnTo>
                  <a:lnTo>
                    <a:pt x="2914497" y="3924781"/>
                  </a:lnTo>
                  <a:lnTo>
                    <a:pt x="2931251" y="3940791"/>
                  </a:lnTo>
                  <a:lnTo>
                    <a:pt x="2939238" y="3932330"/>
                  </a:lnTo>
                  <a:lnTo>
                    <a:pt x="2947149" y="3923771"/>
                  </a:lnTo>
                  <a:lnTo>
                    <a:pt x="2954988" y="3915121"/>
                  </a:lnTo>
                  <a:lnTo>
                    <a:pt x="2962757" y="3906383"/>
                  </a:lnTo>
                  <a:lnTo>
                    <a:pt x="2945344" y="3891085"/>
                  </a:lnTo>
                  <a:close/>
                </a:path>
                <a:path w="3264534" h="4239895" extrusionOk="0">
                  <a:moveTo>
                    <a:pt x="1556214" y="3866133"/>
                  </a:moveTo>
                  <a:lnTo>
                    <a:pt x="1538330" y="3880824"/>
                  </a:lnTo>
                  <a:lnTo>
                    <a:pt x="1545813" y="3889827"/>
                  </a:lnTo>
                  <a:lnTo>
                    <a:pt x="1553385" y="3898728"/>
                  </a:lnTo>
                  <a:lnTo>
                    <a:pt x="1561042" y="3907524"/>
                  </a:lnTo>
                  <a:lnTo>
                    <a:pt x="1568779" y="3916215"/>
                  </a:lnTo>
                  <a:lnTo>
                    <a:pt x="1586014" y="3900729"/>
                  </a:lnTo>
                  <a:lnTo>
                    <a:pt x="1578460" y="3892221"/>
                  </a:lnTo>
                  <a:lnTo>
                    <a:pt x="1570973" y="3883616"/>
                  </a:lnTo>
                  <a:lnTo>
                    <a:pt x="1563556" y="3874918"/>
                  </a:lnTo>
                  <a:lnTo>
                    <a:pt x="1556214" y="3866133"/>
                  </a:lnTo>
                  <a:close/>
                </a:path>
                <a:path w="3264534" h="4239895" extrusionOk="0">
                  <a:moveTo>
                    <a:pt x="3002652" y="3819967"/>
                  </a:moveTo>
                  <a:lnTo>
                    <a:pt x="2995807" y="3829134"/>
                  </a:lnTo>
                  <a:lnTo>
                    <a:pt x="2988863" y="3838214"/>
                  </a:lnTo>
                  <a:lnTo>
                    <a:pt x="2981826" y="3847209"/>
                  </a:lnTo>
                  <a:lnTo>
                    <a:pt x="2974705" y="3856123"/>
                  </a:lnTo>
                  <a:lnTo>
                    <a:pt x="2992767" y="3870625"/>
                  </a:lnTo>
                  <a:lnTo>
                    <a:pt x="3000015" y="3861542"/>
                  </a:lnTo>
                  <a:lnTo>
                    <a:pt x="3007179" y="3852361"/>
                  </a:lnTo>
                  <a:lnTo>
                    <a:pt x="3014255" y="3843090"/>
                  </a:lnTo>
                  <a:lnTo>
                    <a:pt x="3021237" y="3833736"/>
                  </a:lnTo>
                  <a:lnTo>
                    <a:pt x="3002652" y="3819967"/>
                  </a:lnTo>
                  <a:close/>
                </a:path>
                <a:path w="3264534" h="4239895" extrusionOk="0">
                  <a:moveTo>
                    <a:pt x="1501043" y="3793298"/>
                  </a:moveTo>
                  <a:lnTo>
                    <a:pt x="1482017" y="3806512"/>
                  </a:lnTo>
                  <a:lnTo>
                    <a:pt x="1488742" y="3816081"/>
                  </a:lnTo>
                  <a:lnTo>
                    <a:pt x="1495552" y="3825562"/>
                  </a:lnTo>
                  <a:lnTo>
                    <a:pt x="1502451" y="3834956"/>
                  </a:lnTo>
                  <a:lnTo>
                    <a:pt x="1509440" y="3844259"/>
                  </a:lnTo>
                  <a:lnTo>
                    <a:pt x="1527880" y="3830281"/>
                  </a:lnTo>
                  <a:lnTo>
                    <a:pt x="1521039" y="3821167"/>
                  </a:lnTo>
                  <a:lnTo>
                    <a:pt x="1514288" y="3811966"/>
                  </a:lnTo>
                  <a:lnTo>
                    <a:pt x="1507624" y="3802676"/>
                  </a:lnTo>
                  <a:lnTo>
                    <a:pt x="1501043" y="3793298"/>
                  </a:lnTo>
                  <a:close/>
                </a:path>
                <a:path w="3264534" h="4239895" extrusionOk="0">
                  <a:moveTo>
                    <a:pt x="3053969" y="3744388"/>
                  </a:moveTo>
                  <a:lnTo>
                    <a:pt x="3047880" y="3754089"/>
                  </a:lnTo>
                  <a:lnTo>
                    <a:pt x="3041692" y="3763702"/>
                  </a:lnTo>
                  <a:lnTo>
                    <a:pt x="3035410" y="3773228"/>
                  </a:lnTo>
                  <a:lnTo>
                    <a:pt x="3029038" y="3782670"/>
                  </a:lnTo>
                  <a:lnTo>
                    <a:pt x="3048200" y="3795727"/>
                  </a:lnTo>
                  <a:lnTo>
                    <a:pt x="3054689" y="3786059"/>
                  </a:lnTo>
                  <a:lnTo>
                    <a:pt x="3061097" y="3776326"/>
                  </a:lnTo>
                  <a:lnTo>
                    <a:pt x="3067416" y="3766523"/>
                  </a:lnTo>
                  <a:lnTo>
                    <a:pt x="3073634" y="3756650"/>
                  </a:lnTo>
                  <a:lnTo>
                    <a:pt x="3053969" y="3744388"/>
                  </a:lnTo>
                  <a:close/>
                </a:path>
                <a:path w="3264534" h="4239895" extrusionOk="0">
                  <a:moveTo>
                    <a:pt x="1451851" y="3716284"/>
                  </a:moveTo>
                  <a:lnTo>
                    <a:pt x="1431862" y="3727949"/>
                  </a:lnTo>
                  <a:lnTo>
                    <a:pt x="1437782" y="3738029"/>
                  </a:lnTo>
                  <a:lnTo>
                    <a:pt x="1443814" y="3748024"/>
                  </a:lnTo>
                  <a:lnTo>
                    <a:pt x="1449941" y="3757937"/>
                  </a:lnTo>
                  <a:lnTo>
                    <a:pt x="1456144" y="3767770"/>
                  </a:lnTo>
                  <a:lnTo>
                    <a:pt x="1475661" y="3755267"/>
                  </a:lnTo>
                  <a:lnTo>
                    <a:pt x="1469579" y="3745642"/>
                  </a:lnTo>
                  <a:lnTo>
                    <a:pt x="1463575" y="3735933"/>
                  </a:lnTo>
                  <a:lnTo>
                    <a:pt x="1457662" y="3726145"/>
                  </a:lnTo>
                  <a:lnTo>
                    <a:pt x="1451851" y="3716284"/>
                  </a:lnTo>
                  <a:close/>
                </a:path>
                <a:path w="3264534" h="4239895" extrusionOk="0">
                  <a:moveTo>
                    <a:pt x="3099245" y="3665008"/>
                  </a:moveTo>
                  <a:lnTo>
                    <a:pt x="3093918" y="3675140"/>
                  </a:lnTo>
                  <a:lnTo>
                    <a:pt x="3088492" y="3685208"/>
                  </a:lnTo>
                  <a:lnTo>
                    <a:pt x="3082972" y="3695207"/>
                  </a:lnTo>
                  <a:lnTo>
                    <a:pt x="3077361" y="3705133"/>
                  </a:lnTo>
                  <a:lnTo>
                    <a:pt x="3097486" y="3716619"/>
                  </a:lnTo>
                  <a:lnTo>
                    <a:pt x="3103198" y="3706488"/>
                  </a:lnTo>
                  <a:lnTo>
                    <a:pt x="3108818" y="3696281"/>
                  </a:lnTo>
                  <a:lnTo>
                    <a:pt x="3114349" y="3686005"/>
                  </a:lnTo>
                  <a:lnTo>
                    <a:pt x="3119789" y="3675668"/>
                  </a:lnTo>
                  <a:lnTo>
                    <a:pt x="3099245" y="3665008"/>
                  </a:lnTo>
                  <a:close/>
                </a:path>
                <a:path w="3264534" h="4239895" extrusionOk="0">
                  <a:moveTo>
                    <a:pt x="1408836" y="3635637"/>
                  </a:moveTo>
                  <a:lnTo>
                    <a:pt x="1387978" y="3645710"/>
                  </a:lnTo>
                  <a:lnTo>
                    <a:pt x="1393122" y="3656208"/>
                  </a:lnTo>
                  <a:lnTo>
                    <a:pt x="1398359" y="3666637"/>
                  </a:lnTo>
                  <a:lnTo>
                    <a:pt x="1403688" y="3676995"/>
                  </a:lnTo>
                  <a:lnTo>
                    <a:pt x="1409108" y="3687280"/>
                  </a:lnTo>
                  <a:lnTo>
                    <a:pt x="1429548" y="3676380"/>
                  </a:lnTo>
                  <a:lnTo>
                    <a:pt x="1424234" y="3666296"/>
                  </a:lnTo>
                  <a:lnTo>
                    <a:pt x="1419007" y="3656146"/>
                  </a:lnTo>
                  <a:lnTo>
                    <a:pt x="1413873" y="3645928"/>
                  </a:lnTo>
                  <a:lnTo>
                    <a:pt x="1408836" y="3635637"/>
                  </a:lnTo>
                  <a:close/>
                </a:path>
                <a:path w="3264534" h="4239895" extrusionOk="0">
                  <a:moveTo>
                    <a:pt x="3138291" y="3582341"/>
                  </a:moveTo>
                  <a:lnTo>
                    <a:pt x="3133758" y="3592847"/>
                  </a:lnTo>
                  <a:lnTo>
                    <a:pt x="3129118" y="3603301"/>
                  </a:lnTo>
                  <a:lnTo>
                    <a:pt x="3124381" y="3613695"/>
                  </a:lnTo>
                  <a:lnTo>
                    <a:pt x="3119559" y="3624025"/>
                  </a:lnTo>
                  <a:lnTo>
                    <a:pt x="3140459" y="3633952"/>
                  </a:lnTo>
                  <a:lnTo>
                    <a:pt x="3145386" y="3623409"/>
                  </a:lnTo>
                  <a:lnTo>
                    <a:pt x="3150220" y="3612800"/>
                  </a:lnTo>
                  <a:lnTo>
                    <a:pt x="3154957" y="3602129"/>
                  </a:lnTo>
                  <a:lnTo>
                    <a:pt x="3159589" y="3591398"/>
                  </a:lnTo>
                  <a:lnTo>
                    <a:pt x="3138291" y="3582341"/>
                  </a:lnTo>
                  <a:close/>
                </a:path>
                <a:path w="3264534" h="4239895" extrusionOk="0">
                  <a:moveTo>
                    <a:pt x="1371968" y="3551923"/>
                  </a:moveTo>
                  <a:lnTo>
                    <a:pt x="1350440" y="3560467"/>
                  </a:lnTo>
                  <a:lnTo>
                    <a:pt x="1354801" y="3571313"/>
                  </a:lnTo>
                  <a:lnTo>
                    <a:pt x="1359254" y="3582095"/>
                  </a:lnTo>
                  <a:lnTo>
                    <a:pt x="1363789" y="3592805"/>
                  </a:lnTo>
                  <a:lnTo>
                    <a:pt x="1368398" y="3603440"/>
                  </a:lnTo>
                  <a:lnTo>
                    <a:pt x="1389612" y="3594131"/>
                  </a:lnTo>
                  <a:lnTo>
                    <a:pt x="1385064" y="3583666"/>
                  </a:lnTo>
                  <a:lnTo>
                    <a:pt x="1380609" y="3573145"/>
                  </a:lnTo>
                  <a:lnTo>
                    <a:pt x="1376245" y="3562564"/>
                  </a:lnTo>
                  <a:lnTo>
                    <a:pt x="1371968" y="3551923"/>
                  </a:lnTo>
                  <a:close/>
                </a:path>
                <a:path w="3264534" h="4239895" extrusionOk="0">
                  <a:moveTo>
                    <a:pt x="3171180" y="3496961"/>
                  </a:moveTo>
                  <a:lnTo>
                    <a:pt x="3167387" y="3507786"/>
                  </a:lnTo>
                  <a:lnTo>
                    <a:pt x="3163504" y="3518559"/>
                  </a:lnTo>
                  <a:lnTo>
                    <a:pt x="3159541" y="3529286"/>
                  </a:lnTo>
                  <a:lnTo>
                    <a:pt x="3155506" y="3539975"/>
                  </a:lnTo>
                  <a:lnTo>
                    <a:pt x="3177138" y="3548237"/>
                  </a:lnTo>
                  <a:lnTo>
                    <a:pt x="3181249" y="3537379"/>
                  </a:lnTo>
                  <a:lnTo>
                    <a:pt x="3185273" y="3526465"/>
                  </a:lnTo>
                  <a:lnTo>
                    <a:pt x="3189208" y="3515501"/>
                  </a:lnTo>
                  <a:lnTo>
                    <a:pt x="3193054" y="3504490"/>
                  </a:lnTo>
                  <a:lnTo>
                    <a:pt x="3171180" y="3496961"/>
                  </a:lnTo>
                  <a:close/>
                </a:path>
                <a:path w="3264534" h="4239895" extrusionOk="0">
                  <a:moveTo>
                    <a:pt x="1341393" y="3465726"/>
                  </a:moveTo>
                  <a:lnTo>
                    <a:pt x="1319300" y="3472700"/>
                  </a:lnTo>
                  <a:lnTo>
                    <a:pt x="1322860" y="3483840"/>
                  </a:lnTo>
                  <a:lnTo>
                    <a:pt x="1326510" y="3494913"/>
                  </a:lnTo>
                  <a:lnTo>
                    <a:pt x="1330256" y="3505920"/>
                  </a:lnTo>
                  <a:lnTo>
                    <a:pt x="1334105" y="3516866"/>
                  </a:lnTo>
                  <a:lnTo>
                    <a:pt x="1355885" y="3509139"/>
                  </a:lnTo>
                  <a:lnTo>
                    <a:pt x="1352144" y="3498355"/>
                  </a:lnTo>
                  <a:lnTo>
                    <a:pt x="1348478" y="3487531"/>
                  </a:lnTo>
                  <a:lnTo>
                    <a:pt x="1344893" y="3476658"/>
                  </a:lnTo>
                  <a:lnTo>
                    <a:pt x="1341393" y="3465726"/>
                  </a:lnTo>
                  <a:close/>
                </a:path>
                <a:path w="3264534" h="4239895" extrusionOk="0">
                  <a:moveTo>
                    <a:pt x="3197693" y="3409445"/>
                  </a:moveTo>
                  <a:lnTo>
                    <a:pt x="3194713" y="3420513"/>
                  </a:lnTo>
                  <a:lnTo>
                    <a:pt x="3191624" y="3431546"/>
                  </a:lnTo>
                  <a:lnTo>
                    <a:pt x="3188438" y="3442533"/>
                  </a:lnTo>
                  <a:lnTo>
                    <a:pt x="3185170" y="3453465"/>
                  </a:lnTo>
                  <a:lnTo>
                    <a:pt x="3207357" y="3460156"/>
                  </a:lnTo>
                  <a:lnTo>
                    <a:pt x="3210670" y="3449028"/>
                  </a:lnTo>
                  <a:lnTo>
                    <a:pt x="3213895" y="3437853"/>
                  </a:lnTo>
                  <a:lnTo>
                    <a:pt x="3217024" y="3426631"/>
                  </a:lnTo>
                  <a:lnTo>
                    <a:pt x="3220048" y="3415361"/>
                  </a:lnTo>
                  <a:lnTo>
                    <a:pt x="3197693" y="3409445"/>
                  </a:lnTo>
                  <a:close/>
                </a:path>
                <a:path w="3264534" h="4239895" extrusionOk="0">
                  <a:moveTo>
                    <a:pt x="1317101" y="3377530"/>
                  </a:moveTo>
                  <a:lnTo>
                    <a:pt x="1294599" y="3382902"/>
                  </a:lnTo>
                  <a:lnTo>
                    <a:pt x="1297337" y="3394259"/>
                  </a:lnTo>
                  <a:lnTo>
                    <a:pt x="1300176" y="3405567"/>
                  </a:lnTo>
                  <a:lnTo>
                    <a:pt x="1303111" y="3416823"/>
                  </a:lnTo>
                  <a:lnTo>
                    <a:pt x="1306138" y="3428021"/>
                  </a:lnTo>
                  <a:lnTo>
                    <a:pt x="1328483" y="3421885"/>
                  </a:lnTo>
                  <a:lnTo>
                    <a:pt x="1325488" y="3410873"/>
                  </a:lnTo>
                  <a:lnTo>
                    <a:pt x="1322603" y="3399817"/>
                  </a:lnTo>
                  <a:lnTo>
                    <a:pt x="1319813" y="3388707"/>
                  </a:lnTo>
                  <a:lnTo>
                    <a:pt x="1317101" y="3377530"/>
                  </a:lnTo>
                  <a:close/>
                </a:path>
                <a:path w="3264534" h="4239895" extrusionOk="0">
                  <a:moveTo>
                    <a:pt x="3217933" y="3320202"/>
                  </a:moveTo>
                  <a:lnTo>
                    <a:pt x="3215725" y="3331448"/>
                  </a:lnTo>
                  <a:lnTo>
                    <a:pt x="3213427" y="3342661"/>
                  </a:lnTo>
                  <a:lnTo>
                    <a:pt x="3211043" y="3353841"/>
                  </a:lnTo>
                  <a:lnTo>
                    <a:pt x="3208582" y="3364986"/>
                  </a:lnTo>
                  <a:lnTo>
                    <a:pt x="3231147" y="3370085"/>
                  </a:lnTo>
                  <a:lnTo>
                    <a:pt x="3233675" y="3358775"/>
                  </a:lnTo>
                  <a:lnTo>
                    <a:pt x="3236108" y="3347412"/>
                  </a:lnTo>
                  <a:lnTo>
                    <a:pt x="3238451" y="3335996"/>
                  </a:lnTo>
                  <a:lnTo>
                    <a:pt x="3240707" y="3324527"/>
                  </a:lnTo>
                  <a:lnTo>
                    <a:pt x="3217933" y="3320202"/>
                  </a:lnTo>
                  <a:close/>
                </a:path>
                <a:path w="3264534" h="4239895" extrusionOk="0">
                  <a:moveTo>
                    <a:pt x="1299133" y="3287847"/>
                  </a:moveTo>
                  <a:lnTo>
                    <a:pt x="1276317" y="3291596"/>
                  </a:lnTo>
                  <a:lnTo>
                    <a:pt x="1278251" y="3303134"/>
                  </a:lnTo>
                  <a:lnTo>
                    <a:pt x="1280283" y="3314617"/>
                  </a:lnTo>
                  <a:lnTo>
                    <a:pt x="1282413" y="3326047"/>
                  </a:lnTo>
                  <a:lnTo>
                    <a:pt x="1284641" y="3337427"/>
                  </a:lnTo>
                  <a:lnTo>
                    <a:pt x="1307342" y="3332851"/>
                  </a:lnTo>
                  <a:lnTo>
                    <a:pt x="1305149" y="3321658"/>
                  </a:lnTo>
                  <a:lnTo>
                    <a:pt x="1303049" y="3310427"/>
                  </a:lnTo>
                  <a:lnTo>
                    <a:pt x="1301043" y="3299158"/>
                  </a:lnTo>
                  <a:lnTo>
                    <a:pt x="1299133" y="3287847"/>
                  </a:lnTo>
                  <a:close/>
                </a:path>
                <a:path w="3264534" h="4239895" extrusionOk="0">
                  <a:moveTo>
                    <a:pt x="3231880" y="3229786"/>
                  </a:moveTo>
                  <a:lnTo>
                    <a:pt x="3230474" y="3241189"/>
                  </a:lnTo>
                  <a:lnTo>
                    <a:pt x="3228965" y="3252546"/>
                  </a:lnTo>
                  <a:lnTo>
                    <a:pt x="3227364" y="3263857"/>
                  </a:lnTo>
                  <a:lnTo>
                    <a:pt x="3225681" y="3275125"/>
                  </a:lnTo>
                  <a:lnTo>
                    <a:pt x="3248571" y="3278664"/>
                  </a:lnTo>
                  <a:lnTo>
                    <a:pt x="3250293" y="3267190"/>
                  </a:lnTo>
                  <a:lnTo>
                    <a:pt x="3251921" y="3255674"/>
                  </a:lnTo>
                  <a:lnTo>
                    <a:pt x="3253448" y="3244124"/>
                  </a:lnTo>
                  <a:lnTo>
                    <a:pt x="3254864" y="3232550"/>
                  </a:lnTo>
                  <a:lnTo>
                    <a:pt x="3231880" y="3229786"/>
                  </a:lnTo>
                  <a:close/>
                </a:path>
                <a:path w="3264534" h="4239895" extrusionOk="0">
                  <a:moveTo>
                    <a:pt x="1287426" y="3197096"/>
                  </a:moveTo>
                  <a:lnTo>
                    <a:pt x="1264359" y="3199284"/>
                  </a:lnTo>
                  <a:lnTo>
                    <a:pt x="1265514" y="3210917"/>
                  </a:lnTo>
                  <a:lnTo>
                    <a:pt x="1266746" y="3222509"/>
                  </a:lnTo>
                  <a:lnTo>
                    <a:pt x="1268072" y="3234061"/>
                  </a:lnTo>
                  <a:lnTo>
                    <a:pt x="1269511" y="3245576"/>
                  </a:lnTo>
                  <a:lnTo>
                    <a:pt x="1292505" y="3242592"/>
                  </a:lnTo>
                  <a:lnTo>
                    <a:pt x="1291084" y="3231282"/>
                  </a:lnTo>
                  <a:lnTo>
                    <a:pt x="1289769" y="3219926"/>
                  </a:lnTo>
                  <a:lnTo>
                    <a:pt x="1288553" y="3208529"/>
                  </a:lnTo>
                  <a:lnTo>
                    <a:pt x="1287426" y="3197096"/>
                  </a:lnTo>
                  <a:close/>
                </a:path>
                <a:path w="3264534" h="4239895" extrusionOk="0">
                  <a:moveTo>
                    <a:pt x="3239587" y="3138606"/>
                  </a:moveTo>
                  <a:lnTo>
                    <a:pt x="3238880" y="3151405"/>
                  </a:lnTo>
                  <a:lnTo>
                    <a:pt x="3238252" y="3161487"/>
                  </a:lnTo>
                  <a:lnTo>
                    <a:pt x="3237446" y="3172885"/>
                  </a:lnTo>
                  <a:lnTo>
                    <a:pt x="3236540" y="3184259"/>
                  </a:lnTo>
                  <a:lnTo>
                    <a:pt x="3259597" y="3186227"/>
                  </a:lnTo>
                  <a:lnTo>
                    <a:pt x="3260533" y="3174647"/>
                  </a:lnTo>
                  <a:lnTo>
                    <a:pt x="3261366" y="3163041"/>
                  </a:lnTo>
                  <a:lnTo>
                    <a:pt x="3262097" y="3151405"/>
                  </a:lnTo>
                  <a:lnTo>
                    <a:pt x="3262727" y="3139736"/>
                  </a:lnTo>
                  <a:lnTo>
                    <a:pt x="3239587" y="3138606"/>
                  </a:lnTo>
                  <a:close/>
                </a:path>
                <a:path w="3264534" h="4239895" extrusionOk="0">
                  <a:moveTo>
                    <a:pt x="1281950" y="3105769"/>
                  </a:moveTo>
                  <a:lnTo>
                    <a:pt x="1258799" y="3106376"/>
                  </a:lnTo>
                  <a:lnTo>
                    <a:pt x="1259153" y="3118039"/>
                  </a:lnTo>
                  <a:lnTo>
                    <a:pt x="1259605" y="3129684"/>
                  </a:lnTo>
                  <a:lnTo>
                    <a:pt x="1260159" y="3141306"/>
                  </a:lnTo>
                  <a:lnTo>
                    <a:pt x="1260820" y="3152898"/>
                  </a:lnTo>
                  <a:lnTo>
                    <a:pt x="1283960" y="3151474"/>
                  </a:lnTo>
                  <a:lnTo>
                    <a:pt x="1283299" y="3140099"/>
                  </a:lnTo>
                  <a:lnTo>
                    <a:pt x="1282751" y="3128688"/>
                  </a:lnTo>
                  <a:lnTo>
                    <a:pt x="1282305" y="3117244"/>
                  </a:lnTo>
                  <a:lnTo>
                    <a:pt x="1281950" y="3105769"/>
                  </a:lnTo>
                  <a:close/>
                </a:path>
                <a:path w="3264534" h="4239895" extrusionOk="0">
                  <a:moveTo>
                    <a:pt x="3264466" y="3046901"/>
                  </a:moveTo>
                  <a:lnTo>
                    <a:pt x="3241325" y="3046901"/>
                  </a:lnTo>
                  <a:lnTo>
                    <a:pt x="3241241" y="3085340"/>
                  </a:lnTo>
                  <a:lnTo>
                    <a:pt x="3241136" y="3092890"/>
                  </a:lnTo>
                  <a:lnTo>
                    <a:pt x="3264308" y="3093267"/>
                  </a:lnTo>
                  <a:lnTo>
                    <a:pt x="3264389" y="3085340"/>
                  </a:lnTo>
                  <a:lnTo>
                    <a:pt x="3264466" y="3046901"/>
                  </a:lnTo>
                  <a:close/>
                </a:path>
                <a:path w="3264534" h="4239895" extrusionOk="0">
                  <a:moveTo>
                    <a:pt x="1281510" y="3013740"/>
                  </a:moveTo>
                  <a:lnTo>
                    <a:pt x="1258328" y="3013740"/>
                  </a:lnTo>
                  <a:lnTo>
                    <a:pt x="1258328" y="3059896"/>
                  </a:lnTo>
                  <a:lnTo>
                    <a:pt x="1281510" y="3059896"/>
                  </a:lnTo>
                  <a:lnTo>
                    <a:pt x="1281510" y="3013740"/>
                  </a:lnTo>
                  <a:close/>
                </a:path>
                <a:path w="3264534" h="4239895" extrusionOk="0">
                  <a:moveTo>
                    <a:pt x="3264476" y="2954569"/>
                  </a:moveTo>
                  <a:lnTo>
                    <a:pt x="3241325" y="2954569"/>
                  </a:lnTo>
                  <a:lnTo>
                    <a:pt x="3241325" y="3000756"/>
                  </a:lnTo>
                  <a:lnTo>
                    <a:pt x="3264476" y="3000756"/>
                  </a:lnTo>
                  <a:lnTo>
                    <a:pt x="3264476" y="2954569"/>
                  </a:lnTo>
                  <a:close/>
                </a:path>
                <a:path w="3264534" h="4239895" extrusionOk="0">
                  <a:moveTo>
                    <a:pt x="1281510" y="2921397"/>
                  </a:moveTo>
                  <a:lnTo>
                    <a:pt x="1258328" y="2921397"/>
                  </a:lnTo>
                  <a:lnTo>
                    <a:pt x="1258328" y="2967585"/>
                  </a:lnTo>
                  <a:lnTo>
                    <a:pt x="1281510" y="2967585"/>
                  </a:lnTo>
                  <a:lnTo>
                    <a:pt x="1281510" y="2921397"/>
                  </a:lnTo>
                  <a:close/>
                </a:path>
                <a:path w="3264534" h="4239895" extrusionOk="0">
                  <a:moveTo>
                    <a:pt x="3264476" y="2862216"/>
                  </a:moveTo>
                  <a:lnTo>
                    <a:pt x="3241325" y="2862216"/>
                  </a:lnTo>
                  <a:lnTo>
                    <a:pt x="3241325" y="2908372"/>
                  </a:lnTo>
                  <a:lnTo>
                    <a:pt x="3264476" y="2908372"/>
                  </a:lnTo>
                  <a:lnTo>
                    <a:pt x="3264476" y="2862216"/>
                  </a:lnTo>
                  <a:close/>
                </a:path>
                <a:path w="3264534" h="4239895" extrusionOk="0">
                  <a:moveTo>
                    <a:pt x="1281510" y="2829065"/>
                  </a:moveTo>
                  <a:lnTo>
                    <a:pt x="1258328" y="2829065"/>
                  </a:lnTo>
                  <a:lnTo>
                    <a:pt x="1258328" y="2875231"/>
                  </a:lnTo>
                  <a:lnTo>
                    <a:pt x="1281510" y="2875231"/>
                  </a:lnTo>
                  <a:lnTo>
                    <a:pt x="1281510" y="2829065"/>
                  </a:lnTo>
                  <a:close/>
                </a:path>
                <a:path w="3264534" h="4239895" extrusionOk="0">
                  <a:moveTo>
                    <a:pt x="3264476" y="2769905"/>
                  </a:moveTo>
                  <a:lnTo>
                    <a:pt x="3241325" y="2769905"/>
                  </a:lnTo>
                  <a:lnTo>
                    <a:pt x="3241325" y="2816071"/>
                  </a:lnTo>
                  <a:lnTo>
                    <a:pt x="3264476" y="2816071"/>
                  </a:lnTo>
                  <a:lnTo>
                    <a:pt x="3264476" y="2769905"/>
                  </a:lnTo>
                  <a:close/>
                </a:path>
                <a:path w="3264534" h="4239895" extrusionOk="0">
                  <a:moveTo>
                    <a:pt x="1281510" y="2736743"/>
                  </a:moveTo>
                  <a:lnTo>
                    <a:pt x="1258328" y="2736743"/>
                  </a:lnTo>
                  <a:lnTo>
                    <a:pt x="1258328" y="2782920"/>
                  </a:lnTo>
                  <a:lnTo>
                    <a:pt x="1281510" y="2782920"/>
                  </a:lnTo>
                  <a:lnTo>
                    <a:pt x="1281510" y="2736743"/>
                  </a:lnTo>
                  <a:close/>
                </a:path>
                <a:path w="3264534" h="4239895" extrusionOk="0">
                  <a:moveTo>
                    <a:pt x="3264476" y="2677583"/>
                  </a:moveTo>
                  <a:lnTo>
                    <a:pt x="3241325" y="2677583"/>
                  </a:lnTo>
                  <a:lnTo>
                    <a:pt x="3241325" y="2723749"/>
                  </a:lnTo>
                  <a:lnTo>
                    <a:pt x="3264476" y="2723749"/>
                  </a:lnTo>
                  <a:lnTo>
                    <a:pt x="3264476" y="2677583"/>
                  </a:lnTo>
                  <a:close/>
                </a:path>
                <a:path w="3264534" h="4239895" extrusionOk="0">
                  <a:moveTo>
                    <a:pt x="1281510" y="2644390"/>
                  </a:moveTo>
                  <a:lnTo>
                    <a:pt x="1258328" y="2644390"/>
                  </a:lnTo>
                  <a:lnTo>
                    <a:pt x="1258328" y="2690598"/>
                  </a:lnTo>
                  <a:lnTo>
                    <a:pt x="1281510" y="2690598"/>
                  </a:lnTo>
                  <a:lnTo>
                    <a:pt x="1281510" y="2644390"/>
                  </a:lnTo>
                  <a:close/>
                </a:path>
                <a:path w="3264534" h="4239895" extrusionOk="0">
                  <a:moveTo>
                    <a:pt x="3264476" y="2585230"/>
                  </a:moveTo>
                  <a:lnTo>
                    <a:pt x="3241325" y="2585230"/>
                  </a:lnTo>
                  <a:lnTo>
                    <a:pt x="3241325" y="2631438"/>
                  </a:lnTo>
                  <a:lnTo>
                    <a:pt x="3264476" y="2631438"/>
                  </a:lnTo>
                  <a:lnTo>
                    <a:pt x="3264476" y="2585230"/>
                  </a:lnTo>
                  <a:close/>
                </a:path>
                <a:path w="3264534" h="4239895" extrusionOk="0">
                  <a:moveTo>
                    <a:pt x="1281510" y="2552079"/>
                  </a:moveTo>
                  <a:lnTo>
                    <a:pt x="1258328" y="2552079"/>
                  </a:lnTo>
                  <a:lnTo>
                    <a:pt x="1258328" y="2598255"/>
                  </a:lnTo>
                  <a:lnTo>
                    <a:pt x="1281510" y="2598255"/>
                  </a:lnTo>
                  <a:lnTo>
                    <a:pt x="1281510" y="2552079"/>
                  </a:lnTo>
                  <a:close/>
                </a:path>
                <a:path w="3264534" h="4239895" extrusionOk="0">
                  <a:moveTo>
                    <a:pt x="3264476" y="2492908"/>
                  </a:moveTo>
                  <a:lnTo>
                    <a:pt x="3241325" y="2492908"/>
                  </a:lnTo>
                  <a:lnTo>
                    <a:pt x="3241325" y="2539084"/>
                  </a:lnTo>
                  <a:lnTo>
                    <a:pt x="3264476" y="2539084"/>
                  </a:lnTo>
                  <a:lnTo>
                    <a:pt x="3264476" y="2492908"/>
                  </a:lnTo>
                  <a:close/>
                </a:path>
                <a:path w="3264534" h="4239895" extrusionOk="0">
                  <a:moveTo>
                    <a:pt x="1281510" y="2459747"/>
                  </a:moveTo>
                  <a:lnTo>
                    <a:pt x="1258328" y="2459747"/>
                  </a:lnTo>
                  <a:lnTo>
                    <a:pt x="1258328" y="2505934"/>
                  </a:lnTo>
                  <a:lnTo>
                    <a:pt x="1281510" y="2505934"/>
                  </a:lnTo>
                  <a:lnTo>
                    <a:pt x="1281510" y="2459747"/>
                  </a:lnTo>
                  <a:close/>
                </a:path>
                <a:path w="3264534" h="4239895" extrusionOk="0">
                  <a:moveTo>
                    <a:pt x="3264476" y="2400597"/>
                  </a:moveTo>
                  <a:lnTo>
                    <a:pt x="3241325" y="2400597"/>
                  </a:lnTo>
                  <a:lnTo>
                    <a:pt x="3241325" y="2446773"/>
                  </a:lnTo>
                  <a:lnTo>
                    <a:pt x="3264476" y="2446773"/>
                  </a:lnTo>
                  <a:lnTo>
                    <a:pt x="3264476" y="2400597"/>
                  </a:lnTo>
                  <a:close/>
                </a:path>
                <a:path w="3264534" h="4239895" extrusionOk="0">
                  <a:moveTo>
                    <a:pt x="1281510" y="2367435"/>
                  </a:moveTo>
                  <a:lnTo>
                    <a:pt x="1258328" y="2367435"/>
                  </a:lnTo>
                  <a:lnTo>
                    <a:pt x="1258328" y="2413591"/>
                  </a:lnTo>
                  <a:lnTo>
                    <a:pt x="1281510" y="2413591"/>
                  </a:lnTo>
                  <a:lnTo>
                    <a:pt x="1281510" y="2367435"/>
                  </a:lnTo>
                  <a:close/>
                </a:path>
                <a:path w="3264534" h="4239895" extrusionOk="0">
                  <a:moveTo>
                    <a:pt x="3264476" y="2308254"/>
                  </a:moveTo>
                  <a:lnTo>
                    <a:pt x="3241325" y="2308254"/>
                  </a:lnTo>
                  <a:lnTo>
                    <a:pt x="3241325" y="2354420"/>
                  </a:lnTo>
                  <a:lnTo>
                    <a:pt x="3264476" y="2354420"/>
                  </a:lnTo>
                  <a:lnTo>
                    <a:pt x="3264476" y="2308254"/>
                  </a:lnTo>
                  <a:close/>
                </a:path>
                <a:path w="3264534" h="4239895" extrusionOk="0">
                  <a:moveTo>
                    <a:pt x="1281510" y="2275082"/>
                  </a:moveTo>
                  <a:lnTo>
                    <a:pt x="1258328" y="2275082"/>
                  </a:lnTo>
                  <a:lnTo>
                    <a:pt x="1258328" y="2321269"/>
                  </a:lnTo>
                  <a:lnTo>
                    <a:pt x="1281510" y="2321269"/>
                  </a:lnTo>
                  <a:lnTo>
                    <a:pt x="1281510" y="2275082"/>
                  </a:lnTo>
                  <a:close/>
                </a:path>
                <a:path w="3264534" h="4239895" extrusionOk="0">
                  <a:moveTo>
                    <a:pt x="3264476" y="2215932"/>
                  </a:moveTo>
                  <a:lnTo>
                    <a:pt x="3241325" y="2215932"/>
                  </a:lnTo>
                  <a:lnTo>
                    <a:pt x="3241325" y="2262077"/>
                  </a:lnTo>
                  <a:lnTo>
                    <a:pt x="3264476" y="2262077"/>
                  </a:lnTo>
                  <a:lnTo>
                    <a:pt x="3264476" y="2215932"/>
                  </a:lnTo>
                  <a:close/>
                </a:path>
                <a:path w="3264534" h="4239895" extrusionOk="0">
                  <a:moveTo>
                    <a:pt x="1281510" y="2182771"/>
                  </a:moveTo>
                  <a:lnTo>
                    <a:pt x="1258328" y="2182771"/>
                  </a:lnTo>
                  <a:lnTo>
                    <a:pt x="1258328" y="2228926"/>
                  </a:lnTo>
                  <a:lnTo>
                    <a:pt x="1281510" y="2228926"/>
                  </a:lnTo>
                  <a:lnTo>
                    <a:pt x="1281510" y="2182771"/>
                  </a:lnTo>
                  <a:close/>
                </a:path>
                <a:path w="3264534" h="4239895" extrusionOk="0">
                  <a:moveTo>
                    <a:pt x="3264476" y="2123600"/>
                  </a:moveTo>
                  <a:lnTo>
                    <a:pt x="3241325" y="2123600"/>
                  </a:lnTo>
                  <a:lnTo>
                    <a:pt x="3241325" y="2169755"/>
                  </a:lnTo>
                  <a:lnTo>
                    <a:pt x="3264476" y="2169755"/>
                  </a:lnTo>
                  <a:lnTo>
                    <a:pt x="3264476" y="2123600"/>
                  </a:lnTo>
                  <a:close/>
                </a:path>
                <a:path w="3264534" h="4239895" extrusionOk="0">
                  <a:moveTo>
                    <a:pt x="1281510" y="2090459"/>
                  </a:moveTo>
                  <a:lnTo>
                    <a:pt x="1258328" y="2090459"/>
                  </a:lnTo>
                  <a:lnTo>
                    <a:pt x="1258328" y="2136605"/>
                  </a:lnTo>
                  <a:lnTo>
                    <a:pt x="1281510" y="2136605"/>
                  </a:lnTo>
                  <a:lnTo>
                    <a:pt x="1281510" y="2090459"/>
                  </a:lnTo>
                  <a:close/>
                </a:path>
                <a:path w="3264534" h="4239895" extrusionOk="0">
                  <a:moveTo>
                    <a:pt x="3264476" y="2031247"/>
                  </a:moveTo>
                  <a:lnTo>
                    <a:pt x="3241325" y="2031247"/>
                  </a:lnTo>
                  <a:lnTo>
                    <a:pt x="3241325" y="2077444"/>
                  </a:lnTo>
                  <a:lnTo>
                    <a:pt x="3264476" y="2077444"/>
                  </a:lnTo>
                  <a:lnTo>
                    <a:pt x="3264476" y="2031247"/>
                  </a:lnTo>
                  <a:close/>
                </a:path>
                <a:path w="3264534" h="4239895" extrusionOk="0">
                  <a:moveTo>
                    <a:pt x="1281510" y="1998085"/>
                  </a:moveTo>
                  <a:lnTo>
                    <a:pt x="1258328" y="1998085"/>
                  </a:lnTo>
                  <a:lnTo>
                    <a:pt x="1258328" y="2044262"/>
                  </a:lnTo>
                  <a:lnTo>
                    <a:pt x="1281510" y="2044262"/>
                  </a:lnTo>
                  <a:lnTo>
                    <a:pt x="1281510" y="1998085"/>
                  </a:lnTo>
                  <a:close/>
                </a:path>
                <a:path w="3264534" h="4239895" extrusionOk="0">
                  <a:moveTo>
                    <a:pt x="3264476" y="1938935"/>
                  </a:moveTo>
                  <a:lnTo>
                    <a:pt x="3241325" y="1938935"/>
                  </a:lnTo>
                  <a:lnTo>
                    <a:pt x="3241325" y="1985091"/>
                  </a:lnTo>
                  <a:lnTo>
                    <a:pt x="3264476" y="1985091"/>
                  </a:lnTo>
                  <a:lnTo>
                    <a:pt x="3264476" y="1938935"/>
                  </a:lnTo>
                  <a:close/>
                </a:path>
                <a:path w="3264534" h="4239895" extrusionOk="0">
                  <a:moveTo>
                    <a:pt x="1281510" y="1905774"/>
                  </a:moveTo>
                  <a:lnTo>
                    <a:pt x="1258328" y="1905774"/>
                  </a:lnTo>
                  <a:lnTo>
                    <a:pt x="1258328" y="1951940"/>
                  </a:lnTo>
                  <a:lnTo>
                    <a:pt x="1281510" y="1951940"/>
                  </a:lnTo>
                  <a:lnTo>
                    <a:pt x="1281510" y="1905774"/>
                  </a:lnTo>
                  <a:close/>
                </a:path>
                <a:path w="3264534" h="4239895" extrusionOk="0">
                  <a:moveTo>
                    <a:pt x="3264476" y="1846603"/>
                  </a:moveTo>
                  <a:lnTo>
                    <a:pt x="3241325" y="1846603"/>
                  </a:lnTo>
                  <a:lnTo>
                    <a:pt x="3241325" y="1892780"/>
                  </a:lnTo>
                  <a:lnTo>
                    <a:pt x="3264476" y="1892780"/>
                  </a:lnTo>
                  <a:lnTo>
                    <a:pt x="3264476" y="1846603"/>
                  </a:lnTo>
                  <a:close/>
                </a:path>
                <a:path w="3264534" h="4239895" extrusionOk="0">
                  <a:moveTo>
                    <a:pt x="1281510" y="1813452"/>
                  </a:moveTo>
                  <a:lnTo>
                    <a:pt x="1258328" y="1813452"/>
                  </a:lnTo>
                  <a:lnTo>
                    <a:pt x="1258328" y="1859629"/>
                  </a:lnTo>
                  <a:lnTo>
                    <a:pt x="1281510" y="1859629"/>
                  </a:lnTo>
                  <a:lnTo>
                    <a:pt x="1281510" y="1813452"/>
                  </a:lnTo>
                  <a:close/>
                </a:path>
                <a:path w="3264534" h="4239895" extrusionOk="0">
                  <a:moveTo>
                    <a:pt x="3264476" y="1754292"/>
                  </a:moveTo>
                  <a:lnTo>
                    <a:pt x="3241325" y="1754292"/>
                  </a:lnTo>
                  <a:lnTo>
                    <a:pt x="3241325" y="1800458"/>
                  </a:lnTo>
                  <a:lnTo>
                    <a:pt x="3264476" y="1800458"/>
                  </a:lnTo>
                  <a:lnTo>
                    <a:pt x="3264476" y="1754292"/>
                  </a:lnTo>
                  <a:close/>
                </a:path>
                <a:path w="3264534" h="4239895" extrusionOk="0">
                  <a:moveTo>
                    <a:pt x="1281510" y="1721109"/>
                  </a:moveTo>
                  <a:lnTo>
                    <a:pt x="1258328" y="1721109"/>
                  </a:lnTo>
                  <a:lnTo>
                    <a:pt x="1258328" y="1767296"/>
                  </a:lnTo>
                  <a:lnTo>
                    <a:pt x="1281510" y="1767296"/>
                  </a:lnTo>
                  <a:lnTo>
                    <a:pt x="1281510" y="1721109"/>
                  </a:lnTo>
                  <a:close/>
                </a:path>
                <a:path w="3264534" h="4239895" extrusionOk="0">
                  <a:moveTo>
                    <a:pt x="3264476" y="1661938"/>
                  </a:moveTo>
                  <a:lnTo>
                    <a:pt x="3241325" y="1661938"/>
                  </a:lnTo>
                  <a:lnTo>
                    <a:pt x="3241325" y="1708115"/>
                  </a:lnTo>
                  <a:lnTo>
                    <a:pt x="3264476" y="1708115"/>
                  </a:lnTo>
                  <a:lnTo>
                    <a:pt x="3264476" y="1661938"/>
                  </a:lnTo>
                  <a:close/>
                </a:path>
                <a:path w="3264534" h="4239895" extrusionOk="0">
                  <a:moveTo>
                    <a:pt x="1281510" y="1628777"/>
                  </a:moveTo>
                  <a:lnTo>
                    <a:pt x="1258328" y="1628777"/>
                  </a:lnTo>
                  <a:lnTo>
                    <a:pt x="1258328" y="1674933"/>
                  </a:lnTo>
                  <a:lnTo>
                    <a:pt x="1281510" y="1674933"/>
                  </a:lnTo>
                  <a:lnTo>
                    <a:pt x="1281510" y="1628777"/>
                  </a:lnTo>
                  <a:close/>
                </a:path>
                <a:path w="3264534" h="4239895" extrusionOk="0">
                  <a:moveTo>
                    <a:pt x="3264476" y="1569627"/>
                  </a:moveTo>
                  <a:lnTo>
                    <a:pt x="3241325" y="1569627"/>
                  </a:lnTo>
                  <a:lnTo>
                    <a:pt x="3241325" y="1615762"/>
                  </a:lnTo>
                  <a:lnTo>
                    <a:pt x="3264476" y="1615762"/>
                  </a:lnTo>
                  <a:lnTo>
                    <a:pt x="3264476" y="1569627"/>
                  </a:lnTo>
                  <a:close/>
                </a:path>
                <a:path w="3264534" h="4239895" extrusionOk="0">
                  <a:moveTo>
                    <a:pt x="1281406" y="1536288"/>
                  </a:moveTo>
                  <a:lnTo>
                    <a:pt x="1258223" y="1536633"/>
                  </a:lnTo>
                  <a:lnTo>
                    <a:pt x="1258328" y="1582621"/>
                  </a:lnTo>
                  <a:lnTo>
                    <a:pt x="1281510" y="1582621"/>
                  </a:lnTo>
                  <a:lnTo>
                    <a:pt x="1281406" y="1536288"/>
                  </a:lnTo>
                  <a:close/>
                </a:path>
                <a:path w="3264534" h="4239895" extrusionOk="0">
                  <a:moveTo>
                    <a:pt x="3264476" y="1477274"/>
                  </a:moveTo>
                  <a:lnTo>
                    <a:pt x="3241325" y="1477274"/>
                  </a:lnTo>
                  <a:lnTo>
                    <a:pt x="3241325" y="1523450"/>
                  </a:lnTo>
                  <a:lnTo>
                    <a:pt x="3264476" y="1523450"/>
                  </a:lnTo>
                  <a:lnTo>
                    <a:pt x="3264476" y="1477274"/>
                  </a:lnTo>
                  <a:close/>
                </a:path>
                <a:path w="3264534" h="4239895" extrusionOk="0">
                  <a:moveTo>
                    <a:pt x="1276976" y="1443296"/>
                  </a:moveTo>
                  <a:lnTo>
                    <a:pt x="1253919" y="1445202"/>
                  </a:lnTo>
                  <a:lnTo>
                    <a:pt x="1254814" y="1456558"/>
                  </a:lnTo>
                  <a:lnTo>
                    <a:pt x="1255609" y="1467950"/>
                  </a:lnTo>
                  <a:lnTo>
                    <a:pt x="1256300" y="1479381"/>
                  </a:lnTo>
                  <a:lnTo>
                    <a:pt x="1256883" y="1490855"/>
                  </a:lnTo>
                  <a:lnTo>
                    <a:pt x="1280002" y="1489776"/>
                  </a:lnTo>
                  <a:lnTo>
                    <a:pt x="1279406" y="1478096"/>
                  </a:lnTo>
                  <a:lnTo>
                    <a:pt x="1278709" y="1466457"/>
                  </a:lnTo>
                  <a:lnTo>
                    <a:pt x="1277903" y="1454858"/>
                  </a:lnTo>
                  <a:lnTo>
                    <a:pt x="1276976" y="1443296"/>
                  </a:lnTo>
                  <a:close/>
                </a:path>
                <a:path w="3264534" h="4239895" extrusionOk="0">
                  <a:moveTo>
                    <a:pt x="3264476" y="1384942"/>
                  </a:moveTo>
                  <a:lnTo>
                    <a:pt x="3241325" y="1384942"/>
                  </a:lnTo>
                  <a:lnTo>
                    <a:pt x="3241325" y="1431129"/>
                  </a:lnTo>
                  <a:lnTo>
                    <a:pt x="3264476" y="1431129"/>
                  </a:lnTo>
                  <a:lnTo>
                    <a:pt x="3264476" y="1384942"/>
                  </a:lnTo>
                  <a:close/>
                </a:path>
                <a:path w="3264534" h="4239895" extrusionOk="0">
                  <a:moveTo>
                    <a:pt x="1265804" y="1350765"/>
                  </a:moveTo>
                  <a:lnTo>
                    <a:pt x="1242915" y="1354409"/>
                  </a:lnTo>
                  <a:lnTo>
                    <a:pt x="1244639" y="1365646"/>
                  </a:lnTo>
                  <a:lnTo>
                    <a:pt x="1246276" y="1376943"/>
                  </a:lnTo>
                  <a:lnTo>
                    <a:pt x="1247818" y="1388297"/>
                  </a:lnTo>
                  <a:lnTo>
                    <a:pt x="1249260" y="1399706"/>
                  </a:lnTo>
                  <a:lnTo>
                    <a:pt x="1272223" y="1396941"/>
                  </a:lnTo>
                  <a:lnTo>
                    <a:pt x="1270775" y="1385315"/>
                  </a:lnTo>
                  <a:lnTo>
                    <a:pt x="1269210" y="1373751"/>
                  </a:lnTo>
                  <a:lnTo>
                    <a:pt x="1267546" y="1362238"/>
                  </a:lnTo>
                  <a:lnTo>
                    <a:pt x="1265804" y="1350765"/>
                  </a:lnTo>
                  <a:close/>
                </a:path>
                <a:path w="3264534" h="4239895" extrusionOk="0">
                  <a:moveTo>
                    <a:pt x="3264476" y="1292588"/>
                  </a:moveTo>
                  <a:lnTo>
                    <a:pt x="3241325" y="1292588"/>
                  </a:lnTo>
                  <a:lnTo>
                    <a:pt x="3241325" y="1338786"/>
                  </a:lnTo>
                  <a:lnTo>
                    <a:pt x="3264476" y="1338786"/>
                  </a:lnTo>
                  <a:lnTo>
                    <a:pt x="3264476" y="1292588"/>
                  </a:lnTo>
                  <a:close/>
                </a:path>
                <a:path w="3264534" h="4239895" extrusionOk="0">
                  <a:moveTo>
                    <a:pt x="1247658" y="1259375"/>
                  </a:moveTo>
                  <a:lnTo>
                    <a:pt x="1225125" y="1264778"/>
                  </a:lnTo>
                  <a:lnTo>
                    <a:pt x="1227725" y="1275833"/>
                  </a:lnTo>
                  <a:lnTo>
                    <a:pt x="1230219" y="1286959"/>
                  </a:lnTo>
                  <a:lnTo>
                    <a:pt x="1232611" y="1298154"/>
                  </a:lnTo>
                  <a:lnTo>
                    <a:pt x="1234904" y="1309415"/>
                  </a:lnTo>
                  <a:lnTo>
                    <a:pt x="1257616" y="1304934"/>
                  </a:lnTo>
                  <a:lnTo>
                    <a:pt x="1255285" y="1293443"/>
                  </a:lnTo>
                  <a:lnTo>
                    <a:pt x="1252849" y="1282017"/>
                  </a:lnTo>
                  <a:lnTo>
                    <a:pt x="1250306" y="1270659"/>
                  </a:lnTo>
                  <a:lnTo>
                    <a:pt x="1247658" y="1259375"/>
                  </a:lnTo>
                  <a:close/>
                </a:path>
                <a:path w="3264534" h="4239895" extrusionOk="0">
                  <a:moveTo>
                    <a:pt x="3264476" y="1200288"/>
                  </a:moveTo>
                  <a:lnTo>
                    <a:pt x="3241325" y="1200288"/>
                  </a:lnTo>
                  <a:lnTo>
                    <a:pt x="3241325" y="1246475"/>
                  </a:lnTo>
                  <a:lnTo>
                    <a:pt x="3264476" y="1246475"/>
                  </a:lnTo>
                  <a:lnTo>
                    <a:pt x="3264476" y="1200288"/>
                  </a:lnTo>
                  <a:close/>
                </a:path>
                <a:path w="3264534" h="4239895" extrusionOk="0">
                  <a:moveTo>
                    <a:pt x="1222454" y="1169608"/>
                  </a:moveTo>
                  <a:lnTo>
                    <a:pt x="1200466" y="1176791"/>
                  </a:lnTo>
                  <a:lnTo>
                    <a:pt x="1203916" y="1187609"/>
                  </a:lnTo>
                  <a:lnTo>
                    <a:pt x="1207265" y="1198500"/>
                  </a:lnTo>
                  <a:lnTo>
                    <a:pt x="1210518" y="1209465"/>
                  </a:lnTo>
                  <a:lnTo>
                    <a:pt x="1213680" y="1220507"/>
                  </a:lnTo>
                  <a:lnTo>
                    <a:pt x="1235983" y="1214277"/>
                  </a:lnTo>
                  <a:lnTo>
                    <a:pt x="1232757" y="1202983"/>
                  </a:lnTo>
                  <a:lnTo>
                    <a:pt x="1229435" y="1191777"/>
                  </a:lnTo>
                  <a:lnTo>
                    <a:pt x="1226004" y="1180654"/>
                  </a:lnTo>
                  <a:lnTo>
                    <a:pt x="1222454" y="1169608"/>
                  </a:lnTo>
                  <a:close/>
                </a:path>
                <a:path w="3264534" h="4239895" extrusionOk="0">
                  <a:moveTo>
                    <a:pt x="3264476" y="1107976"/>
                  </a:moveTo>
                  <a:lnTo>
                    <a:pt x="3241325" y="1107976"/>
                  </a:lnTo>
                  <a:lnTo>
                    <a:pt x="3241325" y="1154153"/>
                  </a:lnTo>
                  <a:lnTo>
                    <a:pt x="3264476" y="1154153"/>
                  </a:lnTo>
                  <a:lnTo>
                    <a:pt x="3264476" y="1107976"/>
                  </a:lnTo>
                  <a:close/>
                </a:path>
                <a:path w="3264534" h="4239895" extrusionOk="0">
                  <a:moveTo>
                    <a:pt x="1189984" y="1082176"/>
                  </a:moveTo>
                  <a:lnTo>
                    <a:pt x="1168624" y="1091181"/>
                  </a:lnTo>
                  <a:lnTo>
                    <a:pt x="1172963" y="1101644"/>
                  </a:lnTo>
                  <a:lnTo>
                    <a:pt x="1177232" y="1112205"/>
                  </a:lnTo>
                  <a:lnTo>
                    <a:pt x="1181409" y="1122858"/>
                  </a:lnTo>
                  <a:lnTo>
                    <a:pt x="1185471" y="1133598"/>
                  </a:lnTo>
                  <a:lnTo>
                    <a:pt x="1207177" y="1125557"/>
                  </a:lnTo>
                  <a:lnTo>
                    <a:pt x="1203030" y="1114567"/>
                  </a:lnTo>
                  <a:lnTo>
                    <a:pt x="1198777" y="1103670"/>
                  </a:lnTo>
                  <a:lnTo>
                    <a:pt x="1194426" y="1092871"/>
                  </a:lnTo>
                  <a:lnTo>
                    <a:pt x="1189984" y="1082176"/>
                  </a:lnTo>
                  <a:close/>
                </a:path>
                <a:path w="3264534" h="4239895" extrusionOk="0">
                  <a:moveTo>
                    <a:pt x="3264476" y="1015623"/>
                  </a:moveTo>
                  <a:lnTo>
                    <a:pt x="3241325" y="1015623"/>
                  </a:lnTo>
                  <a:lnTo>
                    <a:pt x="3241325" y="1061800"/>
                  </a:lnTo>
                  <a:lnTo>
                    <a:pt x="3264476" y="1061800"/>
                  </a:lnTo>
                  <a:lnTo>
                    <a:pt x="3264476" y="1015623"/>
                  </a:lnTo>
                  <a:close/>
                </a:path>
                <a:path w="3264534" h="4239895" extrusionOk="0">
                  <a:moveTo>
                    <a:pt x="1149839" y="997854"/>
                  </a:moveTo>
                  <a:lnTo>
                    <a:pt x="1129421" y="1008786"/>
                  </a:lnTo>
                  <a:lnTo>
                    <a:pt x="1134718" y="1018807"/>
                  </a:lnTo>
                  <a:lnTo>
                    <a:pt x="1139929" y="1028982"/>
                  </a:lnTo>
                  <a:lnTo>
                    <a:pt x="1144976" y="1039152"/>
                  </a:lnTo>
                  <a:lnTo>
                    <a:pt x="1149944" y="1049486"/>
                  </a:lnTo>
                  <a:lnTo>
                    <a:pt x="1170896" y="1039591"/>
                  </a:lnTo>
                  <a:lnTo>
                    <a:pt x="1165775" y="1028928"/>
                  </a:lnTo>
                  <a:lnTo>
                    <a:pt x="1160591" y="1018487"/>
                  </a:lnTo>
                  <a:lnTo>
                    <a:pt x="1155268" y="1008110"/>
                  </a:lnTo>
                  <a:lnTo>
                    <a:pt x="1149839" y="997854"/>
                  </a:lnTo>
                  <a:close/>
                </a:path>
                <a:path w="3264534" h="4239895" extrusionOk="0">
                  <a:moveTo>
                    <a:pt x="3264476" y="923312"/>
                  </a:moveTo>
                  <a:lnTo>
                    <a:pt x="3241325" y="923312"/>
                  </a:lnTo>
                  <a:lnTo>
                    <a:pt x="3241325" y="969488"/>
                  </a:lnTo>
                  <a:lnTo>
                    <a:pt x="3264476" y="969488"/>
                  </a:lnTo>
                  <a:lnTo>
                    <a:pt x="3264476" y="923312"/>
                  </a:lnTo>
                  <a:close/>
                </a:path>
                <a:path w="3264534" h="4239895" extrusionOk="0">
                  <a:moveTo>
                    <a:pt x="1101966" y="917657"/>
                  </a:moveTo>
                  <a:lnTo>
                    <a:pt x="1082689" y="930505"/>
                  </a:lnTo>
                  <a:lnTo>
                    <a:pt x="1088917" y="939976"/>
                  </a:lnTo>
                  <a:lnTo>
                    <a:pt x="1095050" y="949550"/>
                  </a:lnTo>
                  <a:lnTo>
                    <a:pt x="1101089" y="959240"/>
                  </a:lnTo>
                  <a:lnTo>
                    <a:pt x="1107034" y="969059"/>
                  </a:lnTo>
                  <a:lnTo>
                    <a:pt x="1126897" y="957164"/>
                  </a:lnTo>
                  <a:lnTo>
                    <a:pt x="1120811" y="947113"/>
                  </a:lnTo>
                  <a:lnTo>
                    <a:pt x="1114636" y="937175"/>
                  </a:lnTo>
                  <a:lnTo>
                    <a:pt x="1108359" y="927355"/>
                  </a:lnTo>
                  <a:lnTo>
                    <a:pt x="1101966" y="917657"/>
                  </a:lnTo>
                  <a:close/>
                </a:path>
                <a:path w="3264534" h="4239895" extrusionOk="0">
                  <a:moveTo>
                    <a:pt x="1045905" y="842801"/>
                  </a:moveTo>
                  <a:lnTo>
                    <a:pt x="1028136" y="857670"/>
                  </a:lnTo>
                  <a:lnTo>
                    <a:pt x="1035323" y="866377"/>
                  </a:lnTo>
                  <a:lnTo>
                    <a:pt x="1042431" y="875223"/>
                  </a:lnTo>
                  <a:lnTo>
                    <a:pt x="1049457" y="884208"/>
                  </a:lnTo>
                  <a:lnTo>
                    <a:pt x="1056397" y="893334"/>
                  </a:lnTo>
                  <a:lnTo>
                    <a:pt x="1074962" y="879481"/>
                  </a:lnTo>
                  <a:lnTo>
                    <a:pt x="1067825" y="870084"/>
                  </a:lnTo>
                  <a:lnTo>
                    <a:pt x="1060602" y="860838"/>
                  </a:lnTo>
                  <a:lnTo>
                    <a:pt x="1053294" y="851744"/>
                  </a:lnTo>
                  <a:lnTo>
                    <a:pt x="1045905" y="842801"/>
                  </a:lnTo>
                  <a:close/>
                </a:path>
                <a:path w="3264534" h="4239895" extrusionOk="0">
                  <a:moveTo>
                    <a:pt x="3264476" y="830969"/>
                  </a:moveTo>
                  <a:lnTo>
                    <a:pt x="3241325" y="830969"/>
                  </a:lnTo>
                  <a:lnTo>
                    <a:pt x="3241325" y="877135"/>
                  </a:lnTo>
                  <a:lnTo>
                    <a:pt x="3264476" y="877135"/>
                  </a:lnTo>
                  <a:lnTo>
                    <a:pt x="3264476" y="830969"/>
                  </a:lnTo>
                  <a:close/>
                </a:path>
                <a:path w="3264534" h="4239895" extrusionOk="0">
                  <a:moveTo>
                    <a:pt x="981498" y="774814"/>
                  </a:moveTo>
                  <a:lnTo>
                    <a:pt x="965677" y="791703"/>
                  </a:lnTo>
                  <a:lnTo>
                    <a:pt x="973870" y="799479"/>
                  </a:lnTo>
                  <a:lnTo>
                    <a:pt x="981984" y="807411"/>
                  </a:lnTo>
                  <a:lnTo>
                    <a:pt x="990009" y="815494"/>
                  </a:lnTo>
                  <a:lnTo>
                    <a:pt x="997938" y="823723"/>
                  </a:lnTo>
                  <a:lnTo>
                    <a:pt x="1014754" y="807818"/>
                  </a:lnTo>
                  <a:lnTo>
                    <a:pt x="1006570" y="799305"/>
                  </a:lnTo>
                  <a:lnTo>
                    <a:pt x="998295" y="790974"/>
                  </a:lnTo>
                  <a:lnTo>
                    <a:pt x="989935" y="782814"/>
                  </a:lnTo>
                  <a:lnTo>
                    <a:pt x="981498" y="774814"/>
                  </a:lnTo>
                  <a:close/>
                </a:path>
                <a:path w="3264534" h="4239895" extrusionOk="0">
                  <a:moveTo>
                    <a:pt x="3264476" y="738658"/>
                  </a:moveTo>
                  <a:lnTo>
                    <a:pt x="3241325" y="738658"/>
                  </a:lnTo>
                  <a:lnTo>
                    <a:pt x="3241325" y="784824"/>
                  </a:lnTo>
                  <a:lnTo>
                    <a:pt x="3264476" y="784824"/>
                  </a:lnTo>
                  <a:lnTo>
                    <a:pt x="3264476" y="738658"/>
                  </a:lnTo>
                  <a:close/>
                </a:path>
                <a:path w="3264534" h="4239895" extrusionOk="0">
                  <a:moveTo>
                    <a:pt x="908632" y="715695"/>
                  </a:moveTo>
                  <a:lnTo>
                    <a:pt x="895344" y="734658"/>
                  </a:lnTo>
                  <a:lnTo>
                    <a:pt x="904503" y="741217"/>
                  </a:lnTo>
                  <a:lnTo>
                    <a:pt x="913591" y="747970"/>
                  </a:lnTo>
                  <a:lnTo>
                    <a:pt x="922586" y="754894"/>
                  </a:lnTo>
                  <a:lnTo>
                    <a:pt x="931469" y="761966"/>
                  </a:lnTo>
                  <a:lnTo>
                    <a:pt x="946086" y="743998"/>
                  </a:lnTo>
                  <a:lnTo>
                    <a:pt x="936871" y="736651"/>
                  </a:lnTo>
                  <a:lnTo>
                    <a:pt x="927531" y="729469"/>
                  </a:lnTo>
                  <a:lnTo>
                    <a:pt x="918106" y="722476"/>
                  </a:lnTo>
                  <a:lnTo>
                    <a:pt x="908632" y="715695"/>
                  </a:lnTo>
                  <a:close/>
                </a:path>
                <a:path w="3264534" h="4239895" extrusionOk="0">
                  <a:moveTo>
                    <a:pt x="827702" y="667812"/>
                  </a:moveTo>
                  <a:lnTo>
                    <a:pt x="817587" y="688638"/>
                  </a:lnTo>
                  <a:lnTo>
                    <a:pt x="827565" y="693635"/>
                  </a:lnTo>
                  <a:lnTo>
                    <a:pt x="837521" y="698889"/>
                  </a:lnTo>
                  <a:lnTo>
                    <a:pt x="847434" y="704379"/>
                  </a:lnTo>
                  <a:lnTo>
                    <a:pt x="857282" y="710083"/>
                  </a:lnTo>
                  <a:lnTo>
                    <a:pt x="869093" y="690177"/>
                  </a:lnTo>
                  <a:lnTo>
                    <a:pt x="858855" y="684227"/>
                  </a:lnTo>
                  <a:lnTo>
                    <a:pt x="848519" y="678508"/>
                  </a:lnTo>
                  <a:lnTo>
                    <a:pt x="838123" y="673032"/>
                  </a:lnTo>
                  <a:lnTo>
                    <a:pt x="827702" y="667812"/>
                  </a:lnTo>
                  <a:close/>
                </a:path>
                <a:path w="3264534" h="4239895" extrusionOk="0">
                  <a:moveTo>
                    <a:pt x="3264476" y="646283"/>
                  </a:moveTo>
                  <a:lnTo>
                    <a:pt x="3241325" y="646283"/>
                  </a:lnTo>
                  <a:lnTo>
                    <a:pt x="3241325" y="692471"/>
                  </a:lnTo>
                  <a:lnTo>
                    <a:pt x="3264476" y="692471"/>
                  </a:lnTo>
                  <a:lnTo>
                    <a:pt x="3264476" y="646283"/>
                  </a:lnTo>
                  <a:close/>
                </a:path>
                <a:path w="3264534" h="4239895" extrusionOk="0">
                  <a:moveTo>
                    <a:pt x="739820" y="633928"/>
                  </a:moveTo>
                  <a:lnTo>
                    <a:pt x="733443" y="656168"/>
                  </a:lnTo>
                  <a:lnTo>
                    <a:pt x="744113" y="659369"/>
                  </a:lnTo>
                  <a:lnTo>
                    <a:pt x="754809" y="662842"/>
                  </a:lnTo>
                  <a:lnTo>
                    <a:pt x="765505" y="666580"/>
                  </a:lnTo>
                  <a:lnTo>
                    <a:pt x="776175" y="670576"/>
                  </a:lnTo>
                  <a:lnTo>
                    <a:pt x="784552" y="648943"/>
                  </a:lnTo>
                  <a:lnTo>
                    <a:pt x="773392" y="644780"/>
                  </a:lnTo>
                  <a:lnTo>
                    <a:pt x="762186" y="640878"/>
                  </a:lnTo>
                  <a:lnTo>
                    <a:pt x="750979" y="637255"/>
                  </a:lnTo>
                  <a:lnTo>
                    <a:pt x="739820" y="633928"/>
                  </a:lnTo>
                  <a:close/>
                </a:path>
                <a:path w="3264534" h="4239895" extrusionOk="0">
                  <a:moveTo>
                    <a:pt x="647362" y="616232"/>
                  </a:moveTo>
                  <a:lnTo>
                    <a:pt x="645090" y="639268"/>
                  </a:lnTo>
                  <a:lnTo>
                    <a:pt x="656257" y="640496"/>
                  </a:lnTo>
                  <a:lnTo>
                    <a:pt x="667431" y="641971"/>
                  </a:lnTo>
                  <a:lnTo>
                    <a:pt x="678575" y="643699"/>
                  </a:lnTo>
                  <a:lnTo>
                    <a:pt x="689654" y="645687"/>
                  </a:lnTo>
                  <a:lnTo>
                    <a:pt x="693978" y="622923"/>
                  </a:lnTo>
                  <a:lnTo>
                    <a:pt x="682405" y="620848"/>
                  </a:lnTo>
                  <a:lnTo>
                    <a:pt x="670753" y="619040"/>
                  </a:lnTo>
                  <a:lnTo>
                    <a:pt x="659059" y="617500"/>
                  </a:lnTo>
                  <a:lnTo>
                    <a:pt x="647362" y="616232"/>
                  </a:lnTo>
                  <a:close/>
                </a:path>
                <a:path w="3264534" h="4239895" extrusionOk="0">
                  <a:moveTo>
                    <a:pt x="46145" y="613897"/>
                  </a:moveTo>
                  <a:lnTo>
                    <a:pt x="0" y="613897"/>
                  </a:lnTo>
                  <a:lnTo>
                    <a:pt x="0" y="637059"/>
                  </a:lnTo>
                  <a:lnTo>
                    <a:pt x="46145" y="637059"/>
                  </a:lnTo>
                  <a:lnTo>
                    <a:pt x="46145" y="613897"/>
                  </a:lnTo>
                  <a:close/>
                </a:path>
                <a:path w="3264534" h="4239895" extrusionOk="0">
                  <a:moveTo>
                    <a:pt x="138456" y="613897"/>
                  </a:moveTo>
                  <a:lnTo>
                    <a:pt x="92311" y="613897"/>
                  </a:lnTo>
                  <a:lnTo>
                    <a:pt x="92311" y="637059"/>
                  </a:lnTo>
                  <a:lnTo>
                    <a:pt x="138456" y="637059"/>
                  </a:lnTo>
                  <a:lnTo>
                    <a:pt x="138456" y="613897"/>
                  </a:lnTo>
                  <a:close/>
                </a:path>
                <a:path w="3264534" h="4239895" extrusionOk="0">
                  <a:moveTo>
                    <a:pt x="230841" y="613897"/>
                  </a:moveTo>
                  <a:lnTo>
                    <a:pt x="184685" y="613897"/>
                  </a:lnTo>
                  <a:lnTo>
                    <a:pt x="184685" y="637059"/>
                  </a:lnTo>
                  <a:lnTo>
                    <a:pt x="230841" y="637059"/>
                  </a:lnTo>
                  <a:lnTo>
                    <a:pt x="230841" y="613897"/>
                  </a:lnTo>
                  <a:close/>
                </a:path>
                <a:path w="3264534" h="4239895" extrusionOk="0">
                  <a:moveTo>
                    <a:pt x="323152" y="613897"/>
                  </a:moveTo>
                  <a:lnTo>
                    <a:pt x="276986" y="613897"/>
                  </a:lnTo>
                  <a:lnTo>
                    <a:pt x="276986" y="637059"/>
                  </a:lnTo>
                  <a:lnTo>
                    <a:pt x="323152" y="637059"/>
                  </a:lnTo>
                  <a:lnTo>
                    <a:pt x="323152" y="613897"/>
                  </a:lnTo>
                  <a:close/>
                </a:path>
                <a:path w="3264534" h="4239895" extrusionOk="0">
                  <a:moveTo>
                    <a:pt x="415495" y="613897"/>
                  </a:moveTo>
                  <a:lnTo>
                    <a:pt x="369308" y="613897"/>
                  </a:lnTo>
                  <a:lnTo>
                    <a:pt x="369308" y="637059"/>
                  </a:lnTo>
                  <a:lnTo>
                    <a:pt x="415495" y="637059"/>
                  </a:lnTo>
                  <a:lnTo>
                    <a:pt x="415495" y="613897"/>
                  </a:lnTo>
                  <a:close/>
                </a:path>
                <a:path w="3264534" h="4239895" extrusionOk="0">
                  <a:moveTo>
                    <a:pt x="507816" y="613897"/>
                  </a:moveTo>
                  <a:lnTo>
                    <a:pt x="461650" y="613897"/>
                  </a:lnTo>
                  <a:lnTo>
                    <a:pt x="461650" y="637059"/>
                  </a:lnTo>
                  <a:lnTo>
                    <a:pt x="507816" y="637059"/>
                  </a:lnTo>
                  <a:lnTo>
                    <a:pt x="507816" y="613897"/>
                  </a:lnTo>
                  <a:close/>
                </a:path>
                <a:path w="3264534" h="4239895" extrusionOk="0">
                  <a:moveTo>
                    <a:pt x="600138" y="613897"/>
                  </a:moveTo>
                  <a:lnTo>
                    <a:pt x="553993" y="613897"/>
                  </a:lnTo>
                  <a:lnTo>
                    <a:pt x="553993" y="637059"/>
                  </a:lnTo>
                  <a:lnTo>
                    <a:pt x="598861" y="637059"/>
                  </a:lnTo>
                  <a:lnTo>
                    <a:pt x="600138" y="613897"/>
                  </a:lnTo>
                  <a:close/>
                </a:path>
                <a:path w="3264534" h="4239895" extrusionOk="0">
                  <a:moveTo>
                    <a:pt x="3264476" y="553972"/>
                  </a:moveTo>
                  <a:lnTo>
                    <a:pt x="3241325" y="553972"/>
                  </a:lnTo>
                  <a:lnTo>
                    <a:pt x="3241325" y="600159"/>
                  </a:lnTo>
                  <a:lnTo>
                    <a:pt x="3264476" y="600159"/>
                  </a:lnTo>
                  <a:lnTo>
                    <a:pt x="3264476" y="553972"/>
                  </a:lnTo>
                  <a:close/>
                </a:path>
                <a:path w="3264534" h="4239895" extrusionOk="0">
                  <a:moveTo>
                    <a:pt x="3264476" y="461629"/>
                  </a:moveTo>
                  <a:lnTo>
                    <a:pt x="3241325" y="461629"/>
                  </a:lnTo>
                  <a:lnTo>
                    <a:pt x="3241325" y="507848"/>
                  </a:lnTo>
                  <a:lnTo>
                    <a:pt x="3264476" y="507848"/>
                  </a:lnTo>
                  <a:lnTo>
                    <a:pt x="3264476" y="461629"/>
                  </a:lnTo>
                  <a:close/>
                </a:path>
                <a:path w="3264534" h="4239895" extrusionOk="0">
                  <a:moveTo>
                    <a:pt x="3264476" y="369308"/>
                  </a:moveTo>
                  <a:lnTo>
                    <a:pt x="3241325" y="369308"/>
                  </a:lnTo>
                  <a:lnTo>
                    <a:pt x="3241325" y="415495"/>
                  </a:lnTo>
                  <a:lnTo>
                    <a:pt x="3264476" y="415495"/>
                  </a:lnTo>
                  <a:lnTo>
                    <a:pt x="3264476" y="369308"/>
                  </a:lnTo>
                  <a:close/>
                </a:path>
                <a:path w="3264534" h="4239895" extrusionOk="0">
                  <a:moveTo>
                    <a:pt x="3264476" y="277007"/>
                  </a:moveTo>
                  <a:lnTo>
                    <a:pt x="3241325" y="277007"/>
                  </a:lnTo>
                  <a:lnTo>
                    <a:pt x="3241325" y="323152"/>
                  </a:lnTo>
                  <a:lnTo>
                    <a:pt x="3264476" y="323152"/>
                  </a:lnTo>
                  <a:lnTo>
                    <a:pt x="3264476" y="277007"/>
                  </a:lnTo>
                  <a:close/>
                </a:path>
                <a:path w="3264534" h="4239895" extrusionOk="0">
                  <a:moveTo>
                    <a:pt x="3264476" y="184695"/>
                  </a:moveTo>
                  <a:lnTo>
                    <a:pt x="3241325" y="184695"/>
                  </a:lnTo>
                  <a:lnTo>
                    <a:pt x="3241325" y="230841"/>
                  </a:lnTo>
                  <a:lnTo>
                    <a:pt x="3264476" y="230841"/>
                  </a:lnTo>
                  <a:lnTo>
                    <a:pt x="3264476" y="184695"/>
                  </a:lnTo>
                  <a:close/>
                </a:path>
                <a:path w="3264534" h="4239895" extrusionOk="0">
                  <a:moveTo>
                    <a:pt x="3264476" y="92311"/>
                  </a:moveTo>
                  <a:lnTo>
                    <a:pt x="3241325" y="92311"/>
                  </a:lnTo>
                  <a:lnTo>
                    <a:pt x="3241325" y="138487"/>
                  </a:lnTo>
                  <a:lnTo>
                    <a:pt x="3264476" y="138487"/>
                  </a:lnTo>
                  <a:lnTo>
                    <a:pt x="3264476" y="92311"/>
                  </a:lnTo>
                  <a:close/>
                </a:path>
                <a:path w="3264534" h="4239895" extrusionOk="0">
                  <a:moveTo>
                    <a:pt x="3264476" y="0"/>
                  </a:moveTo>
                  <a:lnTo>
                    <a:pt x="3241325" y="0"/>
                  </a:lnTo>
                  <a:lnTo>
                    <a:pt x="3241325" y="46166"/>
                  </a:lnTo>
                  <a:lnTo>
                    <a:pt x="3264476" y="46166"/>
                  </a:lnTo>
                  <a:lnTo>
                    <a:pt x="3264476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1"/>
            <p:cNvSpPr/>
            <p:nvPr/>
          </p:nvSpPr>
          <p:spPr>
            <a:xfrm>
              <a:off x="13031854" y="730917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75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1"/>
            <p:cNvSpPr/>
            <p:nvPr/>
          </p:nvSpPr>
          <p:spPr>
            <a:xfrm>
              <a:off x="16333744" y="2305846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5" h="4309109" extrusionOk="0">
                  <a:moveTo>
                    <a:pt x="885962" y="0"/>
                  </a:moveTo>
                  <a:lnTo>
                    <a:pt x="838980" y="1318"/>
                  </a:lnTo>
                  <a:lnTo>
                    <a:pt x="792628" y="5230"/>
                  </a:lnTo>
                  <a:lnTo>
                    <a:pt x="746968" y="11670"/>
                  </a:lnTo>
                  <a:lnTo>
                    <a:pt x="702062" y="20571"/>
                  </a:lnTo>
                  <a:lnTo>
                    <a:pt x="657972" y="31866"/>
                  </a:lnTo>
                  <a:lnTo>
                    <a:pt x="614758" y="45491"/>
                  </a:lnTo>
                  <a:lnTo>
                    <a:pt x="572484" y="61379"/>
                  </a:lnTo>
                  <a:lnTo>
                    <a:pt x="531211" y="79463"/>
                  </a:lnTo>
                  <a:lnTo>
                    <a:pt x="491000" y="99677"/>
                  </a:lnTo>
                  <a:lnTo>
                    <a:pt x="451912" y="121956"/>
                  </a:lnTo>
                  <a:lnTo>
                    <a:pt x="414011" y="146234"/>
                  </a:lnTo>
                  <a:lnTo>
                    <a:pt x="377357" y="172443"/>
                  </a:lnTo>
                  <a:lnTo>
                    <a:pt x="342012" y="200518"/>
                  </a:lnTo>
                  <a:lnTo>
                    <a:pt x="308038" y="230393"/>
                  </a:lnTo>
                  <a:lnTo>
                    <a:pt x="275496" y="262002"/>
                  </a:lnTo>
                  <a:lnTo>
                    <a:pt x="244449" y="295279"/>
                  </a:lnTo>
                  <a:lnTo>
                    <a:pt x="214958" y="330156"/>
                  </a:lnTo>
                  <a:lnTo>
                    <a:pt x="187084" y="366570"/>
                  </a:lnTo>
                  <a:lnTo>
                    <a:pt x="160889" y="404452"/>
                  </a:lnTo>
                  <a:lnTo>
                    <a:pt x="136436" y="443737"/>
                  </a:lnTo>
                  <a:lnTo>
                    <a:pt x="113785" y="484360"/>
                  </a:lnTo>
                  <a:lnTo>
                    <a:pt x="92999" y="526253"/>
                  </a:lnTo>
                  <a:lnTo>
                    <a:pt x="74139" y="569350"/>
                  </a:lnTo>
                  <a:lnTo>
                    <a:pt x="57266" y="613586"/>
                  </a:lnTo>
                  <a:lnTo>
                    <a:pt x="42443" y="658895"/>
                  </a:lnTo>
                  <a:lnTo>
                    <a:pt x="29731" y="705210"/>
                  </a:lnTo>
                  <a:lnTo>
                    <a:pt x="19192" y="752465"/>
                  </a:lnTo>
                  <a:lnTo>
                    <a:pt x="10888" y="800593"/>
                  </a:lnTo>
                  <a:lnTo>
                    <a:pt x="4880" y="849530"/>
                  </a:lnTo>
                  <a:lnTo>
                    <a:pt x="1230" y="899208"/>
                  </a:lnTo>
                  <a:lnTo>
                    <a:pt x="0" y="949562"/>
                  </a:lnTo>
                  <a:lnTo>
                    <a:pt x="0" y="4308549"/>
                  </a:lnTo>
                  <a:lnTo>
                    <a:pt x="46312" y="4308549"/>
                  </a:lnTo>
                  <a:lnTo>
                    <a:pt x="46312" y="949562"/>
                  </a:lnTo>
                  <a:lnTo>
                    <a:pt x="47557" y="900079"/>
                  </a:lnTo>
                  <a:lnTo>
                    <a:pt x="51249" y="851283"/>
                  </a:lnTo>
                  <a:lnTo>
                    <a:pt x="57322" y="803246"/>
                  </a:lnTo>
                  <a:lnTo>
                    <a:pt x="65713" y="756036"/>
                  </a:lnTo>
                  <a:lnTo>
                    <a:pt x="76358" y="709722"/>
                  </a:lnTo>
                  <a:lnTo>
                    <a:pt x="89191" y="664375"/>
                  </a:lnTo>
                  <a:lnTo>
                    <a:pt x="104148" y="620063"/>
                  </a:lnTo>
                  <a:lnTo>
                    <a:pt x="121164" y="576856"/>
                  </a:lnTo>
                  <a:lnTo>
                    <a:pt x="140175" y="534823"/>
                  </a:lnTo>
                  <a:lnTo>
                    <a:pt x="161117" y="494034"/>
                  </a:lnTo>
                  <a:lnTo>
                    <a:pt x="183925" y="454559"/>
                  </a:lnTo>
                  <a:lnTo>
                    <a:pt x="208534" y="416465"/>
                  </a:lnTo>
                  <a:lnTo>
                    <a:pt x="234879" y="379824"/>
                  </a:lnTo>
                  <a:lnTo>
                    <a:pt x="262897" y="344704"/>
                  </a:lnTo>
                  <a:lnTo>
                    <a:pt x="292523" y="311175"/>
                  </a:lnTo>
                  <a:lnTo>
                    <a:pt x="323692" y="279305"/>
                  </a:lnTo>
                  <a:lnTo>
                    <a:pt x="356340" y="249166"/>
                  </a:lnTo>
                  <a:lnTo>
                    <a:pt x="390402" y="220825"/>
                  </a:lnTo>
                  <a:lnTo>
                    <a:pt x="425814" y="194353"/>
                  </a:lnTo>
                  <a:lnTo>
                    <a:pt x="462511" y="169819"/>
                  </a:lnTo>
                  <a:lnTo>
                    <a:pt x="500428" y="147291"/>
                  </a:lnTo>
                  <a:lnTo>
                    <a:pt x="539501" y="126841"/>
                  </a:lnTo>
                  <a:lnTo>
                    <a:pt x="579666" y="108536"/>
                  </a:lnTo>
                  <a:lnTo>
                    <a:pt x="620858" y="92447"/>
                  </a:lnTo>
                  <a:lnTo>
                    <a:pt x="663012" y="78643"/>
                  </a:lnTo>
                  <a:lnTo>
                    <a:pt x="706064" y="67193"/>
                  </a:lnTo>
                  <a:lnTo>
                    <a:pt x="749950" y="58166"/>
                  </a:lnTo>
                  <a:lnTo>
                    <a:pt x="794605" y="51633"/>
                  </a:lnTo>
                  <a:lnTo>
                    <a:pt x="839963" y="47662"/>
                  </a:lnTo>
                  <a:lnTo>
                    <a:pt x="885962" y="46323"/>
                  </a:lnTo>
                  <a:lnTo>
                    <a:pt x="1159390" y="46323"/>
                  </a:lnTo>
                  <a:lnTo>
                    <a:pt x="1157178" y="45491"/>
                  </a:lnTo>
                  <a:lnTo>
                    <a:pt x="1113963" y="31866"/>
                  </a:lnTo>
                  <a:lnTo>
                    <a:pt x="1069870" y="20571"/>
                  </a:lnTo>
                  <a:lnTo>
                    <a:pt x="1024962" y="11670"/>
                  </a:lnTo>
                  <a:lnTo>
                    <a:pt x="979300" y="5230"/>
                  </a:lnTo>
                  <a:lnTo>
                    <a:pt x="932946" y="1318"/>
                  </a:lnTo>
                  <a:lnTo>
                    <a:pt x="885962" y="0"/>
                  </a:lnTo>
                  <a:close/>
                </a:path>
                <a:path w="2649855" h="4309109" extrusionOk="0">
                  <a:moveTo>
                    <a:pt x="1159390" y="46323"/>
                  </a:moveTo>
                  <a:lnTo>
                    <a:pt x="885962" y="46323"/>
                  </a:lnTo>
                  <a:lnTo>
                    <a:pt x="931967" y="47662"/>
                  </a:lnTo>
                  <a:lnTo>
                    <a:pt x="977331" y="51633"/>
                  </a:lnTo>
                  <a:lnTo>
                    <a:pt x="1021991" y="58166"/>
                  </a:lnTo>
                  <a:lnTo>
                    <a:pt x="1065881" y="67193"/>
                  </a:lnTo>
                  <a:lnTo>
                    <a:pt x="1108938" y="78643"/>
                  </a:lnTo>
                  <a:lnTo>
                    <a:pt x="1151096" y="92447"/>
                  </a:lnTo>
                  <a:lnTo>
                    <a:pt x="1192291" y="108536"/>
                  </a:lnTo>
                  <a:lnTo>
                    <a:pt x="1232459" y="126841"/>
                  </a:lnTo>
                  <a:lnTo>
                    <a:pt x="1271535" y="147291"/>
                  </a:lnTo>
                  <a:lnTo>
                    <a:pt x="1309455" y="169819"/>
                  </a:lnTo>
                  <a:lnTo>
                    <a:pt x="1346154" y="194353"/>
                  </a:lnTo>
                  <a:lnTo>
                    <a:pt x="1381567" y="220825"/>
                  </a:lnTo>
                  <a:lnTo>
                    <a:pt x="1415631" y="249166"/>
                  </a:lnTo>
                  <a:lnTo>
                    <a:pt x="1448280" y="279305"/>
                  </a:lnTo>
                  <a:lnTo>
                    <a:pt x="1479451" y="311175"/>
                  </a:lnTo>
                  <a:lnTo>
                    <a:pt x="1509077" y="344704"/>
                  </a:lnTo>
                  <a:lnTo>
                    <a:pt x="1537096" y="379824"/>
                  </a:lnTo>
                  <a:lnTo>
                    <a:pt x="1563443" y="416465"/>
                  </a:lnTo>
                  <a:lnTo>
                    <a:pt x="1588052" y="454559"/>
                  </a:lnTo>
                  <a:lnTo>
                    <a:pt x="1610860" y="494034"/>
                  </a:lnTo>
                  <a:lnTo>
                    <a:pt x="1631802" y="534823"/>
                  </a:lnTo>
                  <a:lnTo>
                    <a:pt x="1650813" y="576856"/>
                  </a:lnTo>
                  <a:lnTo>
                    <a:pt x="1667830" y="620063"/>
                  </a:lnTo>
                  <a:lnTo>
                    <a:pt x="1682786" y="664375"/>
                  </a:lnTo>
                  <a:lnTo>
                    <a:pt x="1695619" y="709722"/>
                  </a:lnTo>
                  <a:lnTo>
                    <a:pt x="1706263" y="756036"/>
                  </a:lnTo>
                  <a:lnTo>
                    <a:pt x="1714654" y="803246"/>
                  </a:lnTo>
                  <a:lnTo>
                    <a:pt x="1720728" y="851283"/>
                  </a:lnTo>
                  <a:lnTo>
                    <a:pt x="1724419" y="900079"/>
                  </a:lnTo>
                  <a:lnTo>
                    <a:pt x="1725664" y="949562"/>
                  </a:lnTo>
                  <a:lnTo>
                    <a:pt x="1725664" y="1765475"/>
                  </a:lnTo>
                  <a:lnTo>
                    <a:pt x="1727034" y="1811441"/>
                  </a:lnTo>
                  <a:lnTo>
                    <a:pt x="1731095" y="1856768"/>
                  </a:lnTo>
                  <a:lnTo>
                    <a:pt x="1737776" y="1901391"/>
                  </a:lnTo>
                  <a:lnTo>
                    <a:pt x="1747008" y="1945245"/>
                  </a:lnTo>
                  <a:lnTo>
                    <a:pt x="1758718" y="1988267"/>
                  </a:lnTo>
                  <a:lnTo>
                    <a:pt x="1772836" y="2030391"/>
                  </a:lnTo>
                  <a:lnTo>
                    <a:pt x="1789290" y="2071553"/>
                  </a:lnTo>
                  <a:lnTo>
                    <a:pt x="1808011" y="2111689"/>
                  </a:lnTo>
                  <a:lnTo>
                    <a:pt x="1828926" y="2150734"/>
                  </a:lnTo>
                  <a:lnTo>
                    <a:pt x="1851965" y="2188624"/>
                  </a:lnTo>
                  <a:lnTo>
                    <a:pt x="1877057" y="2225294"/>
                  </a:lnTo>
                  <a:lnTo>
                    <a:pt x="1904131" y="2260680"/>
                  </a:lnTo>
                  <a:lnTo>
                    <a:pt x="1933116" y="2294718"/>
                  </a:lnTo>
                  <a:lnTo>
                    <a:pt x="1963940" y="2327342"/>
                  </a:lnTo>
                  <a:lnTo>
                    <a:pt x="1996534" y="2358488"/>
                  </a:lnTo>
                  <a:lnTo>
                    <a:pt x="2030826" y="2388092"/>
                  </a:lnTo>
                  <a:lnTo>
                    <a:pt x="2066745" y="2416090"/>
                  </a:lnTo>
                  <a:lnTo>
                    <a:pt x="2104220" y="2442416"/>
                  </a:lnTo>
                  <a:lnTo>
                    <a:pt x="2143181" y="2467007"/>
                  </a:lnTo>
                  <a:lnTo>
                    <a:pt x="2183555" y="2489798"/>
                  </a:lnTo>
                  <a:lnTo>
                    <a:pt x="2225273" y="2510724"/>
                  </a:lnTo>
                  <a:lnTo>
                    <a:pt x="2268263" y="2529721"/>
                  </a:lnTo>
                  <a:lnTo>
                    <a:pt x="2312454" y="2546725"/>
                  </a:lnTo>
                  <a:lnTo>
                    <a:pt x="2357776" y="2561671"/>
                  </a:lnTo>
                  <a:lnTo>
                    <a:pt x="2404157" y="2574494"/>
                  </a:lnTo>
                  <a:lnTo>
                    <a:pt x="2451526" y="2585130"/>
                  </a:lnTo>
                  <a:lnTo>
                    <a:pt x="2499813" y="2593515"/>
                  </a:lnTo>
                  <a:lnTo>
                    <a:pt x="2548946" y="2599584"/>
                  </a:lnTo>
                  <a:lnTo>
                    <a:pt x="2598855" y="2603273"/>
                  </a:lnTo>
                  <a:lnTo>
                    <a:pt x="2649469" y="2604517"/>
                  </a:lnTo>
                  <a:lnTo>
                    <a:pt x="2649469" y="2558194"/>
                  </a:lnTo>
                  <a:lnTo>
                    <a:pt x="2599748" y="2556937"/>
                  </a:lnTo>
                  <a:lnTo>
                    <a:pt x="2550746" y="2553210"/>
                  </a:lnTo>
                  <a:lnTo>
                    <a:pt x="2502538" y="2547080"/>
                  </a:lnTo>
                  <a:lnTo>
                    <a:pt x="2455196" y="2538616"/>
                  </a:lnTo>
                  <a:lnTo>
                    <a:pt x="2408797" y="2527885"/>
                  </a:lnTo>
                  <a:lnTo>
                    <a:pt x="2363415" y="2514953"/>
                  </a:lnTo>
                  <a:lnTo>
                    <a:pt x="2319124" y="2499889"/>
                  </a:lnTo>
                  <a:lnTo>
                    <a:pt x="2275999" y="2482761"/>
                  </a:lnTo>
                  <a:lnTo>
                    <a:pt x="2234116" y="2463634"/>
                  </a:lnTo>
                  <a:lnTo>
                    <a:pt x="2193547" y="2442577"/>
                  </a:lnTo>
                  <a:lnTo>
                    <a:pt x="2154369" y="2419658"/>
                  </a:lnTo>
                  <a:lnTo>
                    <a:pt x="2116656" y="2394944"/>
                  </a:lnTo>
                  <a:lnTo>
                    <a:pt x="2080482" y="2368501"/>
                  </a:lnTo>
                  <a:lnTo>
                    <a:pt x="2045922" y="2340398"/>
                  </a:lnTo>
                  <a:lnTo>
                    <a:pt x="2013050" y="2310703"/>
                  </a:lnTo>
                  <a:lnTo>
                    <a:pt x="1981942" y="2279482"/>
                  </a:lnTo>
                  <a:lnTo>
                    <a:pt x="1952672" y="2246802"/>
                  </a:lnTo>
                  <a:lnTo>
                    <a:pt x="1925315" y="2212733"/>
                  </a:lnTo>
                  <a:lnTo>
                    <a:pt x="1899945" y="2177340"/>
                  </a:lnTo>
                  <a:lnTo>
                    <a:pt x="1876637" y="2140691"/>
                  </a:lnTo>
                  <a:lnTo>
                    <a:pt x="1855465" y="2102854"/>
                  </a:lnTo>
                  <a:lnTo>
                    <a:pt x="1836505" y="2063896"/>
                  </a:lnTo>
                  <a:lnTo>
                    <a:pt x="1819830" y="2023885"/>
                  </a:lnTo>
                  <a:lnTo>
                    <a:pt x="1805516" y="1982888"/>
                  </a:lnTo>
                  <a:lnTo>
                    <a:pt x="1793637" y="1940973"/>
                  </a:lnTo>
                  <a:lnTo>
                    <a:pt x="1784268" y="1898206"/>
                  </a:lnTo>
                  <a:lnTo>
                    <a:pt x="1777484" y="1854656"/>
                  </a:lnTo>
                  <a:lnTo>
                    <a:pt x="1773358" y="1810390"/>
                  </a:lnTo>
                  <a:lnTo>
                    <a:pt x="1771966" y="1765475"/>
                  </a:lnTo>
                  <a:lnTo>
                    <a:pt x="1771966" y="949562"/>
                  </a:lnTo>
                  <a:lnTo>
                    <a:pt x="1770736" y="899208"/>
                  </a:lnTo>
                  <a:lnTo>
                    <a:pt x="1767086" y="849530"/>
                  </a:lnTo>
                  <a:lnTo>
                    <a:pt x="1761077" y="800593"/>
                  </a:lnTo>
                  <a:lnTo>
                    <a:pt x="1752773" y="752465"/>
                  </a:lnTo>
                  <a:lnTo>
                    <a:pt x="1742233" y="705210"/>
                  </a:lnTo>
                  <a:lnTo>
                    <a:pt x="1729521" y="658895"/>
                  </a:lnTo>
                  <a:lnTo>
                    <a:pt x="1714697" y="613586"/>
                  </a:lnTo>
                  <a:lnTo>
                    <a:pt x="1697824" y="569350"/>
                  </a:lnTo>
                  <a:lnTo>
                    <a:pt x="1678962" y="526253"/>
                  </a:lnTo>
                  <a:lnTo>
                    <a:pt x="1658175" y="484360"/>
                  </a:lnTo>
                  <a:lnTo>
                    <a:pt x="1635523" y="443737"/>
                  </a:lnTo>
                  <a:lnTo>
                    <a:pt x="1611068" y="404452"/>
                  </a:lnTo>
                  <a:lnTo>
                    <a:pt x="1584873" y="366570"/>
                  </a:lnTo>
                  <a:lnTo>
                    <a:pt x="1556997" y="330156"/>
                  </a:lnTo>
                  <a:lnTo>
                    <a:pt x="1527505" y="295279"/>
                  </a:lnTo>
                  <a:lnTo>
                    <a:pt x="1496456" y="262002"/>
                  </a:lnTo>
                  <a:lnTo>
                    <a:pt x="1463913" y="230393"/>
                  </a:lnTo>
                  <a:lnTo>
                    <a:pt x="1429937" y="200518"/>
                  </a:lnTo>
                  <a:lnTo>
                    <a:pt x="1394590" y="172443"/>
                  </a:lnTo>
                  <a:lnTo>
                    <a:pt x="1357935" y="146234"/>
                  </a:lnTo>
                  <a:lnTo>
                    <a:pt x="1320031" y="121956"/>
                  </a:lnTo>
                  <a:lnTo>
                    <a:pt x="1280942" y="99677"/>
                  </a:lnTo>
                  <a:lnTo>
                    <a:pt x="1240729" y="79463"/>
                  </a:lnTo>
                  <a:lnTo>
                    <a:pt x="1199454" y="61379"/>
                  </a:lnTo>
                  <a:lnTo>
                    <a:pt x="1159390" y="46323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1"/>
            <p:cNvSpPr/>
            <p:nvPr/>
          </p:nvSpPr>
          <p:spPr>
            <a:xfrm>
              <a:off x="19054184" y="775159"/>
              <a:ext cx="1045844" cy="4121150"/>
            </a:xfrm>
            <a:custGeom>
              <a:avLst/>
              <a:gdLst/>
              <a:ahLst/>
              <a:cxnLst/>
              <a:rect l="l" t="t" r="r" b="b"/>
              <a:pathLst>
                <a:path w="1045844" h="4121150" extrusionOk="0">
                  <a:moveTo>
                    <a:pt x="45548" y="4092681"/>
                  </a:moveTo>
                  <a:lnTo>
                    <a:pt x="34220" y="4094129"/>
                  </a:lnTo>
                  <a:lnTo>
                    <a:pt x="22852" y="4095428"/>
                  </a:lnTo>
                  <a:lnTo>
                    <a:pt x="11445" y="4096585"/>
                  </a:lnTo>
                  <a:lnTo>
                    <a:pt x="0" y="4097602"/>
                  </a:lnTo>
                  <a:lnTo>
                    <a:pt x="1884" y="4120670"/>
                  </a:lnTo>
                  <a:lnTo>
                    <a:pt x="13643" y="4119646"/>
                  </a:lnTo>
                  <a:lnTo>
                    <a:pt x="25352" y="4118466"/>
                  </a:lnTo>
                  <a:lnTo>
                    <a:pt x="37003" y="4117136"/>
                  </a:lnTo>
                  <a:lnTo>
                    <a:pt x="48584" y="4115665"/>
                  </a:lnTo>
                  <a:lnTo>
                    <a:pt x="45548" y="4092681"/>
                  </a:lnTo>
                  <a:close/>
                </a:path>
                <a:path w="1045844" h="4121150" extrusionOk="0">
                  <a:moveTo>
                    <a:pt x="135283" y="4075729"/>
                  </a:moveTo>
                  <a:lnTo>
                    <a:pt x="124191" y="4078367"/>
                  </a:lnTo>
                  <a:lnTo>
                    <a:pt x="113059" y="4080853"/>
                  </a:lnTo>
                  <a:lnTo>
                    <a:pt x="101888" y="4083196"/>
                  </a:lnTo>
                  <a:lnTo>
                    <a:pt x="90677" y="4085404"/>
                  </a:lnTo>
                  <a:lnTo>
                    <a:pt x="94970" y="4108147"/>
                  </a:lnTo>
                  <a:lnTo>
                    <a:pt x="106495" y="4105886"/>
                  </a:lnTo>
                  <a:lnTo>
                    <a:pt x="117980" y="4103475"/>
                  </a:lnTo>
                  <a:lnTo>
                    <a:pt x="129426" y="4100921"/>
                  </a:lnTo>
                  <a:lnTo>
                    <a:pt x="140833" y="4098231"/>
                  </a:lnTo>
                  <a:lnTo>
                    <a:pt x="135283" y="4075729"/>
                  </a:lnTo>
                  <a:close/>
                </a:path>
                <a:path w="1045844" h="4121150" extrusionOk="0">
                  <a:moveTo>
                    <a:pt x="222715" y="4049374"/>
                  </a:moveTo>
                  <a:lnTo>
                    <a:pt x="211996" y="4053149"/>
                  </a:lnTo>
                  <a:lnTo>
                    <a:pt x="201198" y="4056792"/>
                  </a:lnTo>
                  <a:lnTo>
                    <a:pt x="190321" y="4060302"/>
                  </a:lnTo>
                  <a:lnTo>
                    <a:pt x="179366" y="4063677"/>
                  </a:lnTo>
                  <a:lnTo>
                    <a:pt x="186067" y="4085865"/>
                  </a:lnTo>
                  <a:lnTo>
                    <a:pt x="197276" y="4082394"/>
                  </a:lnTo>
                  <a:lnTo>
                    <a:pt x="208436" y="4078790"/>
                  </a:lnTo>
                  <a:lnTo>
                    <a:pt x="219536" y="4075043"/>
                  </a:lnTo>
                  <a:lnTo>
                    <a:pt x="230568" y="4071143"/>
                  </a:lnTo>
                  <a:lnTo>
                    <a:pt x="222715" y="4049374"/>
                  </a:lnTo>
                  <a:close/>
                </a:path>
                <a:path w="1045844" h="4121150" extrusionOk="0">
                  <a:moveTo>
                    <a:pt x="306796" y="4013972"/>
                  </a:moveTo>
                  <a:lnTo>
                    <a:pt x="296546" y="4018877"/>
                  </a:lnTo>
                  <a:lnTo>
                    <a:pt x="286208" y="4023649"/>
                  </a:lnTo>
                  <a:lnTo>
                    <a:pt x="275772" y="4028284"/>
                  </a:lnTo>
                  <a:lnTo>
                    <a:pt x="265227" y="4032777"/>
                  </a:lnTo>
                  <a:lnTo>
                    <a:pt x="274127" y="4054148"/>
                  </a:lnTo>
                  <a:lnTo>
                    <a:pt x="284986" y="4049523"/>
                  </a:lnTo>
                  <a:lnTo>
                    <a:pt x="295737" y="4044761"/>
                  </a:lnTo>
                  <a:lnTo>
                    <a:pt x="306389" y="4039865"/>
                  </a:lnTo>
                  <a:lnTo>
                    <a:pt x="316953" y="4034840"/>
                  </a:lnTo>
                  <a:lnTo>
                    <a:pt x="306796" y="4013972"/>
                  </a:lnTo>
                  <a:close/>
                </a:path>
                <a:path w="1045844" h="4121150" extrusionOk="0">
                  <a:moveTo>
                    <a:pt x="386899" y="3969983"/>
                  </a:moveTo>
                  <a:lnTo>
                    <a:pt x="377138" y="3975948"/>
                  </a:lnTo>
                  <a:lnTo>
                    <a:pt x="367318" y="3981779"/>
                  </a:lnTo>
                  <a:lnTo>
                    <a:pt x="357420" y="3987476"/>
                  </a:lnTo>
                  <a:lnTo>
                    <a:pt x="347423" y="3993040"/>
                  </a:lnTo>
                  <a:lnTo>
                    <a:pt x="358523" y="4013354"/>
                  </a:lnTo>
                  <a:lnTo>
                    <a:pt x="368771" y="4007630"/>
                  </a:lnTo>
                  <a:lnTo>
                    <a:pt x="378941" y="4001781"/>
                  </a:lnTo>
                  <a:lnTo>
                    <a:pt x="389032" y="3995802"/>
                  </a:lnTo>
                  <a:lnTo>
                    <a:pt x="399045" y="3989690"/>
                  </a:lnTo>
                  <a:lnTo>
                    <a:pt x="386899" y="3969983"/>
                  </a:lnTo>
                  <a:close/>
                </a:path>
                <a:path w="1045844" h="4121150" extrusionOk="0">
                  <a:moveTo>
                    <a:pt x="461975" y="3917943"/>
                  </a:moveTo>
                  <a:lnTo>
                    <a:pt x="452888" y="3924860"/>
                  </a:lnTo>
                  <a:lnTo>
                    <a:pt x="443703" y="3931663"/>
                  </a:lnTo>
                  <a:lnTo>
                    <a:pt x="434440" y="3938351"/>
                  </a:lnTo>
                  <a:lnTo>
                    <a:pt x="425117" y="3944927"/>
                  </a:lnTo>
                  <a:lnTo>
                    <a:pt x="438311" y="3963963"/>
                  </a:lnTo>
                  <a:lnTo>
                    <a:pt x="447913" y="3957217"/>
                  </a:lnTo>
                  <a:lnTo>
                    <a:pt x="457407" y="3950348"/>
                  </a:lnTo>
                  <a:lnTo>
                    <a:pt x="466803" y="3943357"/>
                  </a:lnTo>
                  <a:lnTo>
                    <a:pt x="476111" y="3936246"/>
                  </a:lnTo>
                  <a:lnTo>
                    <a:pt x="461975" y="3917943"/>
                  </a:lnTo>
                  <a:close/>
                </a:path>
                <a:path w="1045844" h="4121150" extrusionOk="0">
                  <a:moveTo>
                    <a:pt x="531502" y="3858427"/>
                  </a:moveTo>
                  <a:lnTo>
                    <a:pt x="523136" y="3866248"/>
                  </a:lnTo>
                  <a:lnTo>
                    <a:pt x="514683" y="3873959"/>
                  </a:lnTo>
                  <a:lnTo>
                    <a:pt x="506131" y="3881558"/>
                  </a:lnTo>
                  <a:lnTo>
                    <a:pt x="497471" y="3889043"/>
                  </a:lnTo>
                  <a:lnTo>
                    <a:pt x="512549" y="3906666"/>
                  </a:lnTo>
                  <a:lnTo>
                    <a:pt x="521443" y="3898982"/>
                  </a:lnTo>
                  <a:lnTo>
                    <a:pt x="530219" y="3891182"/>
                  </a:lnTo>
                  <a:lnTo>
                    <a:pt x="538877" y="3883268"/>
                  </a:lnTo>
                  <a:lnTo>
                    <a:pt x="547417" y="3875243"/>
                  </a:lnTo>
                  <a:lnTo>
                    <a:pt x="531502" y="3858427"/>
                  </a:lnTo>
                  <a:close/>
                </a:path>
                <a:path w="1045844" h="4121150" extrusionOk="0">
                  <a:moveTo>
                    <a:pt x="594641" y="3792146"/>
                  </a:moveTo>
                  <a:lnTo>
                    <a:pt x="587078" y="3800779"/>
                  </a:lnTo>
                  <a:lnTo>
                    <a:pt x="579445" y="3809310"/>
                  </a:lnTo>
                  <a:lnTo>
                    <a:pt x="571715" y="3817743"/>
                  </a:lnTo>
                  <a:lnTo>
                    <a:pt x="563857" y="3826082"/>
                  </a:lnTo>
                  <a:lnTo>
                    <a:pt x="580715" y="3842061"/>
                  </a:lnTo>
                  <a:lnTo>
                    <a:pt x="588700" y="3833516"/>
                  </a:lnTo>
                  <a:lnTo>
                    <a:pt x="596617" y="3824874"/>
                  </a:lnTo>
                  <a:lnTo>
                    <a:pt x="604436" y="3816132"/>
                  </a:lnTo>
                  <a:lnTo>
                    <a:pt x="612127" y="3807287"/>
                  </a:lnTo>
                  <a:lnTo>
                    <a:pt x="594641" y="3792146"/>
                  </a:lnTo>
                  <a:close/>
                </a:path>
                <a:path w="1045844" h="4121150" extrusionOk="0">
                  <a:moveTo>
                    <a:pt x="650870" y="3719918"/>
                  </a:moveTo>
                  <a:lnTo>
                    <a:pt x="644216" y="3729251"/>
                  </a:lnTo>
                  <a:lnTo>
                    <a:pt x="637454" y="3738498"/>
                  </a:lnTo>
                  <a:lnTo>
                    <a:pt x="630594" y="3747659"/>
                  </a:lnTo>
                  <a:lnTo>
                    <a:pt x="623645" y="3756733"/>
                  </a:lnTo>
                  <a:lnTo>
                    <a:pt x="641865" y="3770942"/>
                  </a:lnTo>
                  <a:lnTo>
                    <a:pt x="649031" y="3761648"/>
                  </a:lnTo>
                  <a:lnTo>
                    <a:pt x="656079" y="3752244"/>
                  </a:lnTo>
                  <a:lnTo>
                    <a:pt x="663009" y="3742742"/>
                  </a:lnTo>
                  <a:lnTo>
                    <a:pt x="669822" y="3733153"/>
                  </a:lnTo>
                  <a:lnTo>
                    <a:pt x="650870" y="3719918"/>
                  </a:lnTo>
                  <a:close/>
                </a:path>
                <a:path w="1045844" h="4121150" extrusionOk="0">
                  <a:moveTo>
                    <a:pt x="699559" y="3642349"/>
                  </a:moveTo>
                  <a:lnTo>
                    <a:pt x="693908" y="3652309"/>
                  </a:lnTo>
                  <a:lnTo>
                    <a:pt x="688120" y="3662193"/>
                  </a:lnTo>
                  <a:lnTo>
                    <a:pt x="682214" y="3672000"/>
                  </a:lnTo>
                  <a:lnTo>
                    <a:pt x="676209" y="3681730"/>
                  </a:lnTo>
                  <a:lnTo>
                    <a:pt x="695790" y="3694034"/>
                  </a:lnTo>
                  <a:lnTo>
                    <a:pt x="701951" y="3684072"/>
                  </a:lnTo>
                  <a:lnTo>
                    <a:pt x="708015" y="3674024"/>
                  </a:lnTo>
                  <a:lnTo>
                    <a:pt x="713960" y="3663889"/>
                  </a:lnTo>
                  <a:lnTo>
                    <a:pt x="719768" y="3653668"/>
                  </a:lnTo>
                  <a:lnTo>
                    <a:pt x="699559" y="3642349"/>
                  </a:lnTo>
                  <a:close/>
                </a:path>
                <a:path w="1045844" h="4121150" extrusionOk="0">
                  <a:moveTo>
                    <a:pt x="740396" y="3560279"/>
                  </a:moveTo>
                  <a:lnTo>
                    <a:pt x="735705" y="3570760"/>
                  </a:lnTo>
                  <a:lnTo>
                    <a:pt x="730907" y="3581174"/>
                  </a:lnTo>
                  <a:lnTo>
                    <a:pt x="726010" y="3591520"/>
                  </a:lnTo>
                  <a:lnTo>
                    <a:pt x="721025" y="3601796"/>
                  </a:lnTo>
                  <a:lnTo>
                    <a:pt x="741757" y="3612120"/>
                  </a:lnTo>
                  <a:lnTo>
                    <a:pt x="746883" y="3601593"/>
                  </a:lnTo>
                  <a:lnTo>
                    <a:pt x="751901" y="3590984"/>
                  </a:lnTo>
                  <a:lnTo>
                    <a:pt x="756820" y="3580297"/>
                  </a:lnTo>
                  <a:lnTo>
                    <a:pt x="761652" y="3569535"/>
                  </a:lnTo>
                  <a:lnTo>
                    <a:pt x="740396" y="3560279"/>
                  </a:lnTo>
                  <a:close/>
                </a:path>
                <a:path w="1045844" h="4121150" extrusionOk="0">
                  <a:moveTo>
                    <a:pt x="772856" y="3474606"/>
                  </a:moveTo>
                  <a:lnTo>
                    <a:pt x="769261" y="3485500"/>
                  </a:lnTo>
                  <a:lnTo>
                    <a:pt x="765539" y="3496332"/>
                  </a:lnTo>
                  <a:lnTo>
                    <a:pt x="761680" y="3507099"/>
                  </a:lnTo>
                  <a:lnTo>
                    <a:pt x="757673" y="3517798"/>
                  </a:lnTo>
                  <a:lnTo>
                    <a:pt x="779347" y="3525986"/>
                  </a:lnTo>
                  <a:lnTo>
                    <a:pt x="783433" y="3515034"/>
                  </a:lnTo>
                  <a:lnTo>
                    <a:pt x="787371" y="3504009"/>
                  </a:lnTo>
                  <a:lnTo>
                    <a:pt x="791171" y="3492916"/>
                  </a:lnTo>
                  <a:lnTo>
                    <a:pt x="794844" y="3481757"/>
                  </a:lnTo>
                  <a:lnTo>
                    <a:pt x="772856" y="3474606"/>
                  </a:lnTo>
                  <a:close/>
                </a:path>
                <a:path w="1045844" h="4121150" extrusionOk="0">
                  <a:moveTo>
                    <a:pt x="796624" y="3386315"/>
                  </a:moveTo>
                  <a:lnTo>
                    <a:pt x="794129" y="3397507"/>
                  </a:lnTo>
                  <a:lnTo>
                    <a:pt x="791507" y="3408643"/>
                  </a:lnTo>
                  <a:lnTo>
                    <a:pt x="788747" y="3419730"/>
                  </a:lnTo>
                  <a:lnTo>
                    <a:pt x="785839" y="3430775"/>
                  </a:lnTo>
                  <a:lnTo>
                    <a:pt x="808247" y="3436795"/>
                  </a:lnTo>
                  <a:lnTo>
                    <a:pt x="811189" y="3425492"/>
                  </a:lnTo>
                  <a:lnTo>
                    <a:pt x="814032" y="3414122"/>
                  </a:lnTo>
                  <a:lnTo>
                    <a:pt x="816758" y="3402692"/>
                  </a:lnTo>
                  <a:lnTo>
                    <a:pt x="819346" y="3391205"/>
                  </a:lnTo>
                  <a:lnTo>
                    <a:pt x="796624" y="3386315"/>
                  </a:lnTo>
                  <a:close/>
                </a:path>
                <a:path w="1045844" h="4121150" extrusionOk="0">
                  <a:moveTo>
                    <a:pt x="811703" y="3296056"/>
                  </a:moveTo>
                  <a:lnTo>
                    <a:pt x="810292" y="3307448"/>
                  </a:lnTo>
                  <a:lnTo>
                    <a:pt x="808745" y="3318790"/>
                  </a:lnTo>
                  <a:lnTo>
                    <a:pt x="807079" y="3330086"/>
                  </a:lnTo>
                  <a:lnTo>
                    <a:pt x="805315" y="3341343"/>
                  </a:lnTo>
                  <a:lnTo>
                    <a:pt x="828142" y="3345186"/>
                  </a:lnTo>
                  <a:lnTo>
                    <a:pt x="829968" y="3333633"/>
                  </a:lnTo>
                  <a:lnTo>
                    <a:pt x="831676" y="3322044"/>
                  </a:lnTo>
                  <a:lnTo>
                    <a:pt x="833266" y="3310413"/>
                  </a:lnTo>
                  <a:lnTo>
                    <a:pt x="834738" y="3298737"/>
                  </a:lnTo>
                  <a:lnTo>
                    <a:pt x="811703" y="3296056"/>
                  </a:lnTo>
                  <a:close/>
                </a:path>
                <a:path w="1045844" h="4121150" extrusionOk="0">
                  <a:moveTo>
                    <a:pt x="817880" y="3204761"/>
                  </a:moveTo>
                  <a:lnTo>
                    <a:pt x="817557" y="3216976"/>
                  </a:lnTo>
                  <a:lnTo>
                    <a:pt x="817160" y="3227684"/>
                  </a:lnTo>
                  <a:lnTo>
                    <a:pt x="816599" y="3239093"/>
                  </a:lnTo>
                  <a:lnTo>
                    <a:pt x="815891" y="3250466"/>
                  </a:lnTo>
                  <a:lnTo>
                    <a:pt x="839032" y="3252058"/>
                  </a:lnTo>
                  <a:lnTo>
                    <a:pt x="839740" y="3240406"/>
                  </a:lnTo>
                  <a:lnTo>
                    <a:pt x="840301" y="3228711"/>
                  </a:lnTo>
                  <a:lnTo>
                    <a:pt x="840743" y="3216240"/>
                  </a:lnTo>
                  <a:lnTo>
                    <a:pt x="841021" y="3205200"/>
                  </a:lnTo>
                  <a:lnTo>
                    <a:pt x="817880" y="3204761"/>
                  </a:lnTo>
                  <a:close/>
                </a:path>
                <a:path w="1045844" h="4121150" extrusionOk="0">
                  <a:moveTo>
                    <a:pt x="841251" y="3112292"/>
                  </a:moveTo>
                  <a:lnTo>
                    <a:pt x="818090" y="3112292"/>
                  </a:lnTo>
                  <a:lnTo>
                    <a:pt x="818090" y="3158647"/>
                  </a:lnTo>
                  <a:lnTo>
                    <a:pt x="841251" y="3158647"/>
                  </a:lnTo>
                  <a:lnTo>
                    <a:pt x="841251" y="3112292"/>
                  </a:lnTo>
                  <a:close/>
                </a:path>
                <a:path w="1045844" h="4121150" extrusionOk="0">
                  <a:moveTo>
                    <a:pt x="841251" y="3019593"/>
                  </a:moveTo>
                  <a:lnTo>
                    <a:pt x="818090" y="3019593"/>
                  </a:lnTo>
                  <a:lnTo>
                    <a:pt x="818090" y="3065959"/>
                  </a:lnTo>
                  <a:lnTo>
                    <a:pt x="841251" y="3065959"/>
                  </a:lnTo>
                  <a:lnTo>
                    <a:pt x="841251" y="3019593"/>
                  </a:lnTo>
                  <a:close/>
                </a:path>
                <a:path w="1045844" h="4121150" extrusionOk="0">
                  <a:moveTo>
                    <a:pt x="841251" y="2926926"/>
                  </a:moveTo>
                  <a:lnTo>
                    <a:pt x="818090" y="2926926"/>
                  </a:lnTo>
                  <a:lnTo>
                    <a:pt x="818090" y="2973270"/>
                  </a:lnTo>
                  <a:lnTo>
                    <a:pt x="841251" y="2973270"/>
                  </a:lnTo>
                  <a:lnTo>
                    <a:pt x="841251" y="2926926"/>
                  </a:lnTo>
                  <a:close/>
                </a:path>
                <a:path w="1045844" h="4121150" extrusionOk="0">
                  <a:moveTo>
                    <a:pt x="841251" y="2834248"/>
                  </a:moveTo>
                  <a:lnTo>
                    <a:pt x="818090" y="2834248"/>
                  </a:lnTo>
                  <a:lnTo>
                    <a:pt x="818090" y="2880592"/>
                  </a:lnTo>
                  <a:lnTo>
                    <a:pt x="841251" y="2880592"/>
                  </a:lnTo>
                  <a:lnTo>
                    <a:pt x="841251" y="2834248"/>
                  </a:lnTo>
                  <a:close/>
                </a:path>
                <a:path w="1045844" h="4121150" extrusionOk="0">
                  <a:moveTo>
                    <a:pt x="841251" y="2741550"/>
                  </a:moveTo>
                  <a:lnTo>
                    <a:pt x="818090" y="2741550"/>
                  </a:lnTo>
                  <a:lnTo>
                    <a:pt x="818090" y="2787904"/>
                  </a:lnTo>
                  <a:lnTo>
                    <a:pt x="841251" y="2787904"/>
                  </a:lnTo>
                  <a:lnTo>
                    <a:pt x="841251" y="2741550"/>
                  </a:lnTo>
                  <a:close/>
                </a:path>
                <a:path w="1045844" h="4121150" extrusionOk="0">
                  <a:moveTo>
                    <a:pt x="841251" y="2648861"/>
                  </a:moveTo>
                  <a:lnTo>
                    <a:pt x="818090" y="2648861"/>
                  </a:lnTo>
                  <a:lnTo>
                    <a:pt x="818090" y="2695184"/>
                  </a:lnTo>
                  <a:lnTo>
                    <a:pt x="841251" y="2695184"/>
                  </a:lnTo>
                  <a:lnTo>
                    <a:pt x="841251" y="2648861"/>
                  </a:lnTo>
                  <a:close/>
                </a:path>
                <a:path w="1045844" h="4121150" extrusionOk="0">
                  <a:moveTo>
                    <a:pt x="841251" y="2556173"/>
                  </a:moveTo>
                  <a:lnTo>
                    <a:pt x="818090" y="2556173"/>
                  </a:lnTo>
                  <a:lnTo>
                    <a:pt x="818090" y="2602528"/>
                  </a:lnTo>
                  <a:lnTo>
                    <a:pt x="841251" y="2602528"/>
                  </a:lnTo>
                  <a:lnTo>
                    <a:pt x="841251" y="2556173"/>
                  </a:lnTo>
                  <a:close/>
                </a:path>
                <a:path w="1045844" h="4121150" extrusionOk="0">
                  <a:moveTo>
                    <a:pt x="841251" y="2463485"/>
                  </a:moveTo>
                  <a:lnTo>
                    <a:pt x="818090" y="2463485"/>
                  </a:lnTo>
                  <a:lnTo>
                    <a:pt x="818090" y="2509829"/>
                  </a:lnTo>
                  <a:lnTo>
                    <a:pt x="841251" y="2509829"/>
                  </a:lnTo>
                  <a:lnTo>
                    <a:pt x="841251" y="2463485"/>
                  </a:lnTo>
                  <a:close/>
                </a:path>
                <a:path w="1045844" h="4121150" extrusionOk="0">
                  <a:moveTo>
                    <a:pt x="841251" y="2370796"/>
                  </a:moveTo>
                  <a:lnTo>
                    <a:pt x="818090" y="2370796"/>
                  </a:lnTo>
                  <a:lnTo>
                    <a:pt x="818090" y="2417130"/>
                  </a:lnTo>
                  <a:lnTo>
                    <a:pt x="841251" y="2417130"/>
                  </a:lnTo>
                  <a:lnTo>
                    <a:pt x="841251" y="2370796"/>
                  </a:lnTo>
                  <a:close/>
                </a:path>
                <a:path w="1045844" h="4121150" extrusionOk="0">
                  <a:moveTo>
                    <a:pt x="841251" y="2278087"/>
                  </a:moveTo>
                  <a:lnTo>
                    <a:pt x="818090" y="2278087"/>
                  </a:lnTo>
                  <a:lnTo>
                    <a:pt x="818090" y="2324452"/>
                  </a:lnTo>
                  <a:lnTo>
                    <a:pt x="841251" y="2324452"/>
                  </a:lnTo>
                  <a:lnTo>
                    <a:pt x="841251" y="2278087"/>
                  </a:lnTo>
                  <a:close/>
                </a:path>
                <a:path w="1045844" h="4121150" extrusionOk="0">
                  <a:moveTo>
                    <a:pt x="841251" y="2185451"/>
                  </a:moveTo>
                  <a:lnTo>
                    <a:pt x="818090" y="2185451"/>
                  </a:lnTo>
                  <a:lnTo>
                    <a:pt x="818090" y="2231764"/>
                  </a:lnTo>
                  <a:lnTo>
                    <a:pt x="841251" y="2231764"/>
                  </a:lnTo>
                  <a:lnTo>
                    <a:pt x="841251" y="2185451"/>
                  </a:lnTo>
                  <a:close/>
                </a:path>
                <a:path w="1045844" h="4121150" extrusionOk="0">
                  <a:moveTo>
                    <a:pt x="841251" y="2092753"/>
                  </a:moveTo>
                  <a:lnTo>
                    <a:pt x="818090" y="2092753"/>
                  </a:lnTo>
                  <a:lnTo>
                    <a:pt x="818090" y="2139076"/>
                  </a:lnTo>
                  <a:lnTo>
                    <a:pt x="841251" y="2139076"/>
                  </a:lnTo>
                  <a:lnTo>
                    <a:pt x="841251" y="2092753"/>
                  </a:lnTo>
                  <a:close/>
                </a:path>
                <a:path w="1045844" h="4121150" extrusionOk="0">
                  <a:moveTo>
                    <a:pt x="841251" y="2000033"/>
                  </a:moveTo>
                  <a:lnTo>
                    <a:pt x="818090" y="2000033"/>
                  </a:lnTo>
                  <a:lnTo>
                    <a:pt x="818090" y="2046356"/>
                  </a:lnTo>
                  <a:lnTo>
                    <a:pt x="841251" y="2046356"/>
                  </a:lnTo>
                  <a:lnTo>
                    <a:pt x="841251" y="2000033"/>
                  </a:lnTo>
                  <a:close/>
                </a:path>
                <a:path w="1045844" h="4121150" extrusionOk="0">
                  <a:moveTo>
                    <a:pt x="841251" y="1907355"/>
                  </a:moveTo>
                  <a:lnTo>
                    <a:pt x="818090" y="1907355"/>
                  </a:lnTo>
                  <a:lnTo>
                    <a:pt x="818090" y="1953699"/>
                  </a:lnTo>
                  <a:lnTo>
                    <a:pt x="841251" y="1953699"/>
                  </a:lnTo>
                  <a:lnTo>
                    <a:pt x="841251" y="1907355"/>
                  </a:lnTo>
                  <a:close/>
                </a:path>
                <a:path w="1045844" h="4121150" extrusionOk="0">
                  <a:moveTo>
                    <a:pt x="841251" y="1814667"/>
                  </a:moveTo>
                  <a:lnTo>
                    <a:pt x="818090" y="1814667"/>
                  </a:lnTo>
                  <a:lnTo>
                    <a:pt x="818090" y="1861021"/>
                  </a:lnTo>
                  <a:lnTo>
                    <a:pt x="841251" y="1861021"/>
                  </a:lnTo>
                  <a:lnTo>
                    <a:pt x="841251" y="1814667"/>
                  </a:lnTo>
                  <a:close/>
                </a:path>
                <a:path w="1045844" h="4121150" extrusionOk="0">
                  <a:moveTo>
                    <a:pt x="841251" y="1721968"/>
                  </a:moveTo>
                  <a:lnTo>
                    <a:pt x="818090" y="1721968"/>
                  </a:lnTo>
                  <a:lnTo>
                    <a:pt x="818090" y="1768333"/>
                  </a:lnTo>
                  <a:lnTo>
                    <a:pt x="841251" y="1768333"/>
                  </a:lnTo>
                  <a:lnTo>
                    <a:pt x="841251" y="1721968"/>
                  </a:lnTo>
                  <a:close/>
                </a:path>
                <a:path w="1045844" h="4121150" extrusionOk="0">
                  <a:moveTo>
                    <a:pt x="841251" y="1629290"/>
                  </a:moveTo>
                  <a:lnTo>
                    <a:pt x="818090" y="1629290"/>
                  </a:lnTo>
                  <a:lnTo>
                    <a:pt x="818090" y="1675645"/>
                  </a:lnTo>
                  <a:lnTo>
                    <a:pt x="841251" y="1675645"/>
                  </a:lnTo>
                  <a:lnTo>
                    <a:pt x="841251" y="1629290"/>
                  </a:lnTo>
                  <a:close/>
                </a:path>
                <a:path w="1045844" h="4121150" extrusionOk="0">
                  <a:moveTo>
                    <a:pt x="841251" y="1536633"/>
                  </a:moveTo>
                  <a:lnTo>
                    <a:pt x="818090" y="1536633"/>
                  </a:lnTo>
                  <a:lnTo>
                    <a:pt x="818090" y="1582936"/>
                  </a:lnTo>
                  <a:lnTo>
                    <a:pt x="841251" y="1582936"/>
                  </a:lnTo>
                  <a:lnTo>
                    <a:pt x="841251" y="1536633"/>
                  </a:lnTo>
                  <a:close/>
                </a:path>
                <a:path w="1045844" h="4121150" extrusionOk="0">
                  <a:moveTo>
                    <a:pt x="841251" y="1443924"/>
                  </a:moveTo>
                  <a:lnTo>
                    <a:pt x="818090" y="1443924"/>
                  </a:lnTo>
                  <a:lnTo>
                    <a:pt x="818090" y="1490247"/>
                  </a:lnTo>
                  <a:lnTo>
                    <a:pt x="841251" y="1490247"/>
                  </a:lnTo>
                  <a:lnTo>
                    <a:pt x="841251" y="1443924"/>
                  </a:lnTo>
                  <a:close/>
                </a:path>
                <a:path w="1045844" h="4121150" extrusionOk="0">
                  <a:moveTo>
                    <a:pt x="841251" y="1351246"/>
                  </a:moveTo>
                  <a:lnTo>
                    <a:pt x="818090" y="1351246"/>
                  </a:lnTo>
                  <a:lnTo>
                    <a:pt x="818090" y="1397570"/>
                  </a:lnTo>
                  <a:lnTo>
                    <a:pt x="841251" y="1397570"/>
                  </a:lnTo>
                  <a:lnTo>
                    <a:pt x="841251" y="1351246"/>
                  </a:lnTo>
                  <a:close/>
                </a:path>
                <a:path w="1045844" h="4121150" extrusionOk="0">
                  <a:moveTo>
                    <a:pt x="841251" y="1258537"/>
                  </a:moveTo>
                  <a:lnTo>
                    <a:pt x="818090" y="1258537"/>
                  </a:lnTo>
                  <a:lnTo>
                    <a:pt x="818090" y="1304881"/>
                  </a:lnTo>
                  <a:lnTo>
                    <a:pt x="841251" y="1304881"/>
                  </a:lnTo>
                  <a:lnTo>
                    <a:pt x="841251" y="1258537"/>
                  </a:lnTo>
                  <a:close/>
                </a:path>
                <a:path w="1045844" h="4121150" extrusionOk="0">
                  <a:moveTo>
                    <a:pt x="841251" y="1165859"/>
                  </a:moveTo>
                  <a:lnTo>
                    <a:pt x="818090" y="1165859"/>
                  </a:lnTo>
                  <a:lnTo>
                    <a:pt x="818090" y="1212214"/>
                  </a:lnTo>
                  <a:lnTo>
                    <a:pt x="841251" y="1212214"/>
                  </a:lnTo>
                  <a:lnTo>
                    <a:pt x="841251" y="1165859"/>
                  </a:lnTo>
                  <a:close/>
                </a:path>
                <a:path w="1045844" h="4121150" extrusionOk="0">
                  <a:moveTo>
                    <a:pt x="841251" y="1073181"/>
                  </a:moveTo>
                  <a:lnTo>
                    <a:pt x="818090" y="1073181"/>
                  </a:lnTo>
                  <a:lnTo>
                    <a:pt x="818090" y="1119547"/>
                  </a:lnTo>
                  <a:lnTo>
                    <a:pt x="841251" y="1119547"/>
                  </a:lnTo>
                  <a:lnTo>
                    <a:pt x="841251" y="1073181"/>
                  </a:lnTo>
                  <a:close/>
                </a:path>
                <a:path w="1045844" h="4121150" extrusionOk="0">
                  <a:moveTo>
                    <a:pt x="841251" y="980420"/>
                  </a:moveTo>
                  <a:lnTo>
                    <a:pt x="818090" y="980420"/>
                  </a:lnTo>
                  <a:lnTo>
                    <a:pt x="818090" y="1026775"/>
                  </a:lnTo>
                  <a:lnTo>
                    <a:pt x="841251" y="1026775"/>
                  </a:lnTo>
                  <a:lnTo>
                    <a:pt x="841251" y="980420"/>
                  </a:lnTo>
                  <a:close/>
                </a:path>
                <a:path w="1045844" h="4121150" extrusionOk="0">
                  <a:moveTo>
                    <a:pt x="841251" y="887784"/>
                  </a:moveTo>
                  <a:lnTo>
                    <a:pt x="818090" y="887784"/>
                  </a:lnTo>
                  <a:lnTo>
                    <a:pt x="818090" y="934107"/>
                  </a:lnTo>
                  <a:lnTo>
                    <a:pt x="841251" y="934107"/>
                  </a:lnTo>
                  <a:lnTo>
                    <a:pt x="841251" y="887784"/>
                  </a:lnTo>
                  <a:close/>
                </a:path>
                <a:path w="1045844" h="4121150" extrusionOk="0">
                  <a:moveTo>
                    <a:pt x="841251" y="795106"/>
                  </a:moveTo>
                  <a:lnTo>
                    <a:pt x="818090" y="795106"/>
                  </a:lnTo>
                  <a:lnTo>
                    <a:pt x="818090" y="841440"/>
                  </a:lnTo>
                  <a:lnTo>
                    <a:pt x="841251" y="841440"/>
                  </a:lnTo>
                  <a:lnTo>
                    <a:pt x="841251" y="795106"/>
                  </a:lnTo>
                  <a:close/>
                </a:path>
                <a:path w="1045844" h="4121150" extrusionOk="0">
                  <a:moveTo>
                    <a:pt x="841251" y="702449"/>
                  </a:moveTo>
                  <a:lnTo>
                    <a:pt x="818090" y="702449"/>
                  </a:lnTo>
                  <a:lnTo>
                    <a:pt x="818090" y="748773"/>
                  </a:lnTo>
                  <a:lnTo>
                    <a:pt x="841251" y="748773"/>
                  </a:lnTo>
                  <a:lnTo>
                    <a:pt x="841251" y="702449"/>
                  </a:lnTo>
                  <a:close/>
                </a:path>
                <a:path w="1045844" h="4121150" extrusionOk="0">
                  <a:moveTo>
                    <a:pt x="818090" y="609614"/>
                  </a:moveTo>
                  <a:lnTo>
                    <a:pt x="818090" y="656000"/>
                  </a:lnTo>
                  <a:lnTo>
                    <a:pt x="841230" y="656000"/>
                  </a:lnTo>
                  <a:lnTo>
                    <a:pt x="841230" y="609824"/>
                  </a:lnTo>
                  <a:lnTo>
                    <a:pt x="818090" y="609614"/>
                  </a:lnTo>
                  <a:close/>
                </a:path>
                <a:path w="1045844" h="4121150" extrusionOk="0">
                  <a:moveTo>
                    <a:pt x="823011" y="516109"/>
                  </a:moveTo>
                  <a:lnTo>
                    <a:pt x="821971" y="527691"/>
                  </a:lnTo>
                  <a:lnTo>
                    <a:pt x="821048" y="539342"/>
                  </a:lnTo>
                  <a:lnTo>
                    <a:pt x="820243" y="551051"/>
                  </a:lnTo>
                  <a:lnTo>
                    <a:pt x="819556" y="562810"/>
                  </a:lnTo>
                  <a:lnTo>
                    <a:pt x="842696" y="563961"/>
                  </a:lnTo>
                  <a:lnTo>
                    <a:pt x="843369" y="552514"/>
                  </a:lnTo>
                  <a:lnTo>
                    <a:pt x="844149" y="541096"/>
                  </a:lnTo>
                  <a:lnTo>
                    <a:pt x="845067" y="529697"/>
                  </a:lnTo>
                  <a:lnTo>
                    <a:pt x="846152" y="518308"/>
                  </a:lnTo>
                  <a:lnTo>
                    <a:pt x="823011" y="516109"/>
                  </a:lnTo>
                  <a:close/>
                </a:path>
                <a:path w="1045844" h="4121150" extrusionOk="0">
                  <a:moveTo>
                    <a:pt x="836414" y="423337"/>
                  </a:moveTo>
                  <a:lnTo>
                    <a:pt x="834275" y="434823"/>
                  </a:lnTo>
                  <a:lnTo>
                    <a:pt x="832265" y="446347"/>
                  </a:lnTo>
                  <a:lnTo>
                    <a:pt x="830391" y="457911"/>
                  </a:lnTo>
                  <a:lnTo>
                    <a:pt x="828665" y="469514"/>
                  </a:lnTo>
                  <a:lnTo>
                    <a:pt x="851597" y="472865"/>
                  </a:lnTo>
                  <a:lnTo>
                    <a:pt x="853305" y="461497"/>
                  </a:lnTo>
                  <a:lnTo>
                    <a:pt x="855131" y="450169"/>
                  </a:lnTo>
                  <a:lnTo>
                    <a:pt x="857074" y="438880"/>
                  </a:lnTo>
                  <a:lnTo>
                    <a:pt x="859136" y="427630"/>
                  </a:lnTo>
                  <a:lnTo>
                    <a:pt x="836414" y="423337"/>
                  </a:lnTo>
                  <a:close/>
                </a:path>
                <a:path w="1045844" h="4121150" extrusionOk="0">
                  <a:moveTo>
                    <a:pt x="858089" y="332136"/>
                  </a:moveTo>
                  <a:lnTo>
                    <a:pt x="854928" y="343402"/>
                  </a:lnTo>
                  <a:lnTo>
                    <a:pt x="851885" y="354727"/>
                  </a:lnTo>
                  <a:lnTo>
                    <a:pt x="848959" y="366091"/>
                  </a:lnTo>
                  <a:lnTo>
                    <a:pt x="846152" y="377475"/>
                  </a:lnTo>
                  <a:lnTo>
                    <a:pt x="868664" y="382920"/>
                  </a:lnTo>
                  <a:lnTo>
                    <a:pt x="871439" y="371729"/>
                  </a:lnTo>
                  <a:lnTo>
                    <a:pt x="874292" y="360617"/>
                  </a:lnTo>
                  <a:lnTo>
                    <a:pt x="877263" y="349583"/>
                  </a:lnTo>
                  <a:lnTo>
                    <a:pt x="880392" y="338628"/>
                  </a:lnTo>
                  <a:lnTo>
                    <a:pt x="858089" y="332136"/>
                  </a:lnTo>
                  <a:close/>
                </a:path>
                <a:path w="1045844" h="4121150" extrusionOk="0">
                  <a:moveTo>
                    <a:pt x="888245" y="243448"/>
                  </a:moveTo>
                  <a:lnTo>
                    <a:pt x="884002" y="254324"/>
                  </a:lnTo>
                  <a:lnTo>
                    <a:pt x="879907" y="265279"/>
                  </a:lnTo>
                  <a:lnTo>
                    <a:pt x="875950" y="276313"/>
                  </a:lnTo>
                  <a:lnTo>
                    <a:pt x="872120" y="287425"/>
                  </a:lnTo>
                  <a:lnTo>
                    <a:pt x="894108" y="294964"/>
                  </a:lnTo>
                  <a:lnTo>
                    <a:pt x="897858" y="284088"/>
                  </a:lnTo>
                  <a:lnTo>
                    <a:pt x="901726" y="273290"/>
                  </a:lnTo>
                  <a:lnTo>
                    <a:pt x="905711" y="262570"/>
                  </a:lnTo>
                  <a:lnTo>
                    <a:pt x="909815" y="251929"/>
                  </a:lnTo>
                  <a:lnTo>
                    <a:pt x="888245" y="243448"/>
                  </a:lnTo>
                  <a:close/>
                </a:path>
                <a:path w="1045844" h="4121150" extrusionOk="0">
                  <a:moveTo>
                    <a:pt x="926673" y="157900"/>
                  </a:moveTo>
                  <a:lnTo>
                    <a:pt x="921406" y="168371"/>
                  </a:lnTo>
                  <a:lnTo>
                    <a:pt x="916281" y="178895"/>
                  </a:lnTo>
                  <a:lnTo>
                    <a:pt x="911271" y="189500"/>
                  </a:lnTo>
                  <a:lnTo>
                    <a:pt x="906359" y="200203"/>
                  </a:lnTo>
                  <a:lnTo>
                    <a:pt x="927511" y="209731"/>
                  </a:lnTo>
                  <a:lnTo>
                    <a:pt x="932281" y="199308"/>
                  </a:lnTo>
                  <a:lnTo>
                    <a:pt x="937170" y="188934"/>
                  </a:lnTo>
                  <a:lnTo>
                    <a:pt x="942176" y="178618"/>
                  </a:lnTo>
                  <a:lnTo>
                    <a:pt x="947294" y="168368"/>
                  </a:lnTo>
                  <a:lnTo>
                    <a:pt x="926673" y="157900"/>
                  </a:lnTo>
                  <a:close/>
                </a:path>
                <a:path w="1045844" h="4121150" extrusionOk="0">
                  <a:moveTo>
                    <a:pt x="973164" y="76437"/>
                  </a:moveTo>
                  <a:lnTo>
                    <a:pt x="966924" y="86371"/>
                  </a:lnTo>
                  <a:lnTo>
                    <a:pt x="960782" y="96384"/>
                  </a:lnTo>
                  <a:lnTo>
                    <a:pt x="954758" y="106475"/>
                  </a:lnTo>
                  <a:lnTo>
                    <a:pt x="948871" y="116645"/>
                  </a:lnTo>
                  <a:lnTo>
                    <a:pt x="968975" y="128058"/>
                  </a:lnTo>
                  <a:lnTo>
                    <a:pt x="974749" y="118185"/>
                  </a:lnTo>
                  <a:lnTo>
                    <a:pt x="980611" y="108360"/>
                  </a:lnTo>
                  <a:lnTo>
                    <a:pt x="986571" y="98594"/>
                  </a:lnTo>
                  <a:lnTo>
                    <a:pt x="992639" y="88897"/>
                  </a:lnTo>
                  <a:lnTo>
                    <a:pt x="973164" y="76437"/>
                  </a:lnTo>
                  <a:close/>
                </a:path>
                <a:path w="1045844" h="4121150" extrusionOk="0">
                  <a:moveTo>
                    <a:pt x="1027403" y="0"/>
                  </a:moveTo>
                  <a:lnTo>
                    <a:pt x="1020235" y="9245"/>
                  </a:lnTo>
                  <a:lnTo>
                    <a:pt x="1013175" y="18598"/>
                  </a:lnTo>
                  <a:lnTo>
                    <a:pt x="1006214" y="28050"/>
                  </a:lnTo>
                  <a:lnTo>
                    <a:pt x="999341" y="37590"/>
                  </a:lnTo>
                  <a:lnTo>
                    <a:pt x="1018293" y="50993"/>
                  </a:lnTo>
                  <a:lnTo>
                    <a:pt x="1024949" y="41688"/>
                  </a:lnTo>
                  <a:lnTo>
                    <a:pt x="1031722" y="32472"/>
                  </a:lnTo>
                  <a:lnTo>
                    <a:pt x="1038613" y="23354"/>
                  </a:lnTo>
                  <a:lnTo>
                    <a:pt x="1045622" y="14345"/>
                  </a:lnTo>
                  <a:lnTo>
                    <a:pt x="1027403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1"/>
            <p:cNvSpPr/>
            <p:nvPr/>
          </p:nvSpPr>
          <p:spPr>
            <a:xfrm>
              <a:off x="18983191" y="4875307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22837" y="0"/>
                  </a:moveTo>
                  <a:lnTo>
                    <a:pt x="15245" y="219"/>
                  </a:lnTo>
                  <a:lnTo>
                    <a:pt x="0" y="314"/>
                  </a:lnTo>
                  <a:lnTo>
                    <a:pt x="0" y="23475"/>
                  </a:lnTo>
                  <a:lnTo>
                    <a:pt x="15653" y="23381"/>
                  </a:lnTo>
                  <a:lnTo>
                    <a:pt x="23486" y="23172"/>
                  </a:lnTo>
                  <a:lnTo>
                    <a:pt x="22837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49;p1"/>
            <p:cNvSpPr/>
            <p:nvPr/>
          </p:nvSpPr>
          <p:spPr>
            <a:xfrm>
              <a:off x="2307165" y="7490248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72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150;p1"/>
            <p:cNvSpPr/>
            <p:nvPr/>
          </p:nvSpPr>
          <p:spPr>
            <a:xfrm>
              <a:off x="3392" y="7548147"/>
              <a:ext cx="2327275" cy="4854575"/>
            </a:xfrm>
            <a:custGeom>
              <a:avLst/>
              <a:gdLst/>
              <a:ahLst/>
              <a:cxnLst/>
              <a:rect l="l" t="t" r="r" b="b"/>
              <a:pathLst>
                <a:path w="2327275" h="4854575" extrusionOk="0">
                  <a:moveTo>
                    <a:pt x="2326944" y="0"/>
                  </a:moveTo>
                  <a:lnTo>
                    <a:pt x="2303772" y="0"/>
                  </a:lnTo>
                  <a:lnTo>
                    <a:pt x="2303772" y="46354"/>
                  </a:lnTo>
                  <a:lnTo>
                    <a:pt x="2326944" y="46354"/>
                  </a:lnTo>
                  <a:lnTo>
                    <a:pt x="2326944" y="0"/>
                  </a:lnTo>
                  <a:close/>
                </a:path>
                <a:path w="2327275" h="4854575" extrusionOk="0">
                  <a:moveTo>
                    <a:pt x="2326944" y="92688"/>
                  </a:moveTo>
                  <a:lnTo>
                    <a:pt x="2303772" y="92688"/>
                  </a:lnTo>
                  <a:lnTo>
                    <a:pt x="2303772" y="139042"/>
                  </a:lnTo>
                  <a:lnTo>
                    <a:pt x="2326944" y="139042"/>
                  </a:lnTo>
                  <a:lnTo>
                    <a:pt x="2326944" y="92688"/>
                  </a:lnTo>
                  <a:close/>
                </a:path>
                <a:path w="2327275" h="4854575" extrusionOk="0">
                  <a:moveTo>
                    <a:pt x="2326944" y="185407"/>
                  </a:moveTo>
                  <a:lnTo>
                    <a:pt x="2303772" y="185407"/>
                  </a:lnTo>
                  <a:lnTo>
                    <a:pt x="2303772" y="231731"/>
                  </a:lnTo>
                  <a:lnTo>
                    <a:pt x="2326944" y="231731"/>
                  </a:lnTo>
                  <a:lnTo>
                    <a:pt x="2326944" y="185407"/>
                  </a:lnTo>
                  <a:close/>
                </a:path>
                <a:path w="2327275" h="4854575" extrusionOk="0">
                  <a:moveTo>
                    <a:pt x="2326944" y="278085"/>
                  </a:moveTo>
                  <a:lnTo>
                    <a:pt x="2303772" y="278085"/>
                  </a:lnTo>
                  <a:lnTo>
                    <a:pt x="2303772" y="324419"/>
                  </a:lnTo>
                  <a:lnTo>
                    <a:pt x="2326944" y="324419"/>
                  </a:lnTo>
                  <a:lnTo>
                    <a:pt x="2326944" y="278085"/>
                  </a:lnTo>
                  <a:close/>
                </a:path>
                <a:path w="2327275" h="4854575" extrusionOk="0">
                  <a:moveTo>
                    <a:pt x="2326944" y="370763"/>
                  </a:moveTo>
                  <a:lnTo>
                    <a:pt x="2303772" y="370763"/>
                  </a:lnTo>
                  <a:lnTo>
                    <a:pt x="2303772" y="417097"/>
                  </a:lnTo>
                  <a:lnTo>
                    <a:pt x="2326944" y="417097"/>
                  </a:lnTo>
                  <a:lnTo>
                    <a:pt x="2326944" y="370763"/>
                  </a:lnTo>
                  <a:close/>
                </a:path>
                <a:path w="2327275" h="4854575" extrusionOk="0">
                  <a:moveTo>
                    <a:pt x="6690" y="448677"/>
                  </a:moveTo>
                  <a:lnTo>
                    <a:pt x="0" y="470844"/>
                  </a:lnTo>
                  <a:lnTo>
                    <a:pt x="10910" y="474219"/>
                  </a:lnTo>
                  <a:lnTo>
                    <a:pt x="21765" y="477730"/>
                  </a:lnTo>
                  <a:lnTo>
                    <a:pt x="32566" y="481376"/>
                  </a:lnTo>
                  <a:lnTo>
                    <a:pt x="43318" y="485158"/>
                  </a:lnTo>
                  <a:lnTo>
                    <a:pt x="51160" y="463389"/>
                  </a:lnTo>
                  <a:lnTo>
                    <a:pt x="40133" y="459485"/>
                  </a:lnTo>
                  <a:lnTo>
                    <a:pt x="29043" y="455734"/>
                  </a:lnTo>
                  <a:lnTo>
                    <a:pt x="17894" y="452133"/>
                  </a:lnTo>
                  <a:lnTo>
                    <a:pt x="6690" y="448677"/>
                  </a:lnTo>
                  <a:close/>
                </a:path>
                <a:path w="2327275" h="4854575" extrusionOk="0">
                  <a:moveTo>
                    <a:pt x="2326944" y="463462"/>
                  </a:moveTo>
                  <a:lnTo>
                    <a:pt x="2303772" y="463462"/>
                  </a:lnTo>
                  <a:lnTo>
                    <a:pt x="2303772" y="509785"/>
                  </a:lnTo>
                  <a:lnTo>
                    <a:pt x="2326944" y="509785"/>
                  </a:lnTo>
                  <a:lnTo>
                    <a:pt x="2326944" y="463462"/>
                  </a:lnTo>
                  <a:close/>
                </a:path>
                <a:path w="2327275" h="4854575" extrusionOk="0">
                  <a:moveTo>
                    <a:pt x="94719" y="480383"/>
                  </a:moveTo>
                  <a:lnTo>
                    <a:pt x="85798" y="501743"/>
                  </a:lnTo>
                  <a:lnTo>
                    <a:pt x="96325" y="506252"/>
                  </a:lnTo>
                  <a:lnTo>
                    <a:pt x="106767" y="510888"/>
                  </a:lnTo>
                  <a:lnTo>
                    <a:pt x="117125" y="515657"/>
                  </a:lnTo>
                  <a:lnTo>
                    <a:pt x="127399" y="520560"/>
                  </a:lnTo>
                  <a:lnTo>
                    <a:pt x="137514" y="499702"/>
                  </a:lnTo>
                  <a:lnTo>
                    <a:pt x="126932" y="494664"/>
                  </a:lnTo>
                  <a:lnTo>
                    <a:pt x="116277" y="489763"/>
                  </a:lnTo>
                  <a:lnTo>
                    <a:pt x="105542" y="485002"/>
                  </a:lnTo>
                  <a:lnTo>
                    <a:pt x="94719" y="480383"/>
                  </a:lnTo>
                  <a:close/>
                </a:path>
                <a:path w="2327275" h="4854575" extrusionOk="0">
                  <a:moveTo>
                    <a:pt x="179094" y="521177"/>
                  </a:moveTo>
                  <a:lnTo>
                    <a:pt x="167973" y="541480"/>
                  </a:lnTo>
                  <a:lnTo>
                    <a:pt x="177973" y="547055"/>
                  </a:lnTo>
                  <a:lnTo>
                    <a:pt x="187880" y="552756"/>
                  </a:lnTo>
                  <a:lnTo>
                    <a:pt x="197710" y="558589"/>
                  </a:lnTo>
                  <a:lnTo>
                    <a:pt x="207480" y="564558"/>
                  </a:lnTo>
                  <a:lnTo>
                    <a:pt x="219637" y="544831"/>
                  </a:lnTo>
                  <a:lnTo>
                    <a:pt x="209627" y="538726"/>
                  </a:lnTo>
                  <a:lnTo>
                    <a:pt x="199538" y="532753"/>
                  </a:lnTo>
                  <a:lnTo>
                    <a:pt x="189363" y="526905"/>
                  </a:lnTo>
                  <a:lnTo>
                    <a:pt x="179094" y="521177"/>
                  </a:lnTo>
                  <a:close/>
                </a:path>
                <a:path w="2327275" h="4854575" extrusionOk="0">
                  <a:moveTo>
                    <a:pt x="2326944" y="556171"/>
                  </a:moveTo>
                  <a:lnTo>
                    <a:pt x="2303772" y="556171"/>
                  </a:lnTo>
                  <a:lnTo>
                    <a:pt x="2303772" y="602452"/>
                  </a:lnTo>
                  <a:lnTo>
                    <a:pt x="2326944" y="602452"/>
                  </a:lnTo>
                  <a:lnTo>
                    <a:pt x="2326944" y="556171"/>
                  </a:lnTo>
                  <a:close/>
                </a:path>
                <a:path w="2327275" h="4854575" extrusionOk="0">
                  <a:moveTo>
                    <a:pt x="258861" y="570558"/>
                  </a:moveTo>
                  <a:lnTo>
                    <a:pt x="245709" y="589594"/>
                  </a:lnTo>
                  <a:lnTo>
                    <a:pt x="255049" y="596171"/>
                  </a:lnTo>
                  <a:lnTo>
                    <a:pt x="264312" y="602865"/>
                  </a:lnTo>
                  <a:lnTo>
                    <a:pt x="273490" y="609674"/>
                  </a:lnTo>
                  <a:lnTo>
                    <a:pt x="282577" y="616599"/>
                  </a:lnTo>
                  <a:lnTo>
                    <a:pt x="296734" y="598264"/>
                  </a:lnTo>
                  <a:lnTo>
                    <a:pt x="287416" y="591168"/>
                  </a:lnTo>
                  <a:lnTo>
                    <a:pt x="277998" y="584179"/>
                  </a:lnTo>
                  <a:lnTo>
                    <a:pt x="268479" y="577306"/>
                  </a:lnTo>
                  <a:lnTo>
                    <a:pt x="258861" y="570558"/>
                  </a:lnTo>
                  <a:close/>
                </a:path>
                <a:path w="2327275" h="4854575" extrusionOk="0">
                  <a:moveTo>
                    <a:pt x="333099" y="627855"/>
                  </a:moveTo>
                  <a:lnTo>
                    <a:pt x="318053" y="645488"/>
                  </a:lnTo>
                  <a:lnTo>
                    <a:pt x="326726" y="652974"/>
                  </a:lnTo>
                  <a:lnTo>
                    <a:pt x="335275" y="660572"/>
                  </a:lnTo>
                  <a:lnTo>
                    <a:pt x="343709" y="668283"/>
                  </a:lnTo>
                  <a:lnTo>
                    <a:pt x="352041" y="676105"/>
                  </a:lnTo>
                  <a:lnTo>
                    <a:pt x="367988" y="659299"/>
                  </a:lnTo>
                  <a:lnTo>
                    <a:pt x="359431" y="651268"/>
                  </a:lnTo>
                  <a:lnTo>
                    <a:pt x="350760" y="643353"/>
                  </a:lnTo>
                  <a:lnTo>
                    <a:pt x="341980" y="635549"/>
                  </a:lnTo>
                  <a:lnTo>
                    <a:pt x="333099" y="627855"/>
                  </a:lnTo>
                  <a:close/>
                </a:path>
                <a:path w="2327275" h="4854575" extrusionOk="0">
                  <a:moveTo>
                    <a:pt x="2326944" y="648849"/>
                  </a:moveTo>
                  <a:lnTo>
                    <a:pt x="2303772" y="648849"/>
                  </a:lnTo>
                  <a:lnTo>
                    <a:pt x="2303772" y="695162"/>
                  </a:lnTo>
                  <a:lnTo>
                    <a:pt x="2326944" y="695162"/>
                  </a:lnTo>
                  <a:lnTo>
                    <a:pt x="2326944" y="648849"/>
                  </a:lnTo>
                  <a:close/>
                </a:path>
                <a:path w="2327275" h="4854575" extrusionOk="0">
                  <a:moveTo>
                    <a:pt x="401254" y="692481"/>
                  </a:moveTo>
                  <a:lnTo>
                    <a:pt x="384459" y="708439"/>
                  </a:lnTo>
                  <a:lnTo>
                    <a:pt x="392294" y="716782"/>
                  </a:lnTo>
                  <a:lnTo>
                    <a:pt x="400020" y="725223"/>
                  </a:lnTo>
                  <a:lnTo>
                    <a:pt x="407646" y="733759"/>
                  </a:lnTo>
                  <a:lnTo>
                    <a:pt x="415181" y="742385"/>
                  </a:lnTo>
                  <a:lnTo>
                    <a:pt x="432719" y="727234"/>
                  </a:lnTo>
                  <a:lnTo>
                    <a:pt x="425011" y="718388"/>
                  </a:lnTo>
                  <a:lnTo>
                    <a:pt x="417191" y="709653"/>
                  </a:lnTo>
                  <a:lnTo>
                    <a:pt x="409269" y="701021"/>
                  </a:lnTo>
                  <a:lnTo>
                    <a:pt x="401254" y="692481"/>
                  </a:lnTo>
                  <a:close/>
                </a:path>
                <a:path w="2327275" h="4854575" extrusionOk="0">
                  <a:moveTo>
                    <a:pt x="2326944" y="741527"/>
                  </a:moveTo>
                  <a:lnTo>
                    <a:pt x="2303772" y="741527"/>
                  </a:lnTo>
                  <a:lnTo>
                    <a:pt x="2303772" y="787860"/>
                  </a:lnTo>
                  <a:lnTo>
                    <a:pt x="2326944" y="787860"/>
                  </a:lnTo>
                  <a:lnTo>
                    <a:pt x="2326944" y="741527"/>
                  </a:lnTo>
                  <a:close/>
                </a:path>
                <a:path w="2327275" h="4854575" extrusionOk="0">
                  <a:moveTo>
                    <a:pt x="462457" y="763578"/>
                  </a:moveTo>
                  <a:lnTo>
                    <a:pt x="444195" y="777787"/>
                  </a:lnTo>
                  <a:lnTo>
                    <a:pt x="451164" y="786865"/>
                  </a:lnTo>
                  <a:lnTo>
                    <a:pt x="458024" y="796033"/>
                  </a:lnTo>
                  <a:lnTo>
                    <a:pt x="464767" y="805287"/>
                  </a:lnTo>
                  <a:lnTo>
                    <a:pt x="471388" y="814624"/>
                  </a:lnTo>
                  <a:lnTo>
                    <a:pt x="490372" y="801368"/>
                  </a:lnTo>
                  <a:lnTo>
                    <a:pt x="483562" y="791782"/>
                  </a:lnTo>
                  <a:lnTo>
                    <a:pt x="476646" y="782285"/>
                  </a:lnTo>
                  <a:lnTo>
                    <a:pt x="469615" y="772881"/>
                  </a:lnTo>
                  <a:lnTo>
                    <a:pt x="462457" y="763578"/>
                  </a:lnTo>
                  <a:close/>
                </a:path>
                <a:path w="2327275" h="4854575" extrusionOk="0">
                  <a:moveTo>
                    <a:pt x="2326944" y="834225"/>
                  </a:moveTo>
                  <a:lnTo>
                    <a:pt x="2303772" y="834225"/>
                  </a:lnTo>
                  <a:lnTo>
                    <a:pt x="2303772" y="880528"/>
                  </a:lnTo>
                  <a:lnTo>
                    <a:pt x="2326944" y="880528"/>
                  </a:lnTo>
                  <a:lnTo>
                    <a:pt x="2326944" y="834225"/>
                  </a:lnTo>
                  <a:close/>
                </a:path>
                <a:path w="2327275" h="4854575" extrusionOk="0">
                  <a:moveTo>
                    <a:pt x="516371" y="840497"/>
                  </a:moveTo>
                  <a:lnTo>
                    <a:pt x="496770" y="852811"/>
                  </a:lnTo>
                  <a:lnTo>
                    <a:pt x="502765" y="862532"/>
                  </a:lnTo>
                  <a:lnTo>
                    <a:pt x="508666" y="872341"/>
                  </a:lnTo>
                  <a:lnTo>
                    <a:pt x="514458" y="882230"/>
                  </a:lnTo>
                  <a:lnTo>
                    <a:pt x="520130" y="892192"/>
                  </a:lnTo>
                  <a:lnTo>
                    <a:pt x="540339" y="880863"/>
                  </a:lnTo>
                  <a:lnTo>
                    <a:pt x="534524" y="870648"/>
                  </a:lnTo>
                  <a:lnTo>
                    <a:pt x="528583" y="860515"/>
                  </a:lnTo>
                  <a:lnTo>
                    <a:pt x="522528" y="850465"/>
                  </a:lnTo>
                  <a:lnTo>
                    <a:pt x="516371" y="840497"/>
                  </a:lnTo>
                  <a:close/>
                </a:path>
                <a:path w="2327275" h="4854575" extrusionOk="0">
                  <a:moveTo>
                    <a:pt x="562317" y="922422"/>
                  </a:moveTo>
                  <a:lnTo>
                    <a:pt x="541575" y="932746"/>
                  </a:lnTo>
                  <a:lnTo>
                    <a:pt x="546597" y="943017"/>
                  </a:lnTo>
                  <a:lnTo>
                    <a:pt x="551505" y="953362"/>
                  </a:lnTo>
                  <a:lnTo>
                    <a:pt x="556301" y="963775"/>
                  </a:lnTo>
                  <a:lnTo>
                    <a:pt x="560988" y="974253"/>
                  </a:lnTo>
                  <a:lnTo>
                    <a:pt x="582181" y="964986"/>
                  </a:lnTo>
                  <a:lnTo>
                    <a:pt x="577412" y="954227"/>
                  </a:lnTo>
                  <a:lnTo>
                    <a:pt x="572504" y="943547"/>
                  </a:lnTo>
                  <a:lnTo>
                    <a:pt x="567372" y="932746"/>
                  </a:lnTo>
                  <a:lnTo>
                    <a:pt x="562317" y="922422"/>
                  </a:lnTo>
                  <a:close/>
                </a:path>
                <a:path w="2327275" h="4854575" extrusionOk="0">
                  <a:moveTo>
                    <a:pt x="2326944" y="926893"/>
                  </a:moveTo>
                  <a:lnTo>
                    <a:pt x="2303772" y="926893"/>
                  </a:lnTo>
                  <a:lnTo>
                    <a:pt x="2303772" y="973247"/>
                  </a:lnTo>
                  <a:lnTo>
                    <a:pt x="2326944" y="973247"/>
                  </a:lnTo>
                  <a:lnTo>
                    <a:pt x="2326944" y="926893"/>
                  </a:lnTo>
                  <a:close/>
                </a:path>
                <a:path w="2327275" h="4854575" extrusionOk="0">
                  <a:moveTo>
                    <a:pt x="599918" y="1008534"/>
                  </a:moveTo>
                  <a:lnTo>
                    <a:pt x="578244" y="1016743"/>
                  </a:lnTo>
                  <a:lnTo>
                    <a:pt x="582234" y="1027443"/>
                  </a:lnTo>
                  <a:lnTo>
                    <a:pt x="586086" y="1038207"/>
                  </a:lnTo>
                  <a:lnTo>
                    <a:pt x="589805" y="1049033"/>
                  </a:lnTo>
                  <a:lnTo>
                    <a:pt x="593395" y="1059915"/>
                  </a:lnTo>
                  <a:lnTo>
                    <a:pt x="615457" y="1052774"/>
                  </a:lnTo>
                  <a:lnTo>
                    <a:pt x="611770" y="1041610"/>
                  </a:lnTo>
                  <a:lnTo>
                    <a:pt x="607951" y="1030517"/>
                  </a:lnTo>
                  <a:lnTo>
                    <a:pt x="604000" y="1019492"/>
                  </a:lnTo>
                  <a:lnTo>
                    <a:pt x="599918" y="1008534"/>
                  </a:lnTo>
                  <a:close/>
                </a:path>
                <a:path w="2327275" h="4854575" extrusionOk="0">
                  <a:moveTo>
                    <a:pt x="2326944" y="1019591"/>
                  </a:moveTo>
                  <a:lnTo>
                    <a:pt x="2303772" y="1019591"/>
                  </a:lnTo>
                  <a:lnTo>
                    <a:pt x="2303772" y="1065915"/>
                  </a:lnTo>
                  <a:lnTo>
                    <a:pt x="2326944" y="1065915"/>
                  </a:lnTo>
                  <a:lnTo>
                    <a:pt x="2326944" y="1019591"/>
                  </a:lnTo>
                  <a:close/>
                </a:path>
                <a:path w="2327275" h="4854575" extrusionOk="0">
                  <a:moveTo>
                    <a:pt x="628787" y="1097746"/>
                  </a:moveTo>
                  <a:lnTo>
                    <a:pt x="606379" y="1103767"/>
                  </a:lnTo>
                  <a:lnTo>
                    <a:pt x="609302" y="1114807"/>
                  </a:lnTo>
                  <a:lnTo>
                    <a:pt x="612086" y="1125893"/>
                  </a:lnTo>
                  <a:lnTo>
                    <a:pt x="614728" y="1137029"/>
                  </a:lnTo>
                  <a:lnTo>
                    <a:pt x="617227" y="1148216"/>
                  </a:lnTo>
                  <a:lnTo>
                    <a:pt x="639854" y="1143315"/>
                  </a:lnTo>
                  <a:lnTo>
                    <a:pt x="637290" y="1131832"/>
                  </a:lnTo>
                  <a:lnTo>
                    <a:pt x="634591" y="1120409"/>
                  </a:lnTo>
                  <a:lnTo>
                    <a:pt x="631757" y="1109047"/>
                  </a:lnTo>
                  <a:lnTo>
                    <a:pt x="628787" y="1097746"/>
                  </a:lnTo>
                  <a:close/>
                </a:path>
                <a:path w="2327275" h="4854575" extrusionOk="0">
                  <a:moveTo>
                    <a:pt x="2326944" y="1112280"/>
                  </a:moveTo>
                  <a:lnTo>
                    <a:pt x="2303772" y="1112280"/>
                  </a:lnTo>
                  <a:lnTo>
                    <a:pt x="2303772" y="1158613"/>
                  </a:lnTo>
                  <a:lnTo>
                    <a:pt x="2326944" y="1158613"/>
                  </a:lnTo>
                  <a:lnTo>
                    <a:pt x="2326944" y="1112280"/>
                  </a:lnTo>
                  <a:close/>
                </a:path>
                <a:path w="2327275" h="4854575" extrusionOk="0">
                  <a:moveTo>
                    <a:pt x="648692" y="1189345"/>
                  </a:moveTo>
                  <a:lnTo>
                    <a:pt x="625855" y="1193199"/>
                  </a:lnTo>
                  <a:lnTo>
                    <a:pt x="627656" y="1204444"/>
                  </a:lnTo>
                  <a:lnTo>
                    <a:pt x="629331" y="1215736"/>
                  </a:lnTo>
                  <a:lnTo>
                    <a:pt x="630873" y="1227073"/>
                  </a:lnTo>
                  <a:lnTo>
                    <a:pt x="632273" y="1238454"/>
                  </a:lnTo>
                  <a:lnTo>
                    <a:pt x="655278" y="1235805"/>
                  </a:lnTo>
                  <a:lnTo>
                    <a:pt x="653834" y="1224125"/>
                  </a:lnTo>
                  <a:lnTo>
                    <a:pt x="652260" y="1212489"/>
                  </a:lnTo>
                  <a:lnTo>
                    <a:pt x="650548" y="1200896"/>
                  </a:lnTo>
                  <a:lnTo>
                    <a:pt x="648692" y="1189345"/>
                  </a:lnTo>
                  <a:close/>
                </a:path>
                <a:path w="2327275" h="4854575" extrusionOk="0">
                  <a:moveTo>
                    <a:pt x="2326944" y="1204958"/>
                  </a:moveTo>
                  <a:lnTo>
                    <a:pt x="2303772" y="1204958"/>
                  </a:lnTo>
                  <a:lnTo>
                    <a:pt x="2303772" y="1251281"/>
                  </a:lnTo>
                  <a:lnTo>
                    <a:pt x="2326944" y="1251281"/>
                  </a:lnTo>
                  <a:lnTo>
                    <a:pt x="2326944" y="1204958"/>
                  </a:lnTo>
                  <a:close/>
                </a:path>
                <a:path w="2327275" h="4854575" extrusionOk="0">
                  <a:moveTo>
                    <a:pt x="659582" y="1282484"/>
                  </a:moveTo>
                  <a:lnTo>
                    <a:pt x="636472" y="1284065"/>
                  </a:lnTo>
                  <a:lnTo>
                    <a:pt x="637189" y="1295440"/>
                  </a:lnTo>
                  <a:lnTo>
                    <a:pt x="637765" y="1306852"/>
                  </a:lnTo>
                  <a:lnTo>
                    <a:pt x="638201" y="1318300"/>
                  </a:lnTo>
                  <a:lnTo>
                    <a:pt x="638493" y="1329781"/>
                  </a:lnTo>
                  <a:lnTo>
                    <a:pt x="661655" y="1329331"/>
                  </a:lnTo>
                  <a:lnTo>
                    <a:pt x="661344" y="1317555"/>
                  </a:lnTo>
                  <a:lnTo>
                    <a:pt x="660897" y="1305821"/>
                  </a:lnTo>
                  <a:lnTo>
                    <a:pt x="660310" y="1294130"/>
                  </a:lnTo>
                  <a:lnTo>
                    <a:pt x="659582" y="1282484"/>
                  </a:lnTo>
                  <a:close/>
                </a:path>
                <a:path w="2327275" h="4854575" extrusionOk="0">
                  <a:moveTo>
                    <a:pt x="2326944" y="1297635"/>
                  </a:moveTo>
                  <a:lnTo>
                    <a:pt x="2303772" y="1297635"/>
                  </a:lnTo>
                  <a:lnTo>
                    <a:pt x="2303772" y="1344000"/>
                  </a:lnTo>
                  <a:lnTo>
                    <a:pt x="2326944" y="1344000"/>
                  </a:lnTo>
                  <a:lnTo>
                    <a:pt x="2326944" y="1297635"/>
                  </a:lnTo>
                  <a:close/>
                </a:path>
                <a:path w="2327275" h="4854575" extrusionOk="0">
                  <a:moveTo>
                    <a:pt x="661854" y="1375905"/>
                  </a:moveTo>
                  <a:lnTo>
                    <a:pt x="638671" y="1375905"/>
                  </a:lnTo>
                  <a:lnTo>
                    <a:pt x="638671" y="1422239"/>
                  </a:lnTo>
                  <a:lnTo>
                    <a:pt x="661854" y="1422239"/>
                  </a:lnTo>
                  <a:lnTo>
                    <a:pt x="661854" y="1375905"/>
                  </a:lnTo>
                  <a:close/>
                </a:path>
                <a:path w="2327275" h="4854575" extrusionOk="0">
                  <a:moveTo>
                    <a:pt x="2326944" y="1390334"/>
                  </a:moveTo>
                  <a:lnTo>
                    <a:pt x="2303772" y="1390334"/>
                  </a:lnTo>
                  <a:lnTo>
                    <a:pt x="2303772" y="1436699"/>
                  </a:lnTo>
                  <a:lnTo>
                    <a:pt x="2326944" y="1436699"/>
                  </a:lnTo>
                  <a:lnTo>
                    <a:pt x="2326944" y="1390334"/>
                  </a:lnTo>
                  <a:close/>
                </a:path>
                <a:path w="2327275" h="4854575" extrusionOk="0">
                  <a:moveTo>
                    <a:pt x="661854" y="1468583"/>
                  </a:moveTo>
                  <a:lnTo>
                    <a:pt x="638671" y="1468583"/>
                  </a:lnTo>
                  <a:lnTo>
                    <a:pt x="638671" y="1514917"/>
                  </a:lnTo>
                  <a:lnTo>
                    <a:pt x="661854" y="1514917"/>
                  </a:lnTo>
                  <a:lnTo>
                    <a:pt x="661854" y="1468583"/>
                  </a:lnTo>
                  <a:close/>
                </a:path>
                <a:path w="2327275" h="4854575" extrusionOk="0">
                  <a:moveTo>
                    <a:pt x="2326944" y="1483022"/>
                  </a:moveTo>
                  <a:lnTo>
                    <a:pt x="2303772" y="1483022"/>
                  </a:lnTo>
                  <a:lnTo>
                    <a:pt x="2303772" y="1529377"/>
                  </a:lnTo>
                  <a:lnTo>
                    <a:pt x="2326944" y="1529377"/>
                  </a:lnTo>
                  <a:lnTo>
                    <a:pt x="2326944" y="1483022"/>
                  </a:lnTo>
                  <a:close/>
                </a:path>
                <a:path w="2327275" h="4854575" extrusionOk="0">
                  <a:moveTo>
                    <a:pt x="661854" y="1561261"/>
                  </a:moveTo>
                  <a:lnTo>
                    <a:pt x="638671" y="1561261"/>
                  </a:lnTo>
                  <a:lnTo>
                    <a:pt x="638671" y="1607595"/>
                  </a:lnTo>
                  <a:lnTo>
                    <a:pt x="661854" y="1607595"/>
                  </a:lnTo>
                  <a:lnTo>
                    <a:pt x="661854" y="1561261"/>
                  </a:lnTo>
                  <a:close/>
                </a:path>
                <a:path w="2327275" h="4854575" extrusionOk="0">
                  <a:moveTo>
                    <a:pt x="2326944" y="1575700"/>
                  </a:moveTo>
                  <a:lnTo>
                    <a:pt x="2303772" y="1575700"/>
                  </a:lnTo>
                  <a:lnTo>
                    <a:pt x="2303772" y="1622065"/>
                  </a:lnTo>
                  <a:lnTo>
                    <a:pt x="2326944" y="1622065"/>
                  </a:lnTo>
                  <a:lnTo>
                    <a:pt x="2326944" y="1575700"/>
                  </a:lnTo>
                  <a:close/>
                </a:path>
                <a:path w="2327275" h="4854575" extrusionOk="0">
                  <a:moveTo>
                    <a:pt x="661854" y="1653939"/>
                  </a:moveTo>
                  <a:lnTo>
                    <a:pt x="638671" y="1653939"/>
                  </a:lnTo>
                  <a:lnTo>
                    <a:pt x="638671" y="1700283"/>
                  </a:lnTo>
                  <a:lnTo>
                    <a:pt x="661854" y="1700283"/>
                  </a:lnTo>
                  <a:lnTo>
                    <a:pt x="661854" y="1653939"/>
                  </a:lnTo>
                  <a:close/>
                </a:path>
                <a:path w="2327275" h="4854575" extrusionOk="0">
                  <a:moveTo>
                    <a:pt x="2326944" y="1668368"/>
                  </a:moveTo>
                  <a:lnTo>
                    <a:pt x="2303772" y="1668368"/>
                  </a:lnTo>
                  <a:lnTo>
                    <a:pt x="2303772" y="1714743"/>
                  </a:lnTo>
                  <a:lnTo>
                    <a:pt x="2326944" y="1714743"/>
                  </a:lnTo>
                  <a:lnTo>
                    <a:pt x="2326944" y="1668368"/>
                  </a:lnTo>
                  <a:close/>
                </a:path>
                <a:path w="2327275" h="4854575" extrusionOk="0">
                  <a:moveTo>
                    <a:pt x="661854" y="1746627"/>
                  </a:moveTo>
                  <a:lnTo>
                    <a:pt x="638671" y="1746627"/>
                  </a:lnTo>
                  <a:lnTo>
                    <a:pt x="638671" y="1792992"/>
                  </a:lnTo>
                  <a:lnTo>
                    <a:pt x="661854" y="1792992"/>
                  </a:lnTo>
                  <a:lnTo>
                    <a:pt x="661854" y="1746627"/>
                  </a:lnTo>
                  <a:close/>
                </a:path>
                <a:path w="2327275" h="4854575" extrusionOk="0">
                  <a:moveTo>
                    <a:pt x="2326944" y="1761098"/>
                  </a:moveTo>
                  <a:lnTo>
                    <a:pt x="2303772" y="1761098"/>
                  </a:lnTo>
                  <a:lnTo>
                    <a:pt x="2303772" y="1807442"/>
                  </a:lnTo>
                  <a:lnTo>
                    <a:pt x="2326944" y="1807442"/>
                  </a:lnTo>
                  <a:lnTo>
                    <a:pt x="2326944" y="1761098"/>
                  </a:lnTo>
                  <a:close/>
                </a:path>
                <a:path w="2327275" h="4854575" extrusionOk="0">
                  <a:moveTo>
                    <a:pt x="661854" y="1839326"/>
                  </a:moveTo>
                  <a:lnTo>
                    <a:pt x="638671" y="1839326"/>
                  </a:lnTo>
                  <a:lnTo>
                    <a:pt x="638671" y="1885680"/>
                  </a:lnTo>
                  <a:lnTo>
                    <a:pt x="661854" y="1885680"/>
                  </a:lnTo>
                  <a:lnTo>
                    <a:pt x="661854" y="1839326"/>
                  </a:lnTo>
                  <a:close/>
                </a:path>
                <a:path w="2327275" h="4854575" extrusionOk="0">
                  <a:moveTo>
                    <a:pt x="2326944" y="1853765"/>
                  </a:moveTo>
                  <a:lnTo>
                    <a:pt x="2303772" y="1853765"/>
                  </a:lnTo>
                  <a:lnTo>
                    <a:pt x="2303772" y="1900109"/>
                  </a:lnTo>
                  <a:lnTo>
                    <a:pt x="2326944" y="1900109"/>
                  </a:lnTo>
                  <a:lnTo>
                    <a:pt x="2326944" y="1853765"/>
                  </a:lnTo>
                  <a:close/>
                </a:path>
                <a:path w="2327275" h="4854575" extrusionOk="0">
                  <a:moveTo>
                    <a:pt x="661854" y="1932014"/>
                  </a:moveTo>
                  <a:lnTo>
                    <a:pt x="638671" y="1932014"/>
                  </a:lnTo>
                  <a:lnTo>
                    <a:pt x="638671" y="1978358"/>
                  </a:lnTo>
                  <a:lnTo>
                    <a:pt x="661854" y="1978358"/>
                  </a:lnTo>
                  <a:lnTo>
                    <a:pt x="661854" y="1932014"/>
                  </a:lnTo>
                  <a:close/>
                </a:path>
                <a:path w="2327275" h="4854575" extrusionOk="0">
                  <a:moveTo>
                    <a:pt x="2326944" y="1946443"/>
                  </a:moveTo>
                  <a:lnTo>
                    <a:pt x="2303772" y="1946443"/>
                  </a:lnTo>
                  <a:lnTo>
                    <a:pt x="2303772" y="1992797"/>
                  </a:lnTo>
                  <a:lnTo>
                    <a:pt x="2326944" y="1992797"/>
                  </a:lnTo>
                  <a:lnTo>
                    <a:pt x="2326944" y="1946443"/>
                  </a:lnTo>
                  <a:close/>
                </a:path>
                <a:path w="2327275" h="4854575" extrusionOk="0">
                  <a:moveTo>
                    <a:pt x="661854" y="2024702"/>
                  </a:moveTo>
                  <a:lnTo>
                    <a:pt x="638671" y="2024702"/>
                  </a:lnTo>
                  <a:lnTo>
                    <a:pt x="638671" y="2071057"/>
                  </a:lnTo>
                  <a:lnTo>
                    <a:pt x="661854" y="2071057"/>
                  </a:lnTo>
                  <a:lnTo>
                    <a:pt x="661854" y="2024702"/>
                  </a:lnTo>
                  <a:close/>
                </a:path>
                <a:path w="2327275" h="4854575" extrusionOk="0">
                  <a:moveTo>
                    <a:pt x="2326944" y="2039152"/>
                  </a:moveTo>
                  <a:lnTo>
                    <a:pt x="2303772" y="2039152"/>
                  </a:lnTo>
                  <a:lnTo>
                    <a:pt x="2303772" y="2085486"/>
                  </a:lnTo>
                  <a:lnTo>
                    <a:pt x="2326944" y="2085486"/>
                  </a:lnTo>
                  <a:lnTo>
                    <a:pt x="2326944" y="2039152"/>
                  </a:lnTo>
                  <a:close/>
                </a:path>
                <a:path w="2327275" h="4854575" extrusionOk="0">
                  <a:moveTo>
                    <a:pt x="661854" y="2117411"/>
                  </a:moveTo>
                  <a:lnTo>
                    <a:pt x="638671" y="2117411"/>
                  </a:lnTo>
                  <a:lnTo>
                    <a:pt x="638671" y="2163735"/>
                  </a:lnTo>
                  <a:lnTo>
                    <a:pt x="661854" y="2163735"/>
                  </a:lnTo>
                  <a:lnTo>
                    <a:pt x="661854" y="2117411"/>
                  </a:lnTo>
                  <a:close/>
                </a:path>
                <a:path w="2327275" h="4854575" extrusionOk="0">
                  <a:moveTo>
                    <a:pt x="2326944" y="2131851"/>
                  </a:moveTo>
                  <a:lnTo>
                    <a:pt x="2303772" y="2131851"/>
                  </a:lnTo>
                  <a:lnTo>
                    <a:pt x="2303772" y="2178174"/>
                  </a:lnTo>
                  <a:lnTo>
                    <a:pt x="2326944" y="2178174"/>
                  </a:lnTo>
                  <a:lnTo>
                    <a:pt x="2326944" y="2131851"/>
                  </a:lnTo>
                  <a:close/>
                </a:path>
                <a:path w="2327275" h="4854575" extrusionOk="0">
                  <a:moveTo>
                    <a:pt x="661854" y="2210089"/>
                  </a:moveTo>
                  <a:lnTo>
                    <a:pt x="638671" y="2210089"/>
                  </a:lnTo>
                  <a:lnTo>
                    <a:pt x="638671" y="2256433"/>
                  </a:lnTo>
                  <a:lnTo>
                    <a:pt x="661854" y="2256433"/>
                  </a:lnTo>
                  <a:lnTo>
                    <a:pt x="661854" y="2210089"/>
                  </a:lnTo>
                  <a:close/>
                </a:path>
                <a:path w="2327275" h="4854575" extrusionOk="0">
                  <a:moveTo>
                    <a:pt x="2326944" y="2224529"/>
                  </a:moveTo>
                  <a:lnTo>
                    <a:pt x="2303772" y="2224529"/>
                  </a:lnTo>
                  <a:lnTo>
                    <a:pt x="2303772" y="2270862"/>
                  </a:lnTo>
                  <a:lnTo>
                    <a:pt x="2326944" y="2270862"/>
                  </a:lnTo>
                  <a:lnTo>
                    <a:pt x="2326944" y="2224529"/>
                  </a:lnTo>
                  <a:close/>
                </a:path>
                <a:path w="2327275" h="4854575" extrusionOk="0">
                  <a:moveTo>
                    <a:pt x="661854" y="2302778"/>
                  </a:moveTo>
                  <a:lnTo>
                    <a:pt x="638671" y="2302778"/>
                  </a:lnTo>
                  <a:lnTo>
                    <a:pt x="638671" y="2349101"/>
                  </a:lnTo>
                  <a:lnTo>
                    <a:pt x="661854" y="2349101"/>
                  </a:lnTo>
                  <a:lnTo>
                    <a:pt x="661854" y="2302778"/>
                  </a:lnTo>
                  <a:close/>
                </a:path>
                <a:path w="2327275" h="4854575" extrusionOk="0">
                  <a:moveTo>
                    <a:pt x="2326944" y="2317217"/>
                  </a:moveTo>
                  <a:lnTo>
                    <a:pt x="2303772" y="2317217"/>
                  </a:lnTo>
                  <a:lnTo>
                    <a:pt x="2303772" y="2363540"/>
                  </a:lnTo>
                  <a:lnTo>
                    <a:pt x="2326944" y="2363540"/>
                  </a:lnTo>
                  <a:lnTo>
                    <a:pt x="2326944" y="2317217"/>
                  </a:lnTo>
                  <a:close/>
                </a:path>
                <a:path w="2327275" h="4854575" extrusionOk="0">
                  <a:moveTo>
                    <a:pt x="661854" y="2395455"/>
                  </a:moveTo>
                  <a:lnTo>
                    <a:pt x="638671" y="2395455"/>
                  </a:lnTo>
                  <a:lnTo>
                    <a:pt x="638671" y="2441789"/>
                  </a:lnTo>
                  <a:lnTo>
                    <a:pt x="661854" y="2441789"/>
                  </a:lnTo>
                  <a:lnTo>
                    <a:pt x="661854" y="2395455"/>
                  </a:lnTo>
                  <a:close/>
                </a:path>
                <a:path w="2327275" h="4854575" extrusionOk="0">
                  <a:moveTo>
                    <a:pt x="2326944" y="2409895"/>
                  </a:moveTo>
                  <a:lnTo>
                    <a:pt x="2303772" y="2409895"/>
                  </a:lnTo>
                  <a:lnTo>
                    <a:pt x="2303772" y="2456260"/>
                  </a:lnTo>
                  <a:lnTo>
                    <a:pt x="2326944" y="2456260"/>
                  </a:lnTo>
                  <a:lnTo>
                    <a:pt x="2326944" y="2409895"/>
                  </a:lnTo>
                  <a:close/>
                </a:path>
                <a:path w="2327275" h="4854575" extrusionOk="0">
                  <a:moveTo>
                    <a:pt x="661854" y="2488154"/>
                  </a:moveTo>
                  <a:lnTo>
                    <a:pt x="638671" y="2488154"/>
                  </a:lnTo>
                  <a:lnTo>
                    <a:pt x="638671" y="2534509"/>
                  </a:lnTo>
                  <a:lnTo>
                    <a:pt x="661854" y="2534509"/>
                  </a:lnTo>
                  <a:lnTo>
                    <a:pt x="661854" y="2488154"/>
                  </a:lnTo>
                  <a:close/>
                </a:path>
                <a:path w="2327275" h="4854575" extrusionOk="0">
                  <a:moveTo>
                    <a:pt x="2326944" y="2502583"/>
                  </a:moveTo>
                  <a:lnTo>
                    <a:pt x="2303772" y="2502583"/>
                  </a:lnTo>
                  <a:lnTo>
                    <a:pt x="2303772" y="2548917"/>
                  </a:lnTo>
                  <a:lnTo>
                    <a:pt x="2326944" y="2548917"/>
                  </a:lnTo>
                  <a:lnTo>
                    <a:pt x="2326944" y="2502583"/>
                  </a:lnTo>
                  <a:close/>
                </a:path>
                <a:path w="2327275" h="4854575" extrusionOk="0">
                  <a:moveTo>
                    <a:pt x="661854" y="2580842"/>
                  </a:moveTo>
                  <a:lnTo>
                    <a:pt x="638671" y="2580842"/>
                  </a:lnTo>
                  <a:lnTo>
                    <a:pt x="638671" y="2627187"/>
                  </a:lnTo>
                  <a:lnTo>
                    <a:pt x="661854" y="2627187"/>
                  </a:lnTo>
                  <a:lnTo>
                    <a:pt x="661854" y="2580842"/>
                  </a:lnTo>
                  <a:close/>
                </a:path>
                <a:path w="2327275" h="4854575" extrusionOk="0">
                  <a:moveTo>
                    <a:pt x="2326944" y="2595271"/>
                  </a:moveTo>
                  <a:lnTo>
                    <a:pt x="2303772" y="2595271"/>
                  </a:lnTo>
                  <a:lnTo>
                    <a:pt x="2303772" y="2641615"/>
                  </a:lnTo>
                  <a:lnTo>
                    <a:pt x="2326944" y="2641615"/>
                  </a:lnTo>
                  <a:lnTo>
                    <a:pt x="2326944" y="2595271"/>
                  </a:lnTo>
                  <a:close/>
                </a:path>
                <a:path w="2327275" h="4854575" extrusionOk="0">
                  <a:moveTo>
                    <a:pt x="661854" y="2673531"/>
                  </a:moveTo>
                  <a:lnTo>
                    <a:pt x="638671" y="2673531"/>
                  </a:lnTo>
                  <a:lnTo>
                    <a:pt x="638671" y="2719864"/>
                  </a:lnTo>
                  <a:lnTo>
                    <a:pt x="661854" y="2719864"/>
                  </a:lnTo>
                  <a:lnTo>
                    <a:pt x="661854" y="2673531"/>
                  </a:lnTo>
                  <a:close/>
                </a:path>
                <a:path w="2327275" h="4854575" extrusionOk="0">
                  <a:moveTo>
                    <a:pt x="2326944" y="2687960"/>
                  </a:moveTo>
                  <a:lnTo>
                    <a:pt x="2303772" y="2687960"/>
                  </a:lnTo>
                  <a:lnTo>
                    <a:pt x="2303772" y="2734314"/>
                  </a:lnTo>
                  <a:lnTo>
                    <a:pt x="2326944" y="2734314"/>
                  </a:lnTo>
                  <a:lnTo>
                    <a:pt x="2326944" y="2687960"/>
                  </a:lnTo>
                  <a:close/>
                </a:path>
                <a:path w="2327275" h="4854575" extrusionOk="0">
                  <a:moveTo>
                    <a:pt x="661854" y="2766208"/>
                  </a:moveTo>
                  <a:lnTo>
                    <a:pt x="638671" y="2766208"/>
                  </a:lnTo>
                  <a:lnTo>
                    <a:pt x="638671" y="2812563"/>
                  </a:lnTo>
                  <a:lnTo>
                    <a:pt x="661854" y="2812563"/>
                  </a:lnTo>
                  <a:lnTo>
                    <a:pt x="661854" y="2766208"/>
                  </a:lnTo>
                  <a:close/>
                </a:path>
                <a:path w="2327275" h="4854575" extrusionOk="0">
                  <a:moveTo>
                    <a:pt x="2326944" y="2780679"/>
                  </a:moveTo>
                  <a:lnTo>
                    <a:pt x="2303772" y="2780679"/>
                  </a:lnTo>
                  <a:lnTo>
                    <a:pt x="2303772" y="2826992"/>
                  </a:lnTo>
                  <a:lnTo>
                    <a:pt x="2326944" y="2826992"/>
                  </a:lnTo>
                  <a:lnTo>
                    <a:pt x="2326944" y="2780679"/>
                  </a:lnTo>
                  <a:close/>
                </a:path>
                <a:path w="2327275" h="4854575" extrusionOk="0">
                  <a:moveTo>
                    <a:pt x="661854" y="2858886"/>
                  </a:moveTo>
                  <a:lnTo>
                    <a:pt x="638671" y="2858886"/>
                  </a:lnTo>
                  <a:lnTo>
                    <a:pt x="638671" y="2905251"/>
                  </a:lnTo>
                  <a:lnTo>
                    <a:pt x="661854" y="2905251"/>
                  </a:lnTo>
                  <a:lnTo>
                    <a:pt x="661854" y="2858886"/>
                  </a:lnTo>
                  <a:close/>
                </a:path>
                <a:path w="2327275" h="4854575" extrusionOk="0">
                  <a:moveTo>
                    <a:pt x="2326944" y="2873336"/>
                  </a:moveTo>
                  <a:lnTo>
                    <a:pt x="2303772" y="2873336"/>
                  </a:lnTo>
                  <a:lnTo>
                    <a:pt x="2303772" y="2919680"/>
                  </a:lnTo>
                  <a:lnTo>
                    <a:pt x="2326944" y="2919680"/>
                  </a:lnTo>
                  <a:lnTo>
                    <a:pt x="2326944" y="2873336"/>
                  </a:lnTo>
                  <a:close/>
                </a:path>
                <a:path w="2327275" h="4854575" extrusionOk="0">
                  <a:moveTo>
                    <a:pt x="661854" y="2951585"/>
                  </a:moveTo>
                  <a:lnTo>
                    <a:pt x="638671" y="2951585"/>
                  </a:lnTo>
                  <a:lnTo>
                    <a:pt x="638671" y="2997929"/>
                  </a:lnTo>
                  <a:lnTo>
                    <a:pt x="661854" y="2997929"/>
                  </a:lnTo>
                  <a:lnTo>
                    <a:pt x="661854" y="2951585"/>
                  </a:lnTo>
                  <a:close/>
                </a:path>
                <a:path w="2327275" h="4854575" extrusionOk="0">
                  <a:moveTo>
                    <a:pt x="2326944" y="2966024"/>
                  </a:moveTo>
                  <a:lnTo>
                    <a:pt x="2303772" y="2966024"/>
                  </a:lnTo>
                  <a:lnTo>
                    <a:pt x="2303772" y="3012369"/>
                  </a:lnTo>
                  <a:lnTo>
                    <a:pt x="2326944" y="3012369"/>
                  </a:lnTo>
                  <a:lnTo>
                    <a:pt x="2326944" y="2966024"/>
                  </a:lnTo>
                  <a:close/>
                </a:path>
                <a:path w="2327275" h="4854575" extrusionOk="0">
                  <a:moveTo>
                    <a:pt x="661854" y="3044273"/>
                  </a:moveTo>
                  <a:lnTo>
                    <a:pt x="638671" y="3044273"/>
                  </a:lnTo>
                  <a:lnTo>
                    <a:pt x="638671" y="3090617"/>
                  </a:lnTo>
                  <a:lnTo>
                    <a:pt x="661854" y="3090617"/>
                  </a:lnTo>
                  <a:lnTo>
                    <a:pt x="661854" y="3044273"/>
                  </a:lnTo>
                  <a:close/>
                </a:path>
                <a:path w="2327275" h="4854575" extrusionOk="0">
                  <a:moveTo>
                    <a:pt x="2326944" y="3058713"/>
                  </a:moveTo>
                  <a:lnTo>
                    <a:pt x="2303772" y="3058713"/>
                  </a:lnTo>
                  <a:lnTo>
                    <a:pt x="2303772" y="3105057"/>
                  </a:lnTo>
                  <a:lnTo>
                    <a:pt x="2326944" y="3105057"/>
                  </a:lnTo>
                  <a:lnTo>
                    <a:pt x="2326944" y="3058713"/>
                  </a:lnTo>
                  <a:close/>
                </a:path>
                <a:path w="2327275" h="4854575" extrusionOk="0">
                  <a:moveTo>
                    <a:pt x="661854" y="3136972"/>
                  </a:moveTo>
                  <a:lnTo>
                    <a:pt x="638671" y="3136972"/>
                  </a:lnTo>
                  <a:lnTo>
                    <a:pt x="638671" y="3183306"/>
                  </a:lnTo>
                  <a:lnTo>
                    <a:pt x="661854" y="3183306"/>
                  </a:lnTo>
                  <a:lnTo>
                    <a:pt x="661854" y="3136972"/>
                  </a:lnTo>
                  <a:close/>
                </a:path>
                <a:path w="2327275" h="4854575" extrusionOk="0">
                  <a:moveTo>
                    <a:pt x="2326944" y="3151411"/>
                  </a:moveTo>
                  <a:lnTo>
                    <a:pt x="2303772" y="3151411"/>
                  </a:lnTo>
                  <a:lnTo>
                    <a:pt x="2303772" y="3197745"/>
                  </a:lnTo>
                  <a:lnTo>
                    <a:pt x="2326944" y="3197745"/>
                  </a:lnTo>
                  <a:lnTo>
                    <a:pt x="2326944" y="3151411"/>
                  </a:lnTo>
                  <a:close/>
                </a:path>
                <a:path w="2327275" h="4854575" extrusionOk="0">
                  <a:moveTo>
                    <a:pt x="661854" y="3229660"/>
                  </a:moveTo>
                  <a:lnTo>
                    <a:pt x="638671" y="3229660"/>
                  </a:lnTo>
                  <a:lnTo>
                    <a:pt x="638671" y="3275973"/>
                  </a:lnTo>
                  <a:lnTo>
                    <a:pt x="661854" y="3275973"/>
                  </a:lnTo>
                  <a:lnTo>
                    <a:pt x="661854" y="3229660"/>
                  </a:lnTo>
                  <a:close/>
                </a:path>
                <a:path w="2327275" h="4854575" extrusionOk="0">
                  <a:moveTo>
                    <a:pt x="2326944" y="3244100"/>
                  </a:moveTo>
                  <a:lnTo>
                    <a:pt x="2303772" y="3244100"/>
                  </a:lnTo>
                  <a:lnTo>
                    <a:pt x="2303772" y="3290433"/>
                  </a:lnTo>
                  <a:lnTo>
                    <a:pt x="2326944" y="3290433"/>
                  </a:lnTo>
                  <a:lnTo>
                    <a:pt x="2326944" y="3244100"/>
                  </a:lnTo>
                  <a:close/>
                </a:path>
                <a:path w="2327275" h="4854575" extrusionOk="0">
                  <a:moveTo>
                    <a:pt x="661854" y="3322359"/>
                  </a:moveTo>
                  <a:lnTo>
                    <a:pt x="638671" y="3322359"/>
                  </a:lnTo>
                  <a:lnTo>
                    <a:pt x="638671" y="3368693"/>
                  </a:lnTo>
                  <a:lnTo>
                    <a:pt x="661854" y="3368693"/>
                  </a:lnTo>
                  <a:lnTo>
                    <a:pt x="661854" y="3322359"/>
                  </a:lnTo>
                  <a:close/>
                </a:path>
                <a:path w="2327275" h="4854575" extrusionOk="0">
                  <a:moveTo>
                    <a:pt x="2326944" y="3336798"/>
                  </a:moveTo>
                  <a:lnTo>
                    <a:pt x="2303772" y="3336798"/>
                  </a:lnTo>
                  <a:lnTo>
                    <a:pt x="2303772" y="3383132"/>
                  </a:lnTo>
                  <a:lnTo>
                    <a:pt x="2326944" y="3383132"/>
                  </a:lnTo>
                  <a:lnTo>
                    <a:pt x="2326944" y="3336798"/>
                  </a:lnTo>
                  <a:close/>
                </a:path>
                <a:path w="2327275" h="4854575" extrusionOk="0">
                  <a:moveTo>
                    <a:pt x="661854" y="3415026"/>
                  </a:moveTo>
                  <a:lnTo>
                    <a:pt x="638671" y="3415026"/>
                  </a:lnTo>
                  <a:lnTo>
                    <a:pt x="638671" y="3461360"/>
                  </a:lnTo>
                  <a:lnTo>
                    <a:pt x="661854" y="3461360"/>
                  </a:lnTo>
                  <a:lnTo>
                    <a:pt x="661854" y="3415026"/>
                  </a:lnTo>
                  <a:close/>
                </a:path>
                <a:path w="2327275" h="4854575" extrusionOk="0">
                  <a:moveTo>
                    <a:pt x="2326944" y="3429466"/>
                  </a:moveTo>
                  <a:lnTo>
                    <a:pt x="2303772" y="3429466"/>
                  </a:lnTo>
                  <a:lnTo>
                    <a:pt x="2303772" y="3475820"/>
                  </a:lnTo>
                  <a:lnTo>
                    <a:pt x="2326944" y="3475820"/>
                  </a:lnTo>
                  <a:lnTo>
                    <a:pt x="2326944" y="3429466"/>
                  </a:lnTo>
                  <a:close/>
                </a:path>
                <a:path w="2327275" h="4854575" extrusionOk="0">
                  <a:moveTo>
                    <a:pt x="661854" y="3507715"/>
                  </a:moveTo>
                  <a:lnTo>
                    <a:pt x="638671" y="3507715"/>
                  </a:lnTo>
                  <a:lnTo>
                    <a:pt x="638671" y="3554059"/>
                  </a:lnTo>
                  <a:lnTo>
                    <a:pt x="661854" y="3554059"/>
                  </a:lnTo>
                  <a:lnTo>
                    <a:pt x="661854" y="3507715"/>
                  </a:lnTo>
                  <a:close/>
                </a:path>
                <a:path w="2327275" h="4854575" extrusionOk="0">
                  <a:moveTo>
                    <a:pt x="2326944" y="3522154"/>
                  </a:moveTo>
                  <a:lnTo>
                    <a:pt x="2303772" y="3522154"/>
                  </a:lnTo>
                  <a:lnTo>
                    <a:pt x="2303772" y="3568509"/>
                  </a:lnTo>
                  <a:lnTo>
                    <a:pt x="2326944" y="3568509"/>
                  </a:lnTo>
                  <a:lnTo>
                    <a:pt x="2326944" y="3522154"/>
                  </a:lnTo>
                  <a:close/>
                </a:path>
                <a:path w="2327275" h="4854575" extrusionOk="0">
                  <a:moveTo>
                    <a:pt x="661854" y="3600403"/>
                  </a:moveTo>
                  <a:lnTo>
                    <a:pt x="638671" y="3600403"/>
                  </a:lnTo>
                  <a:lnTo>
                    <a:pt x="638671" y="3646758"/>
                  </a:lnTo>
                  <a:lnTo>
                    <a:pt x="661854" y="3646758"/>
                  </a:lnTo>
                  <a:lnTo>
                    <a:pt x="661854" y="3600403"/>
                  </a:lnTo>
                  <a:close/>
                </a:path>
                <a:path w="2327275" h="4854575" extrusionOk="0">
                  <a:moveTo>
                    <a:pt x="2326944" y="3614842"/>
                  </a:moveTo>
                  <a:lnTo>
                    <a:pt x="2303772" y="3614842"/>
                  </a:lnTo>
                  <a:lnTo>
                    <a:pt x="2303772" y="3661186"/>
                  </a:lnTo>
                  <a:lnTo>
                    <a:pt x="2326944" y="3661186"/>
                  </a:lnTo>
                  <a:lnTo>
                    <a:pt x="2326944" y="3614842"/>
                  </a:lnTo>
                  <a:close/>
                </a:path>
                <a:path w="2327275" h="4854575" extrusionOk="0">
                  <a:moveTo>
                    <a:pt x="661854" y="3693091"/>
                  </a:moveTo>
                  <a:lnTo>
                    <a:pt x="638671" y="3693091"/>
                  </a:lnTo>
                  <a:lnTo>
                    <a:pt x="638671" y="3739446"/>
                  </a:lnTo>
                  <a:lnTo>
                    <a:pt x="661854" y="3739446"/>
                  </a:lnTo>
                  <a:lnTo>
                    <a:pt x="661854" y="3693091"/>
                  </a:lnTo>
                  <a:close/>
                </a:path>
                <a:path w="2327275" h="4854575" extrusionOk="0">
                  <a:moveTo>
                    <a:pt x="2326944" y="3707531"/>
                  </a:moveTo>
                  <a:lnTo>
                    <a:pt x="2303772" y="3707531"/>
                  </a:lnTo>
                  <a:lnTo>
                    <a:pt x="2303772" y="3753885"/>
                  </a:lnTo>
                  <a:lnTo>
                    <a:pt x="2326944" y="3753885"/>
                  </a:lnTo>
                  <a:lnTo>
                    <a:pt x="2326944" y="3707531"/>
                  </a:lnTo>
                  <a:close/>
                </a:path>
                <a:path w="2327275" h="4854575" extrusionOk="0">
                  <a:moveTo>
                    <a:pt x="661854" y="3785800"/>
                  </a:moveTo>
                  <a:lnTo>
                    <a:pt x="638671" y="3785800"/>
                  </a:lnTo>
                  <a:lnTo>
                    <a:pt x="638671" y="3832134"/>
                  </a:lnTo>
                  <a:lnTo>
                    <a:pt x="661854" y="3832134"/>
                  </a:lnTo>
                  <a:lnTo>
                    <a:pt x="661854" y="3785800"/>
                  </a:lnTo>
                  <a:close/>
                </a:path>
                <a:path w="2327275" h="4854575" extrusionOk="0">
                  <a:moveTo>
                    <a:pt x="2326944" y="3800229"/>
                  </a:moveTo>
                  <a:lnTo>
                    <a:pt x="2303772" y="3800229"/>
                  </a:lnTo>
                  <a:lnTo>
                    <a:pt x="2303772" y="3846573"/>
                  </a:lnTo>
                  <a:lnTo>
                    <a:pt x="2326944" y="3846573"/>
                  </a:lnTo>
                  <a:lnTo>
                    <a:pt x="2326944" y="3800229"/>
                  </a:lnTo>
                  <a:close/>
                </a:path>
                <a:path w="2327275" h="4854575" extrusionOk="0">
                  <a:moveTo>
                    <a:pt x="661854" y="3878468"/>
                  </a:moveTo>
                  <a:lnTo>
                    <a:pt x="638671" y="3878468"/>
                  </a:lnTo>
                  <a:lnTo>
                    <a:pt x="638671" y="3924885"/>
                  </a:lnTo>
                  <a:lnTo>
                    <a:pt x="661854" y="3924728"/>
                  </a:lnTo>
                  <a:lnTo>
                    <a:pt x="661854" y="3878468"/>
                  </a:lnTo>
                  <a:close/>
                </a:path>
                <a:path w="2327275" h="4854575" extrusionOk="0">
                  <a:moveTo>
                    <a:pt x="2326913" y="3892928"/>
                  </a:moveTo>
                  <a:lnTo>
                    <a:pt x="2303762" y="3892928"/>
                  </a:lnTo>
                  <a:lnTo>
                    <a:pt x="2303693" y="3931723"/>
                  </a:lnTo>
                  <a:lnTo>
                    <a:pt x="2303552" y="3938990"/>
                  </a:lnTo>
                  <a:lnTo>
                    <a:pt x="2326714" y="3939503"/>
                  </a:lnTo>
                  <a:lnTo>
                    <a:pt x="2326850" y="3931723"/>
                  </a:lnTo>
                  <a:lnTo>
                    <a:pt x="2326913" y="3892928"/>
                  </a:lnTo>
                  <a:close/>
                </a:path>
                <a:path w="2327275" h="4854575" extrusionOk="0">
                  <a:moveTo>
                    <a:pt x="663246" y="3970517"/>
                  </a:moveTo>
                  <a:lnTo>
                    <a:pt x="640148" y="3971742"/>
                  </a:lnTo>
                  <a:lnTo>
                    <a:pt x="640825" y="3983474"/>
                  </a:lnTo>
                  <a:lnTo>
                    <a:pt x="641630" y="3995171"/>
                  </a:lnTo>
                  <a:lnTo>
                    <a:pt x="642564" y="4006828"/>
                  </a:lnTo>
                  <a:lnTo>
                    <a:pt x="643624" y="4018443"/>
                  </a:lnTo>
                  <a:lnTo>
                    <a:pt x="666681" y="4016181"/>
                  </a:lnTo>
                  <a:lnTo>
                    <a:pt x="665635" y="4004838"/>
                  </a:lnTo>
                  <a:lnTo>
                    <a:pt x="664712" y="3993443"/>
                  </a:lnTo>
                  <a:lnTo>
                    <a:pt x="663915" y="3982002"/>
                  </a:lnTo>
                  <a:lnTo>
                    <a:pt x="663246" y="3970517"/>
                  </a:lnTo>
                  <a:close/>
                </a:path>
                <a:path w="2327275" h="4854575" extrusionOk="0">
                  <a:moveTo>
                    <a:pt x="2301511" y="3984747"/>
                  </a:moveTo>
                  <a:lnTo>
                    <a:pt x="2300674" y="3996226"/>
                  </a:lnTo>
                  <a:lnTo>
                    <a:pt x="2299715" y="4007656"/>
                  </a:lnTo>
                  <a:lnTo>
                    <a:pt x="2298630" y="4019045"/>
                  </a:lnTo>
                  <a:lnTo>
                    <a:pt x="2297416" y="4030400"/>
                  </a:lnTo>
                  <a:lnTo>
                    <a:pt x="2320463" y="4032976"/>
                  </a:lnTo>
                  <a:lnTo>
                    <a:pt x="2321688" y="4021373"/>
                  </a:lnTo>
                  <a:lnTo>
                    <a:pt x="2322790" y="4009728"/>
                  </a:lnTo>
                  <a:lnTo>
                    <a:pt x="2323770" y="3998040"/>
                  </a:lnTo>
                  <a:lnTo>
                    <a:pt x="2324630" y="3986307"/>
                  </a:lnTo>
                  <a:lnTo>
                    <a:pt x="2301511" y="3984747"/>
                  </a:lnTo>
                  <a:close/>
                </a:path>
                <a:path w="2327275" h="4854575" extrusionOk="0">
                  <a:moveTo>
                    <a:pt x="672188" y="4061687"/>
                  </a:moveTo>
                  <a:lnTo>
                    <a:pt x="649257" y="4064965"/>
                  </a:lnTo>
                  <a:lnTo>
                    <a:pt x="650988" y="4076595"/>
                  </a:lnTo>
                  <a:lnTo>
                    <a:pt x="652849" y="4088176"/>
                  </a:lnTo>
                  <a:lnTo>
                    <a:pt x="654835" y="4099706"/>
                  </a:lnTo>
                  <a:lnTo>
                    <a:pt x="656943" y="4111183"/>
                  </a:lnTo>
                  <a:lnTo>
                    <a:pt x="679717" y="4106869"/>
                  </a:lnTo>
                  <a:lnTo>
                    <a:pt x="677647" y="4095642"/>
                  </a:lnTo>
                  <a:lnTo>
                    <a:pt x="675698" y="4084373"/>
                  </a:lnTo>
                  <a:lnTo>
                    <a:pt x="673876" y="4073055"/>
                  </a:lnTo>
                  <a:lnTo>
                    <a:pt x="672188" y="4061687"/>
                  </a:lnTo>
                  <a:close/>
                </a:path>
                <a:path w="2327275" h="4854575" extrusionOk="0">
                  <a:moveTo>
                    <a:pt x="2291312" y="4075802"/>
                  </a:moveTo>
                  <a:lnTo>
                    <a:pt x="2289468" y="4087136"/>
                  </a:lnTo>
                  <a:lnTo>
                    <a:pt x="2287489" y="4098422"/>
                  </a:lnTo>
                  <a:lnTo>
                    <a:pt x="2285382" y="4109657"/>
                  </a:lnTo>
                  <a:lnTo>
                    <a:pt x="2283155" y="4120837"/>
                  </a:lnTo>
                  <a:lnTo>
                    <a:pt x="2305846" y="4125518"/>
                  </a:lnTo>
                  <a:lnTo>
                    <a:pt x="2308122" y="4114060"/>
                  </a:lnTo>
                  <a:lnTo>
                    <a:pt x="2310272" y="4102555"/>
                  </a:lnTo>
                  <a:lnTo>
                    <a:pt x="2312301" y="4091003"/>
                  </a:lnTo>
                  <a:lnTo>
                    <a:pt x="2314212" y="4079404"/>
                  </a:lnTo>
                  <a:lnTo>
                    <a:pt x="2291312" y="4075802"/>
                  </a:lnTo>
                  <a:close/>
                </a:path>
                <a:path w="2327275" h="4854575" extrusionOk="0">
                  <a:moveTo>
                    <a:pt x="689287" y="4151653"/>
                  </a:moveTo>
                  <a:lnTo>
                    <a:pt x="666744" y="4157004"/>
                  </a:lnTo>
                  <a:lnTo>
                    <a:pt x="669551" y="4168426"/>
                  </a:lnTo>
                  <a:lnTo>
                    <a:pt x="672476" y="4179790"/>
                  </a:lnTo>
                  <a:lnTo>
                    <a:pt x="675520" y="4191093"/>
                  </a:lnTo>
                  <a:lnTo>
                    <a:pt x="678680" y="4202332"/>
                  </a:lnTo>
                  <a:lnTo>
                    <a:pt x="700921" y="4195924"/>
                  </a:lnTo>
                  <a:lnTo>
                    <a:pt x="697837" y="4184947"/>
                  </a:lnTo>
                  <a:lnTo>
                    <a:pt x="694868" y="4173910"/>
                  </a:lnTo>
                  <a:lnTo>
                    <a:pt x="692018" y="4162813"/>
                  </a:lnTo>
                  <a:lnTo>
                    <a:pt x="689287" y="4151653"/>
                  </a:lnTo>
                  <a:close/>
                </a:path>
                <a:path w="2327275" h="4854575" extrusionOk="0">
                  <a:moveTo>
                    <a:pt x="2272925" y="4165496"/>
                  </a:moveTo>
                  <a:lnTo>
                    <a:pt x="2270023" y="4176623"/>
                  </a:lnTo>
                  <a:lnTo>
                    <a:pt x="2267010" y="4187685"/>
                  </a:lnTo>
                  <a:lnTo>
                    <a:pt x="2263874" y="4198678"/>
                  </a:lnTo>
                  <a:lnTo>
                    <a:pt x="2260601" y="4209599"/>
                  </a:lnTo>
                  <a:lnTo>
                    <a:pt x="2282778" y="4216342"/>
                  </a:lnTo>
                  <a:lnTo>
                    <a:pt x="2286108" y="4205146"/>
                  </a:lnTo>
                  <a:lnTo>
                    <a:pt x="2289311" y="4193889"/>
                  </a:lnTo>
                  <a:lnTo>
                    <a:pt x="2292386" y="4182571"/>
                  </a:lnTo>
                  <a:lnTo>
                    <a:pt x="2295333" y="4171192"/>
                  </a:lnTo>
                  <a:lnTo>
                    <a:pt x="2272925" y="4165496"/>
                  </a:lnTo>
                  <a:close/>
                </a:path>
                <a:path w="2327275" h="4854575" extrusionOk="0">
                  <a:moveTo>
                    <a:pt x="714616" y="4239609"/>
                  </a:moveTo>
                  <a:lnTo>
                    <a:pt x="692690" y="4247074"/>
                  </a:lnTo>
                  <a:lnTo>
                    <a:pt x="696545" y="4258178"/>
                  </a:lnTo>
                  <a:lnTo>
                    <a:pt x="700512" y="4269218"/>
                  </a:lnTo>
                  <a:lnTo>
                    <a:pt x="704597" y="4280190"/>
                  </a:lnTo>
                  <a:lnTo>
                    <a:pt x="708805" y="4291094"/>
                  </a:lnTo>
                  <a:lnTo>
                    <a:pt x="730344" y="4282623"/>
                  </a:lnTo>
                  <a:lnTo>
                    <a:pt x="726255" y="4271978"/>
                  </a:lnTo>
                  <a:lnTo>
                    <a:pt x="722268" y="4261261"/>
                  </a:lnTo>
                  <a:lnTo>
                    <a:pt x="718387" y="4250472"/>
                  </a:lnTo>
                  <a:lnTo>
                    <a:pt x="714616" y="4239609"/>
                  </a:lnTo>
                  <a:close/>
                </a:path>
                <a:path w="2327275" h="4854575" extrusionOk="0">
                  <a:moveTo>
                    <a:pt x="2246308" y="4253095"/>
                  </a:moveTo>
                  <a:lnTo>
                    <a:pt x="2242387" y="4263887"/>
                  </a:lnTo>
                  <a:lnTo>
                    <a:pt x="2238344" y="4274615"/>
                  </a:lnTo>
                  <a:lnTo>
                    <a:pt x="2234188" y="4285277"/>
                  </a:lnTo>
                  <a:lnTo>
                    <a:pt x="2229932" y="4295869"/>
                  </a:lnTo>
                  <a:lnTo>
                    <a:pt x="2251386" y="4304654"/>
                  </a:lnTo>
                  <a:lnTo>
                    <a:pt x="2255749" y="4293812"/>
                  </a:lnTo>
                  <a:lnTo>
                    <a:pt x="2259994" y="4282898"/>
                  </a:lnTo>
                  <a:lnTo>
                    <a:pt x="2264120" y="4271909"/>
                  </a:lnTo>
                  <a:lnTo>
                    <a:pt x="2268129" y="4260844"/>
                  </a:lnTo>
                  <a:lnTo>
                    <a:pt x="2246308" y="4253095"/>
                  </a:lnTo>
                  <a:close/>
                </a:path>
                <a:path w="2327275" h="4854575" extrusionOk="0">
                  <a:moveTo>
                    <a:pt x="748113" y="4324800"/>
                  </a:moveTo>
                  <a:lnTo>
                    <a:pt x="726972" y="4334318"/>
                  </a:lnTo>
                  <a:lnTo>
                    <a:pt x="731866" y="4345003"/>
                  </a:lnTo>
                  <a:lnTo>
                    <a:pt x="736864" y="4355616"/>
                  </a:lnTo>
                  <a:lnTo>
                    <a:pt x="741977" y="4366150"/>
                  </a:lnTo>
                  <a:lnTo>
                    <a:pt x="747212" y="4376599"/>
                  </a:lnTo>
                  <a:lnTo>
                    <a:pt x="767871" y="4366118"/>
                  </a:lnTo>
                  <a:lnTo>
                    <a:pt x="762755" y="4355916"/>
                  </a:lnTo>
                  <a:lnTo>
                    <a:pt x="757764" y="4345624"/>
                  </a:lnTo>
                  <a:lnTo>
                    <a:pt x="752888" y="4335249"/>
                  </a:lnTo>
                  <a:lnTo>
                    <a:pt x="748113" y="4324800"/>
                  </a:lnTo>
                  <a:close/>
                </a:path>
                <a:path w="2327275" h="4854575" extrusionOk="0">
                  <a:moveTo>
                    <a:pt x="2211555" y="4337805"/>
                  </a:moveTo>
                  <a:lnTo>
                    <a:pt x="2206638" y="4348173"/>
                  </a:lnTo>
                  <a:lnTo>
                    <a:pt x="2201608" y="4358465"/>
                  </a:lnTo>
                  <a:lnTo>
                    <a:pt x="2196417" y="4368763"/>
                  </a:lnTo>
                  <a:lnTo>
                    <a:pt x="2191189" y="4378819"/>
                  </a:lnTo>
                  <a:lnTo>
                    <a:pt x="2211691" y="4389594"/>
                  </a:lnTo>
                  <a:lnTo>
                    <a:pt x="2217085" y="4379222"/>
                  </a:lnTo>
                  <a:lnTo>
                    <a:pt x="2222403" y="4368681"/>
                  </a:lnTo>
                  <a:lnTo>
                    <a:pt x="2227516" y="4358220"/>
                  </a:lnTo>
                  <a:lnTo>
                    <a:pt x="2232539" y="4347595"/>
                  </a:lnTo>
                  <a:lnTo>
                    <a:pt x="2211555" y="4337805"/>
                  </a:lnTo>
                  <a:close/>
                </a:path>
                <a:path w="2327275" h="4854575" extrusionOk="0">
                  <a:moveTo>
                    <a:pt x="789588" y="4406431"/>
                  </a:moveTo>
                  <a:lnTo>
                    <a:pt x="769473" y="4417896"/>
                  </a:lnTo>
                  <a:lnTo>
                    <a:pt x="775361" y="4428062"/>
                  </a:lnTo>
                  <a:lnTo>
                    <a:pt x="781364" y="4438141"/>
                  </a:lnTo>
                  <a:lnTo>
                    <a:pt x="787480" y="4448131"/>
                  </a:lnTo>
                  <a:lnTo>
                    <a:pt x="793703" y="4458031"/>
                  </a:lnTo>
                  <a:lnTo>
                    <a:pt x="813242" y="4445592"/>
                  </a:lnTo>
                  <a:lnTo>
                    <a:pt x="807156" y="4435930"/>
                  </a:lnTo>
                  <a:lnTo>
                    <a:pt x="801183" y="4426176"/>
                  </a:lnTo>
                  <a:lnTo>
                    <a:pt x="795326" y="4416340"/>
                  </a:lnTo>
                  <a:lnTo>
                    <a:pt x="789588" y="4406431"/>
                  </a:lnTo>
                  <a:close/>
                </a:path>
                <a:path w="2327275" h="4854575" extrusionOk="0">
                  <a:moveTo>
                    <a:pt x="2168876" y="4418755"/>
                  </a:moveTo>
                  <a:lnTo>
                    <a:pt x="2162975" y="4428594"/>
                  </a:lnTo>
                  <a:lnTo>
                    <a:pt x="2156972" y="4438337"/>
                  </a:lnTo>
                  <a:lnTo>
                    <a:pt x="2150860" y="4447988"/>
                  </a:lnTo>
                  <a:lnTo>
                    <a:pt x="2144636" y="4457550"/>
                  </a:lnTo>
                  <a:lnTo>
                    <a:pt x="2163955" y="4470314"/>
                  </a:lnTo>
                  <a:lnTo>
                    <a:pt x="2170348" y="4460510"/>
                  </a:lnTo>
                  <a:lnTo>
                    <a:pt x="2176622" y="4450617"/>
                  </a:lnTo>
                  <a:lnTo>
                    <a:pt x="2182782" y="4440627"/>
                  </a:lnTo>
                  <a:lnTo>
                    <a:pt x="2188833" y="4430535"/>
                  </a:lnTo>
                  <a:lnTo>
                    <a:pt x="2168876" y="4418755"/>
                  </a:lnTo>
                  <a:close/>
                </a:path>
                <a:path w="2327275" h="4854575" extrusionOk="0">
                  <a:moveTo>
                    <a:pt x="838812" y="4483538"/>
                  </a:moveTo>
                  <a:lnTo>
                    <a:pt x="819891" y="4496952"/>
                  </a:lnTo>
                  <a:lnTo>
                    <a:pt x="826774" y="4506491"/>
                  </a:lnTo>
                  <a:lnTo>
                    <a:pt x="833758" y="4515930"/>
                  </a:lnTo>
                  <a:lnTo>
                    <a:pt x="840843" y="4525267"/>
                  </a:lnTo>
                  <a:lnTo>
                    <a:pt x="848026" y="4534500"/>
                  </a:lnTo>
                  <a:lnTo>
                    <a:pt x="866224" y="4520155"/>
                  </a:lnTo>
                  <a:lnTo>
                    <a:pt x="859192" y="4511152"/>
                  </a:lnTo>
                  <a:lnTo>
                    <a:pt x="852279" y="4502047"/>
                  </a:lnTo>
                  <a:lnTo>
                    <a:pt x="845485" y="4492842"/>
                  </a:lnTo>
                  <a:lnTo>
                    <a:pt x="838812" y="4483538"/>
                  </a:lnTo>
                  <a:close/>
                </a:path>
                <a:path w="2327275" h="4854575" extrusionOk="0">
                  <a:moveTo>
                    <a:pt x="2118469" y="4495119"/>
                  </a:moveTo>
                  <a:lnTo>
                    <a:pt x="2111637" y="4504307"/>
                  </a:lnTo>
                  <a:lnTo>
                    <a:pt x="2104689" y="4513399"/>
                  </a:lnTo>
                  <a:lnTo>
                    <a:pt x="2097639" y="4522392"/>
                  </a:lnTo>
                  <a:lnTo>
                    <a:pt x="2090501" y="4531286"/>
                  </a:lnTo>
                  <a:lnTo>
                    <a:pt x="2108448" y="4545924"/>
                  </a:lnTo>
                  <a:lnTo>
                    <a:pt x="2115782" y="4536802"/>
                  </a:lnTo>
                  <a:lnTo>
                    <a:pt x="2123007" y="4527578"/>
                  </a:lnTo>
                  <a:lnTo>
                    <a:pt x="2130128" y="4518249"/>
                  </a:lnTo>
                  <a:lnTo>
                    <a:pt x="2137149" y="4508815"/>
                  </a:lnTo>
                  <a:lnTo>
                    <a:pt x="2118469" y="4495119"/>
                  </a:lnTo>
                  <a:close/>
                </a:path>
                <a:path w="2327275" h="4854575" extrusionOk="0">
                  <a:moveTo>
                    <a:pt x="895449" y="4555316"/>
                  </a:moveTo>
                  <a:lnTo>
                    <a:pt x="878057" y="4570593"/>
                  </a:lnTo>
                  <a:lnTo>
                    <a:pt x="885853" y="4579379"/>
                  </a:lnTo>
                  <a:lnTo>
                    <a:pt x="893763" y="4588056"/>
                  </a:lnTo>
                  <a:lnTo>
                    <a:pt x="901775" y="4596612"/>
                  </a:lnTo>
                  <a:lnTo>
                    <a:pt x="909878" y="4605032"/>
                  </a:lnTo>
                  <a:lnTo>
                    <a:pt x="926505" y="4588917"/>
                  </a:lnTo>
                  <a:lnTo>
                    <a:pt x="918581" y="4580678"/>
                  </a:lnTo>
                  <a:lnTo>
                    <a:pt x="910765" y="4572329"/>
                  </a:lnTo>
                  <a:lnTo>
                    <a:pt x="903055" y="4563874"/>
                  </a:lnTo>
                  <a:lnTo>
                    <a:pt x="895449" y="4555316"/>
                  </a:lnTo>
                  <a:close/>
                </a:path>
                <a:path w="2327275" h="4854575" extrusionOk="0">
                  <a:moveTo>
                    <a:pt x="2060670" y="4565965"/>
                  </a:moveTo>
                  <a:lnTo>
                    <a:pt x="2052910" y="4574411"/>
                  </a:lnTo>
                  <a:lnTo>
                    <a:pt x="2045045" y="4582753"/>
                  </a:lnTo>
                  <a:lnTo>
                    <a:pt x="2037081" y="4590988"/>
                  </a:lnTo>
                  <a:lnTo>
                    <a:pt x="2029027" y="4599116"/>
                  </a:lnTo>
                  <a:lnTo>
                    <a:pt x="2045351" y="4615524"/>
                  </a:lnTo>
                  <a:lnTo>
                    <a:pt x="2053636" y="4607200"/>
                  </a:lnTo>
                  <a:lnTo>
                    <a:pt x="2061803" y="4598753"/>
                  </a:lnTo>
                  <a:lnTo>
                    <a:pt x="2069864" y="4590187"/>
                  </a:lnTo>
                  <a:lnTo>
                    <a:pt x="2077832" y="4581504"/>
                  </a:lnTo>
                  <a:lnTo>
                    <a:pt x="2060670" y="4565965"/>
                  </a:lnTo>
                  <a:close/>
                </a:path>
                <a:path w="2327275" h="4854575" extrusionOk="0">
                  <a:moveTo>
                    <a:pt x="959154" y="4620770"/>
                  </a:moveTo>
                  <a:lnTo>
                    <a:pt x="943426" y="4637764"/>
                  </a:lnTo>
                  <a:lnTo>
                    <a:pt x="952110" y="4645668"/>
                  </a:lnTo>
                  <a:lnTo>
                    <a:pt x="960884" y="4653449"/>
                  </a:lnTo>
                  <a:lnTo>
                    <a:pt x="969748" y="4661106"/>
                  </a:lnTo>
                  <a:lnTo>
                    <a:pt x="978703" y="4668632"/>
                  </a:lnTo>
                  <a:lnTo>
                    <a:pt x="993488" y="4650790"/>
                  </a:lnTo>
                  <a:lnTo>
                    <a:pt x="984763" y="4643461"/>
                  </a:lnTo>
                  <a:lnTo>
                    <a:pt x="976132" y="4636015"/>
                  </a:lnTo>
                  <a:lnTo>
                    <a:pt x="967596" y="4628452"/>
                  </a:lnTo>
                  <a:lnTo>
                    <a:pt x="959154" y="4620770"/>
                  </a:lnTo>
                  <a:close/>
                </a:path>
                <a:path w="2327275" h="4854575" extrusionOk="0">
                  <a:moveTo>
                    <a:pt x="1995708" y="4630518"/>
                  </a:moveTo>
                  <a:lnTo>
                    <a:pt x="1987099" y="4638095"/>
                  </a:lnTo>
                  <a:lnTo>
                    <a:pt x="1978403" y="4645544"/>
                  </a:lnTo>
                  <a:lnTo>
                    <a:pt x="1969616" y="4652867"/>
                  </a:lnTo>
                  <a:lnTo>
                    <a:pt x="1960736" y="4660067"/>
                  </a:lnTo>
                  <a:lnTo>
                    <a:pt x="1975206" y="4678150"/>
                  </a:lnTo>
                  <a:lnTo>
                    <a:pt x="1984318" y="4670756"/>
                  </a:lnTo>
                  <a:lnTo>
                    <a:pt x="1993338" y="4663229"/>
                  </a:lnTo>
                  <a:lnTo>
                    <a:pt x="2002266" y="4655577"/>
                  </a:lnTo>
                  <a:lnTo>
                    <a:pt x="2011101" y="4647806"/>
                  </a:lnTo>
                  <a:lnTo>
                    <a:pt x="1995708" y="4630518"/>
                  </a:lnTo>
                  <a:close/>
                </a:path>
                <a:path w="2327275" h="4854575" extrusionOk="0">
                  <a:moveTo>
                    <a:pt x="1029403" y="4678925"/>
                  </a:moveTo>
                  <a:lnTo>
                    <a:pt x="1015623" y="4697532"/>
                  </a:lnTo>
                  <a:lnTo>
                    <a:pt x="1025106" y="4704467"/>
                  </a:lnTo>
                  <a:lnTo>
                    <a:pt x="1034688" y="4711250"/>
                  </a:lnTo>
                  <a:lnTo>
                    <a:pt x="1044360" y="4717886"/>
                  </a:lnTo>
                  <a:lnTo>
                    <a:pt x="1054114" y="4724379"/>
                  </a:lnTo>
                  <a:lnTo>
                    <a:pt x="1066847" y="4705008"/>
                  </a:lnTo>
                  <a:lnTo>
                    <a:pt x="1057344" y="4698694"/>
                  </a:lnTo>
                  <a:lnTo>
                    <a:pt x="1047936" y="4692241"/>
                  </a:lnTo>
                  <a:lnTo>
                    <a:pt x="1038622" y="4685651"/>
                  </a:lnTo>
                  <a:lnTo>
                    <a:pt x="1029403" y="4678925"/>
                  </a:lnTo>
                  <a:close/>
                </a:path>
                <a:path w="2327275" h="4854575" extrusionOk="0">
                  <a:moveTo>
                    <a:pt x="1924245" y="4687605"/>
                  </a:moveTo>
                  <a:lnTo>
                    <a:pt x="1914881" y="4694179"/>
                  </a:lnTo>
                  <a:lnTo>
                    <a:pt x="1905424" y="4700612"/>
                  </a:lnTo>
                  <a:lnTo>
                    <a:pt x="1895883" y="4706905"/>
                  </a:lnTo>
                  <a:lnTo>
                    <a:pt x="1886267" y="4713060"/>
                  </a:lnTo>
                  <a:lnTo>
                    <a:pt x="1898612" y="4732651"/>
                  </a:lnTo>
                  <a:lnTo>
                    <a:pt x="1908504" y="4726320"/>
                  </a:lnTo>
                  <a:lnTo>
                    <a:pt x="1918310" y="4719844"/>
                  </a:lnTo>
                  <a:lnTo>
                    <a:pt x="1928026" y="4713225"/>
                  </a:lnTo>
                  <a:lnTo>
                    <a:pt x="1937647" y="4706464"/>
                  </a:lnTo>
                  <a:lnTo>
                    <a:pt x="1924245" y="4687605"/>
                  </a:lnTo>
                  <a:close/>
                </a:path>
                <a:path w="2327275" h="4854575" extrusionOk="0">
                  <a:moveTo>
                    <a:pt x="1105683" y="4728955"/>
                  </a:moveTo>
                  <a:lnTo>
                    <a:pt x="1094050" y="4749007"/>
                  </a:lnTo>
                  <a:lnTo>
                    <a:pt x="1104282" y="4754818"/>
                  </a:lnTo>
                  <a:lnTo>
                    <a:pt x="1114587" y="4760471"/>
                  </a:lnTo>
                  <a:lnTo>
                    <a:pt x="1124961" y="4765965"/>
                  </a:lnTo>
                  <a:lnTo>
                    <a:pt x="1135399" y="4771299"/>
                  </a:lnTo>
                  <a:lnTo>
                    <a:pt x="1145818" y="4750588"/>
                  </a:lnTo>
                  <a:lnTo>
                    <a:pt x="1135666" y="4745410"/>
                  </a:lnTo>
                  <a:lnTo>
                    <a:pt x="1125593" y="4740074"/>
                  </a:lnTo>
                  <a:lnTo>
                    <a:pt x="1115600" y="4734587"/>
                  </a:lnTo>
                  <a:lnTo>
                    <a:pt x="1105683" y="4728955"/>
                  </a:lnTo>
                  <a:close/>
                </a:path>
                <a:path w="2327275" h="4854575" extrusionOk="0">
                  <a:moveTo>
                    <a:pt x="1846938" y="4736316"/>
                  </a:moveTo>
                  <a:lnTo>
                    <a:pt x="1836904" y="4741756"/>
                  </a:lnTo>
                  <a:lnTo>
                    <a:pt x="1826796" y="4747050"/>
                  </a:lnTo>
                  <a:lnTo>
                    <a:pt x="1816615" y="4752197"/>
                  </a:lnTo>
                  <a:lnTo>
                    <a:pt x="1806363" y="4757195"/>
                  </a:lnTo>
                  <a:lnTo>
                    <a:pt x="1816332" y="4778084"/>
                  </a:lnTo>
                  <a:lnTo>
                    <a:pt x="1826899" y="4772942"/>
                  </a:lnTo>
                  <a:lnTo>
                    <a:pt x="1837385" y="4767644"/>
                  </a:lnTo>
                  <a:lnTo>
                    <a:pt x="1847794" y="4762186"/>
                  </a:lnTo>
                  <a:lnTo>
                    <a:pt x="1858131" y="4756567"/>
                  </a:lnTo>
                  <a:lnTo>
                    <a:pt x="1846938" y="4736316"/>
                  </a:lnTo>
                  <a:close/>
                </a:path>
                <a:path w="2327275" h="4854575" extrusionOk="0">
                  <a:moveTo>
                    <a:pt x="1187188" y="4769875"/>
                  </a:moveTo>
                  <a:lnTo>
                    <a:pt x="1210740" y="4804366"/>
                  </a:lnTo>
                  <a:lnTo>
                    <a:pt x="1221774" y="4808439"/>
                  </a:lnTo>
                  <a:lnTo>
                    <a:pt x="1229637" y="4786650"/>
                  </a:lnTo>
                  <a:lnTo>
                    <a:pt x="1218907" y="4782699"/>
                  </a:lnTo>
                  <a:lnTo>
                    <a:pt x="1208260" y="4778580"/>
                  </a:lnTo>
                  <a:lnTo>
                    <a:pt x="1197689" y="4774303"/>
                  </a:lnTo>
                  <a:lnTo>
                    <a:pt x="1187188" y="4769875"/>
                  </a:lnTo>
                  <a:close/>
                </a:path>
                <a:path w="2327275" h="4854575" extrusionOk="0">
                  <a:moveTo>
                    <a:pt x="1764626" y="4775666"/>
                  </a:moveTo>
                  <a:lnTo>
                    <a:pt x="1754066" y="4779868"/>
                  </a:lnTo>
                  <a:lnTo>
                    <a:pt x="1743420" y="4783925"/>
                  </a:lnTo>
                  <a:lnTo>
                    <a:pt x="1732700" y="4787828"/>
                  </a:lnTo>
                  <a:lnTo>
                    <a:pt x="1721916" y="4791571"/>
                  </a:lnTo>
                  <a:lnTo>
                    <a:pt x="1729360" y="4813507"/>
                  </a:lnTo>
                  <a:lnTo>
                    <a:pt x="1740457" y="4809648"/>
                  </a:lnTo>
                  <a:lnTo>
                    <a:pt x="1751491" y="4805625"/>
                  </a:lnTo>
                  <a:lnTo>
                    <a:pt x="1762462" y="4801442"/>
                  </a:lnTo>
                  <a:lnTo>
                    <a:pt x="1773370" y="4797100"/>
                  </a:lnTo>
                  <a:lnTo>
                    <a:pt x="1764626" y="4775666"/>
                  </a:lnTo>
                  <a:close/>
                </a:path>
                <a:path w="2327275" h="4854575" extrusionOk="0">
                  <a:moveTo>
                    <a:pt x="1273060" y="4800869"/>
                  </a:moveTo>
                  <a:lnTo>
                    <a:pt x="1300606" y="4832247"/>
                  </a:lnTo>
                  <a:lnTo>
                    <a:pt x="1312096" y="4834962"/>
                  </a:lnTo>
                  <a:lnTo>
                    <a:pt x="1317247" y="4812377"/>
                  </a:lnTo>
                  <a:lnTo>
                    <a:pt x="1306105" y="4809739"/>
                  </a:lnTo>
                  <a:lnTo>
                    <a:pt x="1295028" y="4806945"/>
                  </a:lnTo>
                  <a:lnTo>
                    <a:pt x="1284014" y="4803989"/>
                  </a:lnTo>
                  <a:lnTo>
                    <a:pt x="1273060" y="4800869"/>
                  </a:lnTo>
                  <a:close/>
                </a:path>
                <a:path w="2327275" h="4854575" extrusionOk="0">
                  <a:moveTo>
                    <a:pt x="1678409" y="4804879"/>
                  </a:moveTo>
                  <a:lnTo>
                    <a:pt x="1667398" y="4807782"/>
                  </a:lnTo>
                  <a:lnTo>
                    <a:pt x="1656335" y="4810521"/>
                  </a:lnTo>
                  <a:lnTo>
                    <a:pt x="1645215" y="4813090"/>
                  </a:lnTo>
                  <a:lnTo>
                    <a:pt x="1634034" y="4815486"/>
                  </a:lnTo>
                  <a:lnTo>
                    <a:pt x="1638714" y="4838177"/>
                  </a:lnTo>
                  <a:lnTo>
                    <a:pt x="1650266" y="4835699"/>
                  </a:lnTo>
                  <a:lnTo>
                    <a:pt x="1661741" y="4833043"/>
                  </a:lnTo>
                  <a:lnTo>
                    <a:pt x="1673139" y="4830211"/>
                  </a:lnTo>
                  <a:lnTo>
                    <a:pt x="1684461" y="4827203"/>
                  </a:lnTo>
                  <a:lnTo>
                    <a:pt x="1678409" y="4804879"/>
                  </a:lnTo>
                  <a:close/>
                </a:path>
                <a:path w="2327275" h="4854575" extrusionOk="0">
                  <a:moveTo>
                    <a:pt x="1361979" y="4821162"/>
                  </a:moveTo>
                  <a:lnTo>
                    <a:pt x="1393110" y="4848909"/>
                  </a:lnTo>
                  <a:lnTo>
                    <a:pt x="1404815" y="4850187"/>
                  </a:lnTo>
                  <a:lnTo>
                    <a:pt x="1407171" y="4827151"/>
                  </a:lnTo>
                  <a:lnTo>
                    <a:pt x="1395800" y="4825909"/>
                  </a:lnTo>
                  <a:lnTo>
                    <a:pt x="1384477" y="4824494"/>
                  </a:lnTo>
                  <a:lnTo>
                    <a:pt x="1373203" y="4822910"/>
                  </a:lnTo>
                  <a:lnTo>
                    <a:pt x="1361979" y="4821162"/>
                  </a:lnTo>
                  <a:close/>
                </a:path>
                <a:path w="2327275" h="4854575" extrusionOk="0">
                  <a:moveTo>
                    <a:pt x="1589134" y="4823371"/>
                  </a:moveTo>
                  <a:lnTo>
                    <a:pt x="1577867" y="4824918"/>
                  </a:lnTo>
                  <a:lnTo>
                    <a:pt x="1566559" y="4826282"/>
                  </a:lnTo>
                  <a:lnTo>
                    <a:pt x="1555212" y="4827473"/>
                  </a:lnTo>
                  <a:lnTo>
                    <a:pt x="1543827" y="4828502"/>
                  </a:lnTo>
                  <a:lnTo>
                    <a:pt x="1545712" y="4851580"/>
                  </a:lnTo>
                  <a:lnTo>
                    <a:pt x="1557463" y="4850517"/>
                  </a:lnTo>
                  <a:lnTo>
                    <a:pt x="1569170" y="4849288"/>
                  </a:lnTo>
                  <a:lnTo>
                    <a:pt x="1580828" y="4847888"/>
                  </a:lnTo>
                  <a:lnTo>
                    <a:pt x="1592433" y="4846313"/>
                  </a:lnTo>
                  <a:lnTo>
                    <a:pt x="1589134" y="4823371"/>
                  </a:lnTo>
                  <a:close/>
                </a:path>
                <a:path w="2327275" h="4854575" extrusionOk="0">
                  <a:moveTo>
                    <a:pt x="1452657" y="4830386"/>
                  </a:moveTo>
                  <a:lnTo>
                    <a:pt x="1451725" y="4853506"/>
                  </a:lnTo>
                  <a:lnTo>
                    <a:pt x="1459474" y="4853793"/>
                  </a:lnTo>
                  <a:lnTo>
                    <a:pt x="1467232" y="4853996"/>
                  </a:lnTo>
                  <a:lnTo>
                    <a:pt x="1474999" y="4854116"/>
                  </a:lnTo>
                  <a:lnTo>
                    <a:pt x="1498750" y="4853998"/>
                  </a:lnTo>
                  <a:lnTo>
                    <a:pt x="1498261" y="4830994"/>
                  </a:lnTo>
                  <a:lnTo>
                    <a:pt x="1488834" y="4830994"/>
                  </a:lnTo>
                  <a:lnTo>
                    <a:pt x="1468362" y="4830835"/>
                  </a:lnTo>
                  <a:lnTo>
                    <a:pt x="1460494" y="4830654"/>
                  </a:lnTo>
                  <a:lnTo>
                    <a:pt x="1452657" y="4830386"/>
                  </a:lnTo>
                  <a:close/>
                </a:path>
                <a:path w="2327275" h="4854575" extrusionOk="0">
                  <a:moveTo>
                    <a:pt x="1498258" y="4830837"/>
                  </a:moveTo>
                  <a:lnTo>
                    <a:pt x="1488834" y="4830994"/>
                  </a:lnTo>
                  <a:lnTo>
                    <a:pt x="1498261" y="4830994"/>
                  </a:lnTo>
                  <a:lnTo>
                    <a:pt x="1498258" y="4830837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151;p1"/>
            <p:cNvSpPr/>
            <p:nvPr/>
          </p:nvSpPr>
          <p:spPr>
            <a:xfrm>
              <a:off x="2295563" y="3717153"/>
              <a:ext cx="1530350" cy="3761740"/>
            </a:xfrm>
            <a:custGeom>
              <a:avLst/>
              <a:gdLst/>
              <a:ahLst/>
              <a:cxnLst/>
              <a:rect l="l" t="t" r="r" b="b"/>
              <a:pathLst>
                <a:path w="1530350" h="3761740" extrusionOk="0">
                  <a:moveTo>
                    <a:pt x="764940" y="0"/>
                  </a:moveTo>
                  <a:lnTo>
                    <a:pt x="721599" y="1506"/>
                  </a:lnTo>
                  <a:lnTo>
                    <a:pt x="678885" y="5970"/>
                  </a:lnTo>
                  <a:lnTo>
                    <a:pt x="636861" y="13312"/>
                  </a:lnTo>
                  <a:lnTo>
                    <a:pt x="595594" y="23450"/>
                  </a:lnTo>
                  <a:lnTo>
                    <a:pt x="555147" y="36305"/>
                  </a:lnTo>
                  <a:lnTo>
                    <a:pt x="515587" y="51795"/>
                  </a:lnTo>
                  <a:lnTo>
                    <a:pt x="476978" y="69839"/>
                  </a:lnTo>
                  <a:lnTo>
                    <a:pt x="439385" y="90357"/>
                  </a:lnTo>
                  <a:lnTo>
                    <a:pt x="402874" y="113267"/>
                  </a:lnTo>
                  <a:lnTo>
                    <a:pt x="367510" y="138490"/>
                  </a:lnTo>
                  <a:lnTo>
                    <a:pt x="333357" y="165944"/>
                  </a:lnTo>
                  <a:lnTo>
                    <a:pt x="300481" y="195549"/>
                  </a:lnTo>
                  <a:lnTo>
                    <a:pt x="268947" y="227223"/>
                  </a:lnTo>
                  <a:lnTo>
                    <a:pt x="238820" y="260886"/>
                  </a:lnTo>
                  <a:lnTo>
                    <a:pt x="210164" y="296458"/>
                  </a:lnTo>
                  <a:lnTo>
                    <a:pt x="183046" y="333857"/>
                  </a:lnTo>
                  <a:lnTo>
                    <a:pt x="157530" y="373002"/>
                  </a:lnTo>
                  <a:lnTo>
                    <a:pt x="133681" y="413814"/>
                  </a:lnTo>
                  <a:lnTo>
                    <a:pt x="111565" y="456210"/>
                  </a:lnTo>
                  <a:lnTo>
                    <a:pt x="91246" y="500111"/>
                  </a:lnTo>
                  <a:lnTo>
                    <a:pt x="72790" y="545435"/>
                  </a:lnTo>
                  <a:lnTo>
                    <a:pt x="56261" y="592102"/>
                  </a:lnTo>
                  <a:lnTo>
                    <a:pt x="41725" y="640031"/>
                  </a:lnTo>
                  <a:lnTo>
                    <a:pt x="29247" y="689141"/>
                  </a:lnTo>
                  <a:lnTo>
                    <a:pt x="18891" y="739352"/>
                  </a:lnTo>
                  <a:lnTo>
                    <a:pt x="10724" y="790582"/>
                  </a:lnTo>
                  <a:lnTo>
                    <a:pt x="4809" y="842751"/>
                  </a:lnTo>
                  <a:lnTo>
                    <a:pt x="1213" y="895778"/>
                  </a:lnTo>
                  <a:lnTo>
                    <a:pt x="0" y="949583"/>
                  </a:lnTo>
                  <a:lnTo>
                    <a:pt x="0" y="3761508"/>
                  </a:lnTo>
                  <a:lnTo>
                    <a:pt x="46323" y="3761508"/>
                  </a:lnTo>
                  <a:lnTo>
                    <a:pt x="46323" y="949583"/>
                  </a:lnTo>
                  <a:lnTo>
                    <a:pt x="47545" y="896587"/>
                  </a:lnTo>
                  <a:lnTo>
                    <a:pt x="51167" y="844388"/>
                  </a:lnTo>
                  <a:lnTo>
                    <a:pt x="57120" y="793070"/>
                  </a:lnTo>
                  <a:lnTo>
                    <a:pt x="65336" y="742719"/>
                  </a:lnTo>
                  <a:lnTo>
                    <a:pt x="75748" y="693420"/>
                  </a:lnTo>
                  <a:lnTo>
                    <a:pt x="88288" y="645259"/>
                  </a:lnTo>
                  <a:lnTo>
                    <a:pt x="102887" y="598322"/>
                  </a:lnTo>
                  <a:lnTo>
                    <a:pt x="119478" y="552692"/>
                  </a:lnTo>
                  <a:lnTo>
                    <a:pt x="137993" y="508457"/>
                  </a:lnTo>
                  <a:lnTo>
                    <a:pt x="158363" y="465700"/>
                  </a:lnTo>
                  <a:lnTo>
                    <a:pt x="180522" y="424508"/>
                  </a:lnTo>
                  <a:lnTo>
                    <a:pt x="204400" y="384966"/>
                  </a:lnTo>
                  <a:lnTo>
                    <a:pt x="229931" y="347160"/>
                  </a:lnTo>
                  <a:lnTo>
                    <a:pt x="257045" y="311173"/>
                  </a:lnTo>
                  <a:lnTo>
                    <a:pt x="285676" y="277093"/>
                  </a:lnTo>
                  <a:lnTo>
                    <a:pt x="315755" y="245004"/>
                  </a:lnTo>
                  <a:lnTo>
                    <a:pt x="347215" y="214991"/>
                  </a:lnTo>
                  <a:lnTo>
                    <a:pt x="379986" y="187141"/>
                  </a:lnTo>
                  <a:lnTo>
                    <a:pt x="414003" y="161538"/>
                  </a:lnTo>
                  <a:lnTo>
                    <a:pt x="449195" y="138267"/>
                  </a:lnTo>
                  <a:lnTo>
                    <a:pt x="485497" y="117415"/>
                  </a:lnTo>
                  <a:lnTo>
                    <a:pt x="522839" y="99066"/>
                  </a:lnTo>
                  <a:lnTo>
                    <a:pt x="561153" y="83305"/>
                  </a:lnTo>
                  <a:lnTo>
                    <a:pt x="600373" y="70219"/>
                  </a:lnTo>
                  <a:lnTo>
                    <a:pt x="640429" y="59893"/>
                  </a:lnTo>
                  <a:lnTo>
                    <a:pt x="681254" y="52411"/>
                  </a:lnTo>
                  <a:lnTo>
                    <a:pt x="722780" y="47859"/>
                  </a:lnTo>
                  <a:lnTo>
                    <a:pt x="764940" y="46323"/>
                  </a:lnTo>
                  <a:lnTo>
                    <a:pt x="1000290" y="46323"/>
                  </a:lnTo>
                  <a:lnTo>
                    <a:pt x="974706" y="36304"/>
                  </a:lnTo>
                  <a:lnTo>
                    <a:pt x="934265" y="23450"/>
                  </a:lnTo>
                  <a:lnTo>
                    <a:pt x="893002" y="13312"/>
                  </a:lnTo>
                  <a:lnTo>
                    <a:pt x="850984" y="5970"/>
                  </a:lnTo>
                  <a:lnTo>
                    <a:pt x="808274" y="1506"/>
                  </a:lnTo>
                  <a:lnTo>
                    <a:pt x="764940" y="0"/>
                  </a:lnTo>
                  <a:close/>
                </a:path>
                <a:path w="1530350" h="3761740" extrusionOk="0">
                  <a:moveTo>
                    <a:pt x="1000290" y="46323"/>
                  </a:moveTo>
                  <a:lnTo>
                    <a:pt x="764940" y="46323"/>
                  </a:lnTo>
                  <a:lnTo>
                    <a:pt x="807094" y="47859"/>
                  </a:lnTo>
                  <a:lnTo>
                    <a:pt x="848616" y="52411"/>
                  </a:lnTo>
                  <a:lnTo>
                    <a:pt x="889437" y="59893"/>
                  </a:lnTo>
                  <a:lnTo>
                    <a:pt x="929490" y="70219"/>
                  </a:lnTo>
                  <a:lnTo>
                    <a:pt x="968705" y="83305"/>
                  </a:lnTo>
                  <a:lnTo>
                    <a:pt x="1007016" y="99066"/>
                  </a:lnTo>
                  <a:lnTo>
                    <a:pt x="1044355" y="117415"/>
                  </a:lnTo>
                  <a:lnTo>
                    <a:pt x="1080653" y="138267"/>
                  </a:lnTo>
                  <a:lnTo>
                    <a:pt x="1115843" y="161538"/>
                  </a:lnTo>
                  <a:lnTo>
                    <a:pt x="1149856" y="187141"/>
                  </a:lnTo>
                  <a:lnTo>
                    <a:pt x="1182625" y="214991"/>
                  </a:lnTo>
                  <a:lnTo>
                    <a:pt x="1214082" y="245004"/>
                  </a:lnTo>
                  <a:lnTo>
                    <a:pt x="1244158" y="277093"/>
                  </a:lnTo>
                  <a:lnTo>
                    <a:pt x="1272787" y="311173"/>
                  </a:lnTo>
                  <a:lnTo>
                    <a:pt x="1299899" y="347160"/>
                  </a:lnTo>
                  <a:lnTo>
                    <a:pt x="1325428" y="384966"/>
                  </a:lnTo>
                  <a:lnTo>
                    <a:pt x="1349304" y="424508"/>
                  </a:lnTo>
                  <a:lnTo>
                    <a:pt x="1371461" y="465700"/>
                  </a:lnTo>
                  <a:lnTo>
                    <a:pt x="1391830" y="508457"/>
                  </a:lnTo>
                  <a:lnTo>
                    <a:pt x="1410344" y="552692"/>
                  </a:lnTo>
                  <a:lnTo>
                    <a:pt x="1426933" y="598322"/>
                  </a:lnTo>
                  <a:lnTo>
                    <a:pt x="1441531" y="645259"/>
                  </a:lnTo>
                  <a:lnTo>
                    <a:pt x="1454070" y="693420"/>
                  </a:lnTo>
                  <a:lnTo>
                    <a:pt x="1464481" y="742719"/>
                  </a:lnTo>
                  <a:lnTo>
                    <a:pt x="1472697" y="793070"/>
                  </a:lnTo>
                  <a:lnTo>
                    <a:pt x="1478650" y="844388"/>
                  </a:lnTo>
                  <a:lnTo>
                    <a:pt x="1482271" y="896587"/>
                  </a:lnTo>
                  <a:lnTo>
                    <a:pt x="1483494" y="949583"/>
                  </a:lnTo>
                  <a:lnTo>
                    <a:pt x="1483494" y="3495610"/>
                  </a:lnTo>
                  <a:lnTo>
                    <a:pt x="1529796" y="3495610"/>
                  </a:lnTo>
                  <a:lnTo>
                    <a:pt x="1529796" y="949583"/>
                  </a:lnTo>
                  <a:lnTo>
                    <a:pt x="1528583" y="895778"/>
                  </a:lnTo>
                  <a:lnTo>
                    <a:pt x="1524986" y="842750"/>
                  </a:lnTo>
                  <a:lnTo>
                    <a:pt x="1519072" y="790580"/>
                  </a:lnTo>
                  <a:lnTo>
                    <a:pt x="1510905" y="739349"/>
                  </a:lnTo>
                  <a:lnTo>
                    <a:pt x="1500550" y="689138"/>
                  </a:lnTo>
                  <a:lnTo>
                    <a:pt x="1488073" y="640027"/>
                  </a:lnTo>
                  <a:lnTo>
                    <a:pt x="1473538" y="592098"/>
                  </a:lnTo>
                  <a:lnTo>
                    <a:pt x="1457011" y="545431"/>
                  </a:lnTo>
                  <a:lnTo>
                    <a:pt x="1438556" y="500106"/>
                  </a:lnTo>
                  <a:lnTo>
                    <a:pt x="1418239" y="456205"/>
                  </a:lnTo>
                  <a:lnTo>
                    <a:pt x="1396125" y="413809"/>
                  </a:lnTo>
                  <a:lnTo>
                    <a:pt x="1372278" y="372998"/>
                  </a:lnTo>
                  <a:lnTo>
                    <a:pt x="1346765" y="333852"/>
                  </a:lnTo>
                  <a:lnTo>
                    <a:pt x="1319649" y="296454"/>
                  </a:lnTo>
                  <a:lnTo>
                    <a:pt x="1290997" y="260883"/>
                  </a:lnTo>
                  <a:lnTo>
                    <a:pt x="1260873" y="227220"/>
                  </a:lnTo>
                  <a:lnTo>
                    <a:pt x="1229342" y="195546"/>
                  </a:lnTo>
                  <a:lnTo>
                    <a:pt x="1196470" y="165941"/>
                  </a:lnTo>
                  <a:lnTo>
                    <a:pt x="1162321" y="138488"/>
                  </a:lnTo>
                  <a:lnTo>
                    <a:pt x="1126961" y="113265"/>
                  </a:lnTo>
                  <a:lnTo>
                    <a:pt x="1090454" y="90355"/>
                  </a:lnTo>
                  <a:lnTo>
                    <a:pt x="1052866" y="69838"/>
                  </a:lnTo>
                  <a:lnTo>
                    <a:pt x="1014262" y="51794"/>
                  </a:lnTo>
                  <a:lnTo>
                    <a:pt x="1000290" y="46323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1"/>
            <p:cNvSpPr/>
            <p:nvPr/>
          </p:nvSpPr>
          <p:spPr>
            <a:xfrm>
              <a:off x="4956215" y="730541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1"/>
            <p:cNvSpPr/>
            <p:nvPr/>
          </p:nvSpPr>
          <p:spPr>
            <a:xfrm>
              <a:off x="3790638" y="7284155"/>
              <a:ext cx="1189355" cy="1684020"/>
            </a:xfrm>
            <a:custGeom>
              <a:avLst/>
              <a:gdLst/>
              <a:ahLst/>
              <a:cxnLst/>
              <a:rect l="l" t="t" r="r" b="b"/>
              <a:pathLst>
                <a:path w="1189354" h="1684020" extrusionOk="0">
                  <a:moveTo>
                    <a:pt x="23151" y="0"/>
                  </a:moveTo>
                  <a:lnTo>
                    <a:pt x="0" y="0"/>
                  </a:lnTo>
                  <a:lnTo>
                    <a:pt x="0" y="46857"/>
                  </a:lnTo>
                  <a:lnTo>
                    <a:pt x="23151" y="46857"/>
                  </a:lnTo>
                  <a:lnTo>
                    <a:pt x="23151" y="0"/>
                  </a:lnTo>
                  <a:close/>
                </a:path>
                <a:path w="1189354" h="1684020" extrusionOk="0">
                  <a:moveTo>
                    <a:pt x="1188738" y="79641"/>
                  </a:moveTo>
                  <a:lnTo>
                    <a:pt x="1165577" y="79641"/>
                  </a:lnTo>
                  <a:lnTo>
                    <a:pt x="1165577" y="126477"/>
                  </a:lnTo>
                  <a:lnTo>
                    <a:pt x="1188738" y="126477"/>
                  </a:lnTo>
                  <a:lnTo>
                    <a:pt x="1188738" y="79641"/>
                  </a:lnTo>
                  <a:close/>
                </a:path>
                <a:path w="1189354" h="1684020" extrusionOk="0">
                  <a:moveTo>
                    <a:pt x="23151" y="93672"/>
                  </a:moveTo>
                  <a:lnTo>
                    <a:pt x="0" y="93672"/>
                  </a:lnTo>
                  <a:lnTo>
                    <a:pt x="0" y="140498"/>
                  </a:lnTo>
                  <a:lnTo>
                    <a:pt x="23151" y="140498"/>
                  </a:lnTo>
                  <a:lnTo>
                    <a:pt x="23151" y="93672"/>
                  </a:lnTo>
                  <a:close/>
                </a:path>
                <a:path w="1189354" h="1684020" extrusionOk="0">
                  <a:moveTo>
                    <a:pt x="1188738" y="173303"/>
                  </a:moveTo>
                  <a:lnTo>
                    <a:pt x="1165577" y="173303"/>
                  </a:lnTo>
                  <a:lnTo>
                    <a:pt x="1165577" y="220129"/>
                  </a:lnTo>
                  <a:lnTo>
                    <a:pt x="1188738" y="220129"/>
                  </a:lnTo>
                  <a:lnTo>
                    <a:pt x="1188738" y="173303"/>
                  </a:lnTo>
                  <a:close/>
                </a:path>
                <a:path w="1189354" h="1684020" extrusionOk="0">
                  <a:moveTo>
                    <a:pt x="23151" y="187345"/>
                  </a:moveTo>
                  <a:lnTo>
                    <a:pt x="0" y="187345"/>
                  </a:lnTo>
                  <a:lnTo>
                    <a:pt x="0" y="234149"/>
                  </a:lnTo>
                  <a:lnTo>
                    <a:pt x="23151" y="234149"/>
                  </a:lnTo>
                  <a:lnTo>
                    <a:pt x="23151" y="187345"/>
                  </a:lnTo>
                  <a:close/>
                </a:path>
                <a:path w="1189354" h="1684020" extrusionOk="0">
                  <a:moveTo>
                    <a:pt x="1188738" y="266976"/>
                  </a:moveTo>
                  <a:lnTo>
                    <a:pt x="1165577" y="266976"/>
                  </a:lnTo>
                  <a:lnTo>
                    <a:pt x="1165577" y="313791"/>
                  </a:lnTo>
                  <a:lnTo>
                    <a:pt x="1188738" y="313791"/>
                  </a:lnTo>
                  <a:lnTo>
                    <a:pt x="1188738" y="266976"/>
                  </a:lnTo>
                  <a:close/>
                </a:path>
                <a:path w="1189354" h="1684020" extrusionOk="0">
                  <a:moveTo>
                    <a:pt x="23151" y="280986"/>
                  </a:moveTo>
                  <a:lnTo>
                    <a:pt x="0" y="280986"/>
                  </a:lnTo>
                  <a:lnTo>
                    <a:pt x="0" y="327822"/>
                  </a:lnTo>
                  <a:lnTo>
                    <a:pt x="23151" y="327822"/>
                  </a:lnTo>
                  <a:lnTo>
                    <a:pt x="23151" y="280986"/>
                  </a:lnTo>
                  <a:close/>
                </a:path>
                <a:path w="1189354" h="1684020" extrusionOk="0">
                  <a:moveTo>
                    <a:pt x="1188738" y="360606"/>
                  </a:moveTo>
                  <a:lnTo>
                    <a:pt x="1165577" y="360606"/>
                  </a:lnTo>
                  <a:lnTo>
                    <a:pt x="1165577" y="407432"/>
                  </a:lnTo>
                  <a:lnTo>
                    <a:pt x="1188738" y="407432"/>
                  </a:lnTo>
                  <a:lnTo>
                    <a:pt x="1188738" y="360606"/>
                  </a:lnTo>
                  <a:close/>
                </a:path>
                <a:path w="1189354" h="1684020" extrusionOk="0">
                  <a:moveTo>
                    <a:pt x="23151" y="374648"/>
                  </a:moveTo>
                  <a:lnTo>
                    <a:pt x="0" y="374648"/>
                  </a:lnTo>
                  <a:lnTo>
                    <a:pt x="0" y="421484"/>
                  </a:lnTo>
                  <a:lnTo>
                    <a:pt x="23151" y="421484"/>
                  </a:lnTo>
                  <a:lnTo>
                    <a:pt x="23151" y="374648"/>
                  </a:lnTo>
                  <a:close/>
                </a:path>
                <a:path w="1189354" h="1684020" extrusionOk="0">
                  <a:moveTo>
                    <a:pt x="1188738" y="454279"/>
                  </a:moveTo>
                  <a:lnTo>
                    <a:pt x="1165577" y="454279"/>
                  </a:lnTo>
                  <a:lnTo>
                    <a:pt x="1165577" y="501094"/>
                  </a:lnTo>
                  <a:lnTo>
                    <a:pt x="1188738" y="501094"/>
                  </a:lnTo>
                  <a:lnTo>
                    <a:pt x="1188738" y="454279"/>
                  </a:lnTo>
                  <a:close/>
                </a:path>
                <a:path w="1189354" h="1684020" extrusionOk="0">
                  <a:moveTo>
                    <a:pt x="23151" y="468289"/>
                  </a:moveTo>
                  <a:lnTo>
                    <a:pt x="0" y="468289"/>
                  </a:lnTo>
                  <a:lnTo>
                    <a:pt x="0" y="515125"/>
                  </a:lnTo>
                  <a:lnTo>
                    <a:pt x="23151" y="515125"/>
                  </a:lnTo>
                  <a:lnTo>
                    <a:pt x="23151" y="468289"/>
                  </a:lnTo>
                  <a:close/>
                </a:path>
                <a:path w="1189354" h="1684020" extrusionOk="0">
                  <a:moveTo>
                    <a:pt x="1188738" y="547951"/>
                  </a:moveTo>
                  <a:lnTo>
                    <a:pt x="1165577" y="547951"/>
                  </a:lnTo>
                  <a:lnTo>
                    <a:pt x="1165577" y="594735"/>
                  </a:lnTo>
                  <a:lnTo>
                    <a:pt x="1188738" y="594735"/>
                  </a:lnTo>
                  <a:lnTo>
                    <a:pt x="1188738" y="547951"/>
                  </a:lnTo>
                  <a:close/>
                </a:path>
                <a:path w="1189354" h="1684020" extrusionOk="0">
                  <a:moveTo>
                    <a:pt x="23151" y="561951"/>
                  </a:moveTo>
                  <a:lnTo>
                    <a:pt x="0" y="561951"/>
                  </a:lnTo>
                  <a:lnTo>
                    <a:pt x="0" y="608777"/>
                  </a:lnTo>
                  <a:lnTo>
                    <a:pt x="23151" y="608777"/>
                  </a:lnTo>
                  <a:lnTo>
                    <a:pt x="23151" y="561951"/>
                  </a:lnTo>
                  <a:close/>
                </a:path>
                <a:path w="1189354" h="1684020" extrusionOk="0">
                  <a:moveTo>
                    <a:pt x="1188738" y="641593"/>
                  </a:moveTo>
                  <a:lnTo>
                    <a:pt x="1165577" y="641593"/>
                  </a:lnTo>
                  <a:lnTo>
                    <a:pt x="1165577" y="688408"/>
                  </a:lnTo>
                  <a:lnTo>
                    <a:pt x="1188738" y="688408"/>
                  </a:lnTo>
                  <a:lnTo>
                    <a:pt x="1188738" y="641593"/>
                  </a:lnTo>
                  <a:close/>
                </a:path>
                <a:path w="1189354" h="1684020" extrusionOk="0">
                  <a:moveTo>
                    <a:pt x="23151" y="655613"/>
                  </a:moveTo>
                  <a:lnTo>
                    <a:pt x="0" y="655613"/>
                  </a:lnTo>
                  <a:lnTo>
                    <a:pt x="0" y="702439"/>
                  </a:lnTo>
                  <a:lnTo>
                    <a:pt x="23151" y="702439"/>
                  </a:lnTo>
                  <a:lnTo>
                    <a:pt x="23151" y="655613"/>
                  </a:lnTo>
                  <a:close/>
                </a:path>
                <a:path w="1189354" h="1684020" extrusionOk="0">
                  <a:moveTo>
                    <a:pt x="1188738" y="735255"/>
                  </a:moveTo>
                  <a:lnTo>
                    <a:pt x="1165577" y="735255"/>
                  </a:lnTo>
                  <a:lnTo>
                    <a:pt x="1165577" y="782091"/>
                  </a:lnTo>
                  <a:lnTo>
                    <a:pt x="1188738" y="782091"/>
                  </a:lnTo>
                  <a:lnTo>
                    <a:pt x="1188738" y="735255"/>
                  </a:lnTo>
                  <a:close/>
                </a:path>
                <a:path w="1189354" h="1684020" extrusionOk="0">
                  <a:moveTo>
                    <a:pt x="23151" y="749265"/>
                  </a:moveTo>
                  <a:lnTo>
                    <a:pt x="0" y="749265"/>
                  </a:lnTo>
                  <a:lnTo>
                    <a:pt x="0" y="796080"/>
                  </a:lnTo>
                  <a:lnTo>
                    <a:pt x="23151" y="796080"/>
                  </a:lnTo>
                  <a:lnTo>
                    <a:pt x="23151" y="749265"/>
                  </a:lnTo>
                  <a:close/>
                </a:path>
                <a:path w="1189354" h="1684020" extrusionOk="0">
                  <a:moveTo>
                    <a:pt x="1188738" y="828885"/>
                  </a:moveTo>
                  <a:lnTo>
                    <a:pt x="1165577" y="828885"/>
                  </a:lnTo>
                  <a:lnTo>
                    <a:pt x="1165577" y="875753"/>
                  </a:lnTo>
                  <a:lnTo>
                    <a:pt x="1188738" y="875753"/>
                  </a:lnTo>
                  <a:lnTo>
                    <a:pt x="1188738" y="828885"/>
                  </a:lnTo>
                  <a:close/>
                </a:path>
                <a:path w="1189354" h="1684020" extrusionOk="0">
                  <a:moveTo>
                    <a:pt x="23151" y="842906"/>
                  </a:moveTo>
                  <a:lnTo>
                    <a:pt x="0" y="842906"/>
                  </a:lnTo>
                  <a:lnTo>
                    <a:pt x="0" y="889753"/>
                  </a:lnTo>
                  <a:lnTo>
                    <a:pt x="23151" y="889753"/>
                  </a:lnTo>
                  <a:lnTo>
                    <a:pt x="23151" y="842906"/>
                  </a:lnTo>
                  <a:close/>
                </a:path>
                <a:path w="1189354" h="1684020" extrusionOk="0">
                  <a:moveTo>
                    <a:pt x="1188738" y="922568"/>
                  </a:moveTo>
                  <a:lnTo>
                    <a:pt x="1165577" y="922568"/>
                  </a:lnTo>
                  <a:lnTo>
                    <a:pt x="1165577" y="969415"/>
                  </a:lnTo>
                  <a:lnTo>
                    <a:pt x="1188738" y="969415"/>
                  </a:lnTo>
                  <a:lnTo>
                    <a:pt x="1188738" y="922568"/>
                  </a:lnTo>
                  <a:close/>
                </a:path>
                <a:path w="1189354" h="1684020" extrusionOk="0">
                  <a:moveTo>
                    <a:pt x="23151" y="936568"/>
                  </a:moveTo>
                  <a:lnTo>
                    <a:pt x="0" y="936568"/>
                  </a:lnTo>
                  <a:lnTo>
                    <a:pt x="20" y="983477"/>
                  </a:lnTo>
                  <a:lnTo>
                    <a:pt x="23161" y="983341"/>
                  </a:lnTo>
                  <a:lnTo>
                    <a:pt x="23151" y="936568"/>
                  </a:lnTo>
                  <a:close/>
                </a:path>
                <a:path w="1189354" h="1684020" extrusionOk="0">
                  <a:moveTo>
                    <a:pt x="1164697" y="1015675"/>
                  </a:moveTo>
                  <a:lnTo>
                    <a:pt x="1164072" y="1027257"/>
                  </a:lnTo>
                  <a:lnTo>
                    <a:pt x="1163291" y="1038791"/>
                  </a:lnTo>
                  <a:lnTo>
                    <a:pt x="1162350" y="1050280"/>
                  </a:lnTo>
                  <a:lnTo>
                    <a:pt x="1161242" y="1061726"/>
                  </a:lnTo>
                  <a:lnTo>
                    <a:pt x="1184330" y="1064061"/>
                  </a:lnTo>
                  <a:lnTo>
                    <a:pt x="1185432" y="1052317"/>
                  </a:lnTo>
                  <a:lnTo>
                    <a:pt x="1186390" y="1040518"/>
                  </a:lnTo>
                  <a:lnTo>
                    <a:pt x="1187195" y="1028663"/>
                  </a:lnTo>
                  <a:lnTo>
                    <a:pt x="1187838" y="1016754"/>
                  </a:lnTo>
                  <a:lnTo>
                    <a:pt x="1164697" y="1015675"/>
                  </a:lnTo>
                  <a:close/>
                </a:path>
                <a:path w="1189354" h="1684020" extrusionOk="0">
                  <a:moveTo>
                    <a:pt x="24795" y="1029486"/>
                  </a:moveTo>
                  <a:lnTo>
                    <a:pt x="1675" y="1030942"/>
                  </a:lnTo>
                  <a:lnTo>
                    <a:pt x="2499" y="1042849"/>
                  </a:lnTo>
                  <a:lnTo>
                    <a:pt x="3495" y="1054694"/>
                  </a:lnTo>
                  <a:lnTo>
                    <a:pt x="4662" y="1066474"/>
                  </a:lnTo>
                  <a:lnTo>
                    <a:pt x="5999" y="1078187"/>
                  </a:lnTo>
                  <a:lnTo>
                    <a:pt x="28993" y="1075443"/>
                  </a:lnTo>
                  <a:lnTo>
                    <a:pt x="27712" y="1064028"/>
                  </a:lnTo>
                  <a:lnTo>
                    <a:pt x="26584" y="1052567"/>
                  </a:lnTo>
                  <a:lnTo>
                    <a:pt x="25611" y="1041055"/>
                  </a:lnTo>
                  <a:lnTo>
                    <a:pt x="24795" y="1029486"/>
                  </a:lnTo>
                  <a:close/>
                </a:path>
                <a:path w="1189354" h="1684020" extrusionOk="0">
                  <a:moveTo>
                    <a:pt x="1155221" y="1107474"/>
                  </a:moveTo>
                  <a:lnTo>
                    <a:pt x="1153295" y="1118910"/>
                  </a:lnTo>
                  <a:lnTo>
                    <a:pt x="1151218" y="1130271"/>
                  </a:lnTo>
                  <a:lnTo>
                    <a:pt x="1148981" y="1141558"/>
                  </a:lnTo>
                  <a:lnTo>
                    <a:pt x="1146572" y="1152771"/>
                  </a:lnTo>
                  <a:lnTo>
                    <a:pt x="1169189" y="1157797"/>
                  </a:lnTo>
                  <a:lnTo>
                    <a:pt x="1171659" y="1146235"/>
                  </a:lnTo>
                  <a:lnTo>
                    <a:pt x="1173962" y="1134604"/>
                  </a:lnTo>
                  <a:lnTo>
                    <a:pt x="1176099" y="1122902"/>
                  </a:lnTo>
                  <a:lnTo>
                    <a:pt x="1178068" y="1111128"/>
                  </a:lnTo>
                  <a:lnTo>
                    <a:pt x="1155221" y="1107474"/>
                  </a:lnTo>
                  <a:close/>
                </a:path>
                <a:path w="1189354" h="1684020" extrusionOk="0">
                  <a:moveTo>
                    <a:pt x="35789" y="1121065"/>
                  </a:moveTo>
                  <a:lnTo>
                    <a:pt x="12994" y="1125180"/>
                  </a:lnTo>
                  <a:lnTo>
                    <a:pt x="15196" y="1136904"/>
                  </a:lnTo>
                  <a:lnTo>
                    <a:pt x="17555" y="1148560"/>
                  </a:lnTo>
                  <a:lnTo>
                    <a:pt x="20066" y="1160144"/>
                  </a:lnTo>
                  <a:lnTo>
                    <a:pt x="22721" y="1171650"/>
                  </a:lnTo>
                  <a:lnTo>
                    <a:pt x="45286" y="1166236"/>
                  </a:lnTo>
                  <a:lnTo>
                    <a:pt x="42665" y="1155061"/>
                  </a:lnTo>
                  <a:lnTo>
                    <a:pt x="40208" y="1143808"/>
                  </a:lnTo>
                  <a:lnTo>
                    <a:pt x="37915" y="1132475"/>
                  </a:lnTo>
                  <a:lnTo>
                    <a:pt x="35789" y="1121065"/>
                  </a:lnTo>
                  <a:close/>
                </a:path>
                <a:path w="1189354" h="1684020" extrusionOk="0">
                  <a:moveTo>
                    <a:pt x="1135295" y="1197513"/>
                  </a:moveTo>
                  <a:lnTo>
                    <a:pt x="1132014" y="1208625"/>
                  </a:lnTo>
                  <a:lnTo>
                    <a:pt x="1128592" y="1219655"/>
                  </a:lnTo>
                  <a:lnTo>
                    <a:pt x="1125027" y="1230601"/>
                  </a:lnTo>
                  <a:lnTo>
                    <a:pt x="1121316" y="1241459"/>
                  </a:lnTo>
                  <a:lnTo>
                    <a:pt x="1143148" y="1249134"/>
                  </a:lnTo>
                  <a:lnTo>
                    <a:pt x="1146998" y="1237950"/>
                  </a:lnTo>
                  <a:lnTo>
                    <a:pt x="1150680" y="1226670"/>
                  </a:lnTo>
                  <a:lnTo>
                    <a:pt x="1154196" y="1215298"/>
                  </a:lnTo>
                  <a:lnTo>
                    <a:pt x="1157545" y="1203837"/>
                  </a:lnTo>
                  <a:lnTo>
                    <a:pt x="1135295" y="1197513"/>
                  </a:lnTo>
                  <a:close/>
                </a:path>
                <a:path w="1189354" h="1684020" extrusionOk="0">
                  <a:moveTo>
                    <a:pt x="57359" y="1210748"/>
                  </a:moveTo>
                  <a:lnTo>
                    <a:pt x="35161" y="1217481"/>
                  </a:lnTo>
                  <a:lnTo>
                    <a:pt x="38742" y="1228880"/>
                  </a:lnTo>
                  <a:lnTo>
                    <a:pt x="42477" y="1240183"/>
                  </a:lnTo>
                  <a:lnTo>
                    <a:pt x="46357" y="1251393"/>
                  </a:lnTo>
                  <a:lnTo>
                    <a:pt x="50375" y="1262516"/>
                  </a:lnTo>
                  <a:lnTo>
                    <a:pt x="72092" y="1254474"/>
                  </a:lnTo>
                  <a:lnTo>
                    <a:pt x="68173" y="1243678"/>
                  </a:lnTo>
                  <a:lnTo>
                    <a:pt x="64419" y="1232792"/>
                  </a:lnTo>
                  <a:lnTo>
                    <a:pt x="60818" y="1221815"/>
                  </a:lnTo>
                  <a:lnTo>
                    <a:pt x="57359" y="1210748"/>
                  </a:lnTo>
                  <a:close/>
                </a:path>
                <a:path w="1189354" h="1684020" extrusionOk="0">
                  <a:moveTo>
                    <a:pt x="1104720" y="1284484"/>
                  </a:moveTo>
                  <a:lnTo>
                    <a:pt x="1100157" y="1295111"/>
                  </a:lnTo>
                  <a:lnTo>
                    <a:pt x="1095429" y="1305633"/>
                  </a:lnTo>
                  <a:lnTo>
                    <a:pt x="1090549" y="1316048"/>
                  </a:lnTo>
                  <a:lnTo>
                    <a:pt x="1085527" y="1326357"/>
                  </a:lnTo>
                  <a:lnTo>
                    <a:pt x="1106259" y="1336681"/>
                  </a:lnTo>
                  <a:lnTo>
                    <a:pt x="1111428" y="1326060"/>
                  </a:lnTo>
                  <a:lnTo>
                    <a:pt x="1116456" y="1315313"/>
                  </a:lnTo>
                  <a:lnTo>
                    <a:pt x="1121342" y="1304452"/>
                  </a:lnTo>
                  <a:lnTo>
                    <a:pt x="1126080" y="1293489"/>
                  </a:lnTo>
                  <a:lnTo>
                    <a:pt x="1104720" y="1284484"/>
                  </a:lnTo>
                  <a:close/>
                </a:path>
                <a:path w="1189354" h="1684020" extrusionOk="0">
                  <a:moveTo>
                    <a:pt x="89473" y="1297175"/>
                  </a:moveTo>
                  <a:lnTo>
                    <a:pt x="68301" y="1306546"/>
                  </a:lnTo>
                  <a:lnTo>
                    <a:pt x="73220" y="1317448"/>
                  </a:lnTo>
                  <a:lnTo>
                    <a:pt x="78301" y="1328223"/>
                  </a:lnTo>
                  <a:lnTo>
                    <a:pt x="83538" y="1338870"/>
                  </a:lnTo>
                  <a:lnTo>
                    <a:pt x="88929" y="1349382"/>
                  </a:lnTo>
                  <a:lnTo>
                    <a:pt x="109494" y="1338671"/>
                  </a:lnTo>
                  <a:lnTo>
                    <a:pt x="104266" y="1328466"/>
                  </a:lnTo>
                  <a:lnTo>
                    <a:pt x="99185" y="1318147"/>
                  </a:lnTo>
                  <a:lnTo>
                    <a:pt x="94254" y="1307715"/>
                  </a:lnTo>
                  <a:lnTo>
                    <a:pt x="89473" y="1297175"/>
                  </a:lnTo>
                  <a:close/>
                </a:path>
                <a:path w="1189354" h="1684020" extrusionOk="0">
                  <a:moveTo>
                    <a:pt x="1063674" y="1366932"/>
                  </a:moveTo>
                  <a:lnTo>
                    <a:pt x="1057783" y="1376872"/>
                  </a:lnTo>
                  <a:lnTo>
                    <a:pt x="1051724" y="1386707"/>
                  </a:lnTo>
                  <a:lnTo>
                    <a:pt x="1045527" y="1396403"/>
                  </a:lnTo>
                  <a:lnTo>
                    <a:pt x="1039224" y="1405925"/>
                  </a:lnTo>
                  <a:lnTo>
                    <a:pt x="1058438" y="1418920"/>
                  </a:lnTo>
                  <a:lnTo>
                    <a:pt x="1064958" y="1409052"/>
                  </a:lnTo>
                  <a:lnTo>
                    <a:pt x="1071356" y="1399012"/>
                  </a:lnTo>
                  <a:lnTo>
                    <a:pt x="1077606" y="1388834"/>
                  </a:lnTo>
                  <a:lnTo>
                    <a:pt x="1083684" y="1378554"/>
                  </a:lnTo>
                  <a:lnTo>
                    <a:pt x="1063674" y="1366932"/>
                  </a:lnTo>
                  <a:close/>
                </a:path>
                <a:path w="1189354" h="1684020" extrusionOk="0">
                  <a:moveTo>
                    <a:pt x="132090" y="1378795"/>
                  </a:moveTo>
                  <a:lnTo>
                    <a:pt x="112321" y="1390816"/>
                  </a:lnTo>
                  <a:lnTo>
                    <a:pt x="118568" y="1400931"/>
                  </a:lnTo>
                  <a:lnTo>
                    <a:pt x="125017" y="1410959"/>
                  </a:lnTo>
                  <a:lnTo>
                    <a:pt x="131631" y="1420866"/>
                  </a:lnTo>
                  <a:lnTo>
                    <a:pt x="138372" y="1430616"/>
                  </a:lnTo>
                  <a:lnTo>
                    <a:pt x="157325" y="1417286"/>
                  </a:lnTo>
                  <a:lnTo>
                    <a:pt x="150786" y="1407856"/>
                  </a:lnTo>
                  <a:lnTo>
                    <a:pt x="144381" y="1398268"/>
                  </a:lnTo>
                  <a:lnTo>
                    <a:pt x="138140" y="1388567"/>
                  </a:lnTo>
                  <a:lnTo>
                    <a:pt x="132090" y="1378795"/>
                  </a:lnTo>
                  <a:close/>
                </a:path>
                <a:path w="1189354" h="1684020" extrusionOk="0">
                  <a:moveTo>
                    <a:pt x="1012220" y="1443191"/>
                  </a:moveTo>
                  <a:lnTo>
                    <a:pt x="1005057" y="1452236"/>
                  </a:lnTo>
                  <a:lnTo>
                    <a:pt x="997726" y="1461146"/>
                  </a:lnTo>
                  <a:lnTo>
                    <a:pt x="990257" y="1469887"/>
                  </a:lnTo>
                  <a:lnTo>
                    <a:pt x="982682" y="1478426"/>
                  </a:lnTo>
                  <a:lnTo>
                    <a:pt x="999885" y="1493954"/>
                  </a:lnTo>
                  <a:lnTo>
                    <a:pt x="1007730" y="1485068"/>
                  </a:lnTo>
                  <a:lnTo>
                    <a:pt x="1015463" y="1476004"/>
                  </a:lnTo>
                  <a:lnTo>
                    <a:pt x="1023059" y="1466787"/>
                  </a:lnTo>
                  <a:lnTo>
                    <a:pt x="1030492" y="1457442"/>
                  </a:lnTo>
                  <a:lnTo>
                    <a:pt x="1012220" y="1443191"/>
                  </a:lnTo>
                  <a:close/>
                </a:path>
                <a:path w="1189354" h="1684020" extrusionOk="0">
                  <a:moveTo>
                    <a:pt x="185093" y="1453976"/>
                  </a:moveTo>
                  <a:lnTo>
                    <a:pt x="167136" y="1468562"/>
                  </a:lnTo>
                  <a:lnTo>
                    <a:pt x="174756" y="1477776"/>
                  </a:lnTo>
                  <a:lnTo>
                    <a:pt x="182548" y="1486850"/>
                  </a:lnTo>
                  <a:lnTo>
                    <a:pt x="190479" y="1495750"/>
                  </a:lnTo>
                  <a:lnTo>
                    <a:pt x="198517" y="1504446"/>
                  </a:lnTo>
                  <a:lnTo>
                    <a:pt x="215386" y="1488572"/>
                  </a:lnTo>
                  <a:lnTo>
                    <a:pt x="207615" y="1480182"/>
                  </a:lnTo>
                  <a:lnTo>
                    <a:pt x="199961" y="1471592"/>
                  </a:lnTo>
                  <a:lnTo>
                    <a:pt x="192446" y="1462844"/>
                  </a:lnTo>
                  <a:lnTo>
                    <a:pt x="185093" y="1453976"/>
                  </a:lnTo>
                  <a:close/>
                </a:path>
                <a:path w="1189354" h="1684020" extrusionOk="0">
                  <a:moveTo>
                    <a:pt x="950662" y="1511419"/>
                  </a:moveTo>
                  <a:lnTo>
                    <a:pt x="942285" y="1519265"/>
                  </a:lnTo>
                  <a:lnTo>
                    <a:pt x="933745" y="1526977"/>
                  </a:lnTo>
                  <a:lnTo>
                    <a:pt x="925069" y="1534520"/>
                  </a:lnTo>
                  <a:lnTo>
                    <a:pt x="916286" y="1541858"/>
                  </a:lnTo>
                  <a:lnTo>
                    <a:pt x="930976" y="1559774"/>
                  </a:lnTo>
                  <a:lnTo>
                    <a:pt x="940107" y="1552133"/>
                  </a:lnTo>
                  <a:lnTo>
                    <a:pt x="949119" y="1544301"/>
                  </a:lnTo>
                  <a:lnTo>
                    <a:pt x="957983" y="1536300"/>
                  </a:lnTo>
                  <a:lnTo>
                    <a:pt x="966672" y="1528152"/>
                  </a:lnTo>
                  <a:lnTo>
                    <a:pt x="950662" y="1511419"/>
                  </a:lnTo>
                  <a:close/>
                </a:path>
                <a:path w="1189354" h="1684020" extrusionOk="0">
                  <a:moveTo>
                    <a:pt x="248107" y="1520780"/>
                  </a:moveTo>
                  <a:lnTo>
                    <a:pt x="232485" y="1537879"/>
                  </a:lnTo>
                  <a:lnTo>
                    <a:pt x="241387" y="1545878"/>
                  </a:lnTo>
                  <a:lnTo>
                    <a:pt x="250462" y="1553694"/>
                  </a:lnTo>
                  <a:lnTo>
                    <a:pt x="259668" y="1561305"/>
                  </a:lnTo>
                  <a:lnTo>
                    <a:pt x="268965" y="1568685"/>
                  </a:lnTo>
                  <a:lnTo>
                    <a:pt x="283185" y="1550403"/>
                  </a:lnTo>
                  <a:lnTo>
                    <a:pt x="274233" y="1543300"/>
                  </a:lnTo>
                  <a:lnTo>
                    <a:pt x="265383" y="1535984"/>
                  </a:lnTo>
                  <a:lnTo>
                    <a:pt x="256664" y="1528472"/>
                  </a:lnTo>
                  <a:lnTo>
                    <a:pt x="248107" y="1520780"/>
                  </a:lnTo>
                  <a:close/>
                </a:path>
                <a:path w="1189354" h="1684020" extrusionOk="0">
                  <a:moveTo>
                    <a:pt x="879627" y="1569407"/>
                  </a:moveTo>
                  <a:lnTo>
                    <a:pt x="870046" y="1575878"/>
                  </a:lnTo>
                  <a:lnTo>
                    <a:pt x="860365" y="1582129"/>
                  </a:lnTo>
                  <a:lnTo>
                    <a:pt x="850618" y="1588137"/>
                  </a:lnTo>
                  <a:lnTo>
                    <a:pt x="840843" y="1593878"/>
                  </a:lnTo>
                  <a:lnTo>
                    <a:pt x="852340" y="1614003"/>
                  </a:lnTo>
                  <a:lnTo>
                    <a:pt x="862568" y="1608001"/>
                  </a:lnTo>
                  <a:lnTo>
                    <a:pt x="872737" y="1601731"/>
                  </a:lnTo>
                  <a:lnTo>
                    <a:pt x="882820" y="1595217"/>
                  </a:lnTo>
                  <a:lnTo>
                    <a:pt x="892789" y="1588485"/>
                  </a:lnTo>
                  <a:lnTo>
                    <a:pt x="879627" y="1569407"/>
                  </a:lnTo>
                  <a:close/>
                </a:path>
                <a:path w="1189354" h="1684020" extrusionOk="0">
                  <a:moveTo>
                    <a:pt x="320492" y="1577103"/>
                  </a:moveTo>
                  <a:lnTo>
                    <a:pt x="307781" y="1596454"/>
                  </a:lnTo>
                  <a:lnTo>
                    <a:pt x="317909" y="1602932"/>
                  </a:lnTo>
                  <a:lnTo>
                    <a:pt x="328147" y="1609187"/>
                  </a:lnTo>
                  <a:lnTo>
                    <a:pt x="338455" y="1615194"/>
                  </a:lnTo>
                  <a:lnTo>
                    <a:pt x="348795" y="1620924"/>
                  </a:lnTo>
                  <a:lnTo>
                    <a:pt x="359779" y="1600527"/>
                  </a:lnTo>
                  <a:lnTo>
                    <a:pt x="349870" y="1595035"/>
                  </a:lnTo>
                  <a:lnTo>
                    <a:pt x="339998" y="1589286"/>
                  </a:lnTo>
                  <a:lnTo>
                    <a:pt x="330196" y="1583302"/>
                  </a:lnTo>
                  <a:lnTo>
                    <a:pt x="320492" y="1577103"/>
                  </a:lnTo>
                  <a:close/>
                </a:path>
                <a:path w="1189354" h="1684020" extrusionOk="0">
                  <a:moveTo>
                    <a:pt x="800153" y="1614956"/>
                  </a:moveTo>
                  <a:lnTo>
                    <a:pt x="789673" y="1619652"/>
                  </a:lnTo>
                  <a:lnTo>
                    <a:pt x="779101" y="1624104"/>
                  </a:lnTo>
                  <a:lnTo>
                    <a:pt x="768474" y="1628302"/>
                  </a:lnTo>
                  <a:lnTo>
                    <a:pt x="757830" y="1632233"/>
                  </a:lnTo>
                  <a:lnTo>
                    <a:pt x="765610" y="1654085"/>
                  </a:lnTo>
                  <a:lnTo>
                    <a:pt x="776744" y="1649947"/>
                  </a:lnTo>
                  <a:lnTo>
                    <a:pt x="787856" y="1645541"/>
                  </a:lnTo>
                  <a:lnTo>
                    <a:pt x="798915" y="1640868"/>
                  </a:lnTo>
                  <a:lnTo>
                    <a:pt x="809891" y="1635929"/>
                  </a:lnTo>
                  <a:lnTo>
                    <a:pt x="800153" y="1614956"/>
                  </a:lnTo>
                  <a:close/>
                </a:path>
                <a:path w="1189354" h="1684020" extrusionOk="0">
                  <a:moveTo>
                    <a:pt x="400930" y="1620474"/>
                  </a:moveTo>
                  <a:lnTo>
                    <a:pt x="425263" y="1654810"/>
                  </a:lnTo>
                  <a:lnTo>
                    <a:pt x="436552" y="1658651"/>
                  </a:lnTo>
                  <a:lnTo>
                    <a:pt x="443745" y="1636609"/>
                  </a:lnTo>
                  <a:lnTo>
                    <a:pt x="432946" y="1632956"/>
                  </a:lnTo>
                  <a:lnTo>
                    <a:pt x="422184" y="1629040"/>
                  </a:lnTo>
                  <a:lnTo>
                    <a:pt x="411500" y="1624875"/>
                  </a:lnTo>
                  <a:lnTo>
                    <a:pt x="400930" y="1620474"/>
                  </a:lnTo>
                  <a:close/>
                </a:path>
                <a:path w="1189354" h="1684020" extrusionOk="0">
                  <a:moveTo>
                    <a:pt x="714114" y="1645583"/>
                  </a:moveTo>
                  <a:lnTo>
                    <a:pt x="702983" y="1648293"/>
                  </a:lnTo>
                  <a:lnTo>
                    <a:pt x="691799" y="1650732"/>
                  </a:lnTo>
                  <a:lnTo>
                    <a:pt x="680605" y="1652892"/>
                  </a:lnTo>
                  <a:lnTo>
                    <a:pt x="669445" y="1654766"/>
                  </a:lnTo>
                  <a:lnTo>
                    <a:pt x="672995" y="1677655"/>
                  </a:lnTo>
                  <a:lnTo>
                    <a:pt x="684716" y="1675698"/>
                  </a:lnTo>
                  <a:lnTo>
                    <a:pt x="696456" y="1673429"/>
                  </a:lnTo>
                  <a:lnTo>
                    <a:pt x="708182" y="1670860"/>
                  </a:lnTo>
                  <a:lnTo>
                    <a:pt x="719862" y="1668001"/>
                  </a:lnTo>
                  <a:lnTo>
                    <a:pt x="714114" y="1645583"/>
                  </a:lnTo>
                  <a:close/>
                </a:path>
                <a:path w="1189354" h="1684020" extrusionOk="0">
                  <a:moveTo>
                    <a:pt x="487796" y="1648787"/>
                  </a:moveTo>
                  <a:lnTo>
                    <a:pt x="518052" y="1678047"/>
                  </a:lnTo>
                  <a:lnTo>
                    <a:pt x="529847" y="1679687"/>
                  </a:lnTo>
                  <a:lnTo>
                    <a:pt x="532790" y="1656703"/>
                  </a:lnTo>
                  <a:lnTo>
                    <a:pt x="521536" y="1655130"/>
                  </a:lnTo>
                  <a:lnTo>
                    <a:pt x="510261" y="1653279"/>
                  </a:lnTo>
                  <a:lnTo>
                    <a:pt x="499002" y="1651161"/>
                  </a:lnTo>
                  <a:lnTo>
                    <a:pt x="487796" y="1648787"/>
                  </a:lnTo>
                  <a:close/>
                </a:path>
                <a:path w="1189354" h="1684020" extrusionOk="0">
                  <a:moveTo>
                    <a:pt x="578327" y="1660368"/>
                  </a:moveTo>
                  <a:lnTo>
                    <a:pt x="577563" y="1683519"/>
                  </a:lnTo>
                  <a:lnTo>
                    <a:pt x="589540" y="1683785"/>
                  </a:lnTo>
                  <a:lnTo>
                    <a:pt x="601549" y="1683764"/>
                  </a:lnTo>
                  <a:lnTo>
                    <a:pt x="613538" y="1683450"/>
                  </a:lnTo>
                  <a:lnTo>
                    <a:pt x="625457" y="1682838"/>
                  </a:lnTo>
                  <a:lnTo>
                    <a:pt x="624086" y="1660602"/>
                  </a:lnTo>
                  <a:lnTo>
                    <a:pt x="589736" y="1660602"/>
                  </a:lnTo>
                  <a:lnTo>
                    <a:pt x="578327" y="1660368"/>
                  </a:lnTo>
                  <a:close/>
                </a:path>
                <a:path w="1189354" h="1684020" extrusionOk="0">
                  <a:moveTo>
                    <a:pt x="624033" y="1659740"/>
                  </a:moveTo>
                  <a:lnTo>
                    <a:pt x="612636" y="1660282"/>
                  </a:lnTo>
                  <a:lnTo>
                    <a:pt x="601188" y="1660572"/>
                  </a:lnTo>
                  <a:lnTo>
                    <a:pt x="589736" y="1660602"/>
                  </a:lnTo>
                  <a:lnTo>
                    <a:pt x="624086" y="1660602"/>
                  </a:lnTo>
                  <a:lnTo>
                    <a:pt x="624033" y="165974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1"/>
            <p:cNvSpPr/>
            <p:nvPr/>
          </p:nvSpPr>
          <p:spPr>
            <a:xfrm>
              <a:off x="3790638" y="7224355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1"/>
            <p:cNvSpPr/>
            <p:nvPr/>
          </p:nvSpPr>
          <p:spPr>
            <a:xfrm>
              <a:off x="4944634" y="5118608"/>
              <a:ext cx="1987550" cy="2175510"/>
            </a:xfrm>
            <a:custGeom>
              <a:avLst/>
              <a:gdLst/>
              <a:ahLst/>
              <a:cxnLst/>
              <a:rect l="l" t="t" r="r" b="b"/>
              <a:pathLst>
                <a:path w="1987550" h="2175509" extrusionOk="0">
                  <a:moveTo>
                    <a:pt x="1987080" y="0"/>
                  </a:moveTo>
                  <a:lnTo>
                    <a:pt x="949562" y="0"/>
                  </a:lnTo>
                  <a:lnTo>
                    <a:pt x="900770" y="1237"/>
                  </a:lnTo>
                  <a:lnTo>
                    <a:pt x="852610" y="4911"/>
                  </a:lnTo>
                  <a:lnTo>
                    <a:pt x="805143" y="10961"/>
                  </a:lnTo>
                  <a:lnTo>
                    <a:pt x="758428" y="19326"/>
                  </a:lnTo>
                  <a:lnTo>
                    <a:pt x="712526" y="29947"/>
                  </a:lnTo>
                  <a:lnTo>
                    <a:pt x="667497" y="42763"/>
                  </a:lnTo>
                  <a:lnTo>
                    <a:pt x="623400" y="57714"/>
                  </a:lnTo>
                  <a:lnTo>
                    <a:pt x="580296" y="74741"/>
                  </a:lnTo>
                  <a:lnTo>
                    <a:pt x="538246" y="93782"/>
                  </a:lnTo>
                  <a:lnTo>
                    <a:pt x="497308" y="114778"/>
                  </a:lnTo>
                  <a:lnTo>
                    <a:pt x="457544" y="137669"/>
                  </a:lnTo>
                  <a:lnTo>
                    <a:pt x="419014" y="162395"/>
                  </a:lnTo>
                  <a:lnTo>
                    <a:pt x="381777" y="188895"/>
                  </a:lnTo>
                  <a:lnTo>
                    <a:pt x="345893" y="217109"/>
                  </a:lnTo>
                  <a:lnTo>
                    <a:pt x="311424" y="246978"/>
                  </a:lnTo>
                  <a:lnTo>
                    <a:pt x="278428" y="278440"/>
                  </a:lnTo>
                  <a:lnTo>
                    <a:pt x="246967" y="311436"/>
                  </a:lnTo>
                  <a:lnTo>
                    <a:pt x="217099" y="345907"/>
                  </a:lnTo>
                  <a:lnTo>
                    <a:pt x="188886" y="381790"/>
                  </a:lnTo>
                  <a:lnTo>
                    <a:pt x="162387" y="419028"/>
                  </a:lnTo>
                  <a:lnTo>
                    <a:pt x="137662" y="457558"/>
                  </a:lnTo>
                  <a:lnTo>
                    <a:pt x="114772" y="497322"/>
                  </a:lnTo>
                  <a:lnTo>
                    <a:pt x="93777" y="538259"/>
                  </a:lnTo>
                  <a:lnTo>
                    <a:pt x="74736" y="580310"/>
                  </a:lnTo>
                  <a:lnTo>
                    <a:pt x="57711" y="623412"/>
                  </a:lnTo>
                  <a:lnTo>
                    <a:pt x="42760" y="667508"/>
                  </a:lnTo>
                  <a:lnTo>
                    <a:pt x="29945" y="712536"/>
                  </a:lnTo>
                  <a:lnTo>
                    <a:pt x="19325" y="758437"/>
                  </a:lnTo>
                  <a:lnTo>
                    <a:pt x="10960" y="805150"/>
                  </a:lnTo>
                  <a:lnTo>
                    <a:pt x="4911" y="852616"/>
                  </a:lnTo>
                  <a:lnTo>
                    <a:pt x="1237" y="900773"/>
                  </a:lnTo>
                  <a:lnTo>
                    <a:pt x="0" y="949562"/>
                  </a:lnTo>
                  <a:lnTo>
                    <a:pt x="0" y="2175232"/>
                  </a:lnTo>
                  <a:lnTo>
                    <a:pt x="46291" y="2175232"/>
                  </a:lnTo>
                  <a:lnTo>
                    <a:pt x="46291" y="949562"/>
                  </a:lnTo>
                  <a:lnTo>
                    <a:pt x="47546" y="901664"/>
                  </a:lnTo>
                  <a:lnTo>
                    <a:pt x="51267" y="854409"/>
                  </a:lnTo>
                  <a:lnTo>
                    <a:pt x="57393" y="807860"/>
                  </a:lnTo>
                  <a:lnTo>
                    <a:pt x="65860" y="762079"/>
                  </a:lnTo>
                  <a:lnTo>
                    <a:pt x="76606" y="717129"/>
                  </a:lnTo>
                  <a:lnTo>
                    <a:pt x="89566" y="673074"/>
                  </a:lnTo>
                  <a:lnTo>
                    <a:pt x="104680" y="629976"/>
                  </a:lnTo>
                  <a:lnTo>
                    <a:pt x="121883" y="587898"/>
                  </a:lnTo>
                  <a:lnTo>
                    <a:pt x="141112" y="546904"/>
                  </a:lnTo>
                  <a:lnTo>
                    <a:pt x="162305" y="507055"/>
                  </a:lnTo>
                  <a:lnTo>
                    <a:pt x="185400" y="468415"/>
                  </a:lnTo>
                  <a:lnTo>
                    <a:pt x="210332" y="431046"/>
                  </a:lnTo>
                  <a:lnTo>
                    <a:pt x="237039" y="395012"/>
                  </a:lnTo>
                  <a:lnTo>
                    <a:pt x="265458" y="360376"/>
                  </a:lnTo>
                  <a:lnTo>
                    <a:pt x="295526" y="327200"/>
                  </a:lnTo>
                  <a:lnTo>
                    <a:pt x="327180" y="295548"/>
                  </a:lnTo>
                  <a:lnTo>
                    <a:pt x="360358" y="265482"/>
                  </a:lnTo>
                  <a:lnTo>
                    <a:pt x="394997" y="237065"/>
                  </a:lnTo>
                  <a:lnTo>
                    <a:pt x="431032" y="210360"/>
                  </a:lnTo>
                  <a:lnTo>
                    <a:pt x="468402" y="185429"/>
                  </a:lnTo>
                  <a:lnTo>
                    <a:pt x="507044" y="162337"/>
                  </a:lnTo>
                  <a:lnTo>
                    <a:pt x="546895" y="141145"/>
                  </a:lnTo>
                  <a:lnTo>
                    <a:pt x="587891" y="121918"/>
                  </a:lnTo>
                  <a:lnTo>
                    <a:pt x="629971" y="104716"/>
                  </a:lnTo>
                  <a:lnTo>
                    <a:pt x="673070" y="89604"/>
                  </a:lnTo>
                  <a:lnTo>
                    <a:pt x="717127" y="76645"/>
                  </a:lnTo>
                  <a:lnTo>
                    <a:pt x="762077" y="65900"/>
                  </a:lnTo>
                  <a:lnTo>
                    <a:pt x="807859" y="57434"/>
                  </a:lnTo>
                  <a:lnTo>
                    <a:pt x="854409" y="51309"/>
                  </a:lnTo>
                  <a:lnTo>
                    <a:pt x="901664" y="47588"/>
                  </a:lnTo>
                  <a:lnTo>
                    <a:pt x="949562" y="46333"/>
                  </a:lnTo>
                  <a:lnTo>
                    <a:pt x="1987080" y="46333"/>
                  </a:lnTo>
                  <a:lnTo>
                    <a:pt x="1987080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1"/>
          <p:cNvSpPr txBox="1"/>
          <p:nvPr/>
        </p:nvSpPr>
        <p:spPr>
          <a:xfrm>
            <a:off x="3792694" y="81270"/>
            <a:ext cx="14422078" cy="9833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1825625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200" b="0" i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1825625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5400" b="0" i="0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1825625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800" b="0" i="0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1825625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800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1825625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0" i="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Associação Nacional dos Transportadores </a:t>
            </a:r>
            <a:r>
              <a:rPr lang="pt-BR" sz="540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F</a:t>
            </a:r>
            <a:r>
              <a:rPr lang="pt-BR" sz="5400" b="0" i="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erroviários - ANTF</a:t>
            </a:r>
          </a:p>
          <a:p>
            <a:pPr marL="0" marR="1825625" lvl="0" indent="0" algn="ctr" rtl="0">
              <a:spcBef>
                <a:spcPts val="3000"/>
              </a:spcBef>
              <a:spcAft>
                <a:spcPts val="0"/>
              </a:spcAft>
              <a:buNone/>
            </a:pPr>
            <a:endParaRPr lang="pt-BR" sz="4000" b="0" i="0" dirty="0">
              <a:solidFill>
                <a:srgbClr val="FFFFFF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marR="1825625" lvl="0" indent="0" algn="ctr" rtl="0">
              <a:spcBef>
                <a:spcPts val="3000"/>
              </a:spcBef>
              <a:spcAft>
                <a:spcPts val="0"/>
              </a:spcAft>
              <a:buNone/>
            </a:pPr>
            <a:r>
              <a:rPr lang="pt-BR" sz="4800" b="0" i="0" dirty="0">
                <a:solidFill>
                  <a:srgbClr val="FFFFFF"/>
                </a:solidFill>
                <a:latin typeface="Tahoma"/>
                <a:ea typeface="Tahoma"/>
                <a:cs typeface="Tahoma"/>
                <a:sym typeface="Tahoma"/>
              </a:rPr>
              <a:t>Reforma Tributária </a:t>
            </a:r>
          </a:p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pt-BR" sz="3600" b="0" i="1" dirty="0">
              <a:solidFill>
                <a:srgbClr val="FFFFFF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i="1" dirty="0">
                <a:solidFill>
                  <a:srgbClr val="FFFFFF"/>
                </a:solidFill>
                <a:latin typeface="Tahoma"/>
                <a:ea typeface="Tahoma"/>
                <a:cs typeface="Tahoma"/>
                <a:sym typeface="Tahoma"/>
              </a:rPr>
              <a:t>´</a:t>
            </a:r>
          </a:p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600" b="0" i="1" dirty="0">
              <a:solidFill>
                <a:srgbClr val="FFFFFF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b="0" i="0" dirty="0">
                <a:solidFill>
                  <a:srgbClr val="E36C09"/>
                </a:solidFill>
                <a:latin typeface="Tahoma"/>
                <a:ea typeface="Tahoma"/>
                <a:cs typeface="Tahoma"/>
                <a:sym typeface="Tahoma"/>
              </a:rPr>
              <a:t>    Brasília, </a:t>
            </a:r>
            <a:r>
              <a:rPr lang="pt-BR" sz="3000" dirty="0">
                <a:solidFill>
                  <a:srgbClr val="E36C09"/>
                </a:solidFill>
                <a:latin typeface="Tahoma"/>
                <a:ea typeface="Tahoma"/>
                <a:cs typeface="Tahoma"/>
                <a:sym typeface="Tahoma"/>
              </a:rPr>
              <a:t>setembro</a:t>
            </a:r>
            <a:r>
              <a:rPr lang="pt-BR" sz="3000" b="0" i="0" dirty="0">
                <a:solidFill>
                  <a:srgbClr val="E36C09"/>
                </a:solidFill>
                <a:latin typeface="Tahoma"/>
                <a:ea typeface="Tahoma"/>
                <a:cs typeface="Tahoma"/>
                <a:sym typeface="Tahoma"/>
              </a:rPr>
              <a:t> de 2023.</a:t>
            </a:r>
            <a:endParaRPr dirty="0"/>
          </a:p>
        </p:txBody>
      </p:sp>
      <p:sp>
        <p:nvSpPr>
          <p:cNvPr id="63" name="Google Shape;888;p14">
            <a:extLst>
              <a:ext uri="{FF2B5EF4-FFF2-40B4-BE49-F238E27FC236}">
                <a16:creationId xmlns="" xmlns:a16="http://schemas.microsoft.com/office/drawing/2014/main" id="{EC0A58A7-BE57-4182-B5A4-A774E44FC17F}"/>
              </a:ext>
            </a:extLst>
          </p:cNvPr>
          <p:cNvSpPr/>
          <p:nvPr/>
        </p:nvSpPr>
        <p:spPr>
          <a:xfrm>
            <a:off x="726371" y="444683"/>
            <a:ext cx="2524624" cy="2792572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oogle Shape;95;p1"/>
          <p:cNvGrpSpPr/>
          <p:nvPr/>
        </p:nvGrpSpPr>
        <p:grpSpPr>
          <a:xfrm>
            <a:off x="2" y="0"/>
            <a:ext cx="20104456" cy="12565510"/>
            <a:chOff x="2" y="0"/>
            <a:chExt cx="20104456" cy="12565510"/>
          </a:xfrm>
        </p:grpSpPr>
        <p:sp>
          <p:nvSpPr>
            <p:cNvPr id="96" name="Google Shape;96;p1"/>
            <p:cNvSpPr/>
            <p:nvPr/>
          </p:nvSpPr>
          <p:spPr>
            <a:xfrm>
              <a:off x="6033868" y="9382939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97;p1"/>
            <p:cNvSpPr/>
            <p:nvPr/>
          </p:nvSpPr>
          <p:spPr>
            <a:xfrm>
              <a:off x="6033858" y="9440675"/>
              <a:ext cx="3264535" cy="3124835"/>
            </a:xfrm>
            <a:custGeom>
              <a:avLst/>
              <a:gdLst/>
              <a:ahLst/>
              <a:cxnLst/>
              <a:rect l="l" t="t" r="r" b="b"/>
              <a:pathLst>
                <a:path w="3264534" h="3124834" extrusionOk="0">
                  <a:moveTo>
                    <a:pt x="1982536" y="3105758"/>
                  </a:moveTo>
                  <a:lnTo>
                    <a:pt x="1982355" y="3112376"/>
                  </a:lnTo>
                  <a:lnTo>
                    <a:pt x="1982151" y="3118386"/>
                  </a:lnTo>
                  <a:lnTo>
                    <a:pt x="1981918" y="3124386"/>
                  </a:lnTo>
                  <a:lnTo>
                    <a:pt x="2005101" y="3124386"/>
                  </a:lnTo>
                  <a:lnTo>
                    <a:pt x="2005348" y="3118187"/>
                  </a:lnTo>
                  <a:lnTo>
                    <a:pt x="2005540" y="3111978"/>
                  </a:lnTo>
                  <a:lnTo>
                    <a:pt x="2005687" y="3106366"/>
                  </a:lnTo>
                  <a:lnTo>
                    <a:pt x="1982536" y="3105758"/>
                  </a:lnTo>
                  <a:close/>
                </a:path>
                <a:path w="3264534" h="3124834" extrusionOk="0">
                  <a:moveTo>
                    <a:pt x="23151" y="3046891"/>
                  </a:moveTo>
                  <a:lnTo>
                    <a:pt x="20" y="3046891"/>
                  </a:lnTo>
                  <a:lnTo>
                    <a:pt x="20" y="3077864"/>
                  </a:lnTo>
                  <a:lnTo>
                    <a:pt x="167" y="3093256"/>
                  </a:lnTo>
                  <a:lnTo>
                    <a:pt x="23339" y="3092879"/>
                  </a:lnTo>
                  <a:lnTo>
                    <a:pt x="23153" y="3077864"/>
                  </a:lnTo>
                  <a:lnTo>
                    <a:pt x="23151" y="3046891"/>
                  </a:lnTo>
                  <a:close/>
                </a:path>
                <a:path w="3264534" h="3124834" extrusionOk="0">
                  <a:moveTo>
                    <a:pt x="2006158" y="3013730"/>
                  </a:moveTo>
                  <a:lnTo>
                    <a:pt x="1982986" y="3013730"/>
                  </a:lnTo>
                  <a:lnTo>
                    <a:pt x="1982986" y="3059885"/>
                  </a:lnTo>
                  <a:lnTo>
                    <a:pt x="2006158" y="3059885"/>
                  </a:lnTo>
                  <a:lnTo>
                    <a:pt x="2006158" y="3013730"/>
                  </a:lnTo>
                  <a:close/>
                </a:path>
                <a:path w="3264534" h="3124834" extrusionOk="0">
                  <a:moveTo>
                    <a:pt x="23151" y="2954559"/>
                  </a:moveTo>
                  <a:lnTo>
                    <a:pt x="0" y="2954559"/>
                  </a:lnTo>
                  <a:lnTo>
                    <a:pt x="0" y="3000746"/>
                  </a:lnTo>
                  <a:lnTo>
                    <a:pt x="23151" y="3000746"/>
                  </a:lnTo>
                  <a:lnTo>
                    <a:pt x="23151" y="2954559"/>
                  </a:lnTo>
                  <a:close/>
                </a:path>
                <a:path w="3264534" h="3124834" extrusionOk="0">
                  <a:moveTo>
                    <a:pt x="2006158" y="2921387"/>
                  </a:moveTo>
                  <a:lnTo>
                    <a:pt x="1982986" y="2921387"/>
                  </a:lnTo>
                  <a:lnTo>
                    <a:pt x="1982986" y="2967574"/>
                  </a:lnTo>
                  <a:lnTo>
                    <a:pt x="2006158" y="2967574"/>
                  </a:lnTo>
                  <a:lnTo>
                    <a:pt x="2006158" y="2921387"/>
                  </a:lnTo>
                  <a:close/>
                </a:path>
                <a:path w="3264534" h="3124834" extrusionOk="0">
                  <a:moveTo>
                    <a:pt x="23151" y="2862216"/>
                  </a:moveTo>
                  <a:lnTo>
                    <a:pt x="0" y="2862216"/>
                  </a:lnTo>
                  <a:lnTo>
                    <a:pt x="0" y="2908372"/>
                  </a:lnTo>
                  <a:lnTo>
                    <a:pt x="23151" y="2908372"/>
                  </a:lnTo>
                  <a:lnTo>
                    <a:pt x="23151" y="2862216"/>
                  </a:lnTo>
                  <a:close/>
                </a:path>
                <a:path w="3264534" h="3124834" extrusionOk="0">
                  <a:moveTo>
                    <a:pt x="2006158" y="2829055"/>
                  </a:moveTo>
                  <a:lnTo>
                    <a:pt x="1982986" y="2829055"/>
                  </a:lnTo>
                  <a:lnTo>
                    <a:pt x="1982986" y="2875221"/>
                  </a:lnTo>
                  <a:lnTo>
                    <a:pt x="2006158" y="2875221"/>
                  </a:lnTo>
                  <a:lnTo>
                    <a:pt x="2006158" y="2829055"/>
                  </a:lnTo>
                  <a:close/>
                </a:path>
                <a:path w="3264534" h="3124834" extrusionOk="0">
                  <a:moveTo>
                    <a:pt x="23151" y="2769894"/>
                  </a:moveTo>
                  <a:lnTo>
                    <a:pt x="0" y="2769894"/>
                  </a:lnTo>
                  <a:lnTo>
                    <a:pt x="0" y="2816060"/>
                  </a:lnTo>
                  <a:lnTo>
                    <a:pt x="23151" y="2816060"/>
                  </a:lnTo>
                  <a:lnTo>
                    <a:pt x="23151" y="2769894"/>
                  </a:lnTo>
                  <a:close/>
                </a:path>
                <a:path w="3264534" h="3124834" extrusionOk="0">
                  <a:moveTo>
                    <a:pt x="2006158" y="2736733"/>
                  </a:moveTo>
                  <a:lnTo>
                    <a:pt x="1982986" y="2736733"/>
                  </a:lnTo>
                  <a:lnTo>
                    <a:pt x="1982986" y="2782910"/>
                  </a:lnTo>
                  <a:lnTo>
                    <a:pt x="2006158" y="2782910"/>
                  </a:lnTo>
                  <a:lnTo>
                    <a:pt x="2006158" y="2736733"/>
                  </a:lnTo>
                  <a:close/>
                </a:path>
                <a:path w="3264534" h="3124834" extrusionOk="0">
                  <a:moveTo>
                    <a:pt x="23151" y="2677572"/>
                  </a:moveTo>
                  <a:lnTo>
                    <a:pt x="0" y="2677572"/>
                  </a:lnTo>
                  <a:lnTo>
                    <a:pt x="0" y="2723739"/>
                  </a:lnTo>
                  <a:lnTo>
                    <a:pt x="23151" y="2723739"/>
                  </a:lnTo>
                  <a:lnTo>
                    <a:pt x="23151" y="2677572"/>
                  </a:lnTo>
                  <a:close/>
                </a:path>
                <a:path w="3264534" h="3124834" extrusionOk="0">
                  <a:moveTo>
                    <a:pt x="2006158" y="2644390"/>
                  </a:moveTo>
                  <a:lnTo>
                    <a:pt x="1982986" y="2644390"/>
                  </a:lnTo>
                  <a:lnTo>
                    <a:pt x="1982986" y="2690588"/>
                  </a:lnTo>
                  <a:lnTo>
                    <a:pt x="2006158" y="2690588"/>
                  </a:lnTo>
                  <a:lnTo>
                    <a:pt x="2006158" y="2644390"/>
                  </a:lnTo>
                  <a:close/>
                </a:path>
                <a:path w="3264534" h="3124834" extrusionOk="0">
                  <a:moveTo>
                    <a:pt x="23151" y="2585219"/>
                  </a:moveTo>
                  <a:lnTo>
                    <a:pt x="0" y="2585219"/>
                  </a:lnTo>
                  <a:lnTo>
                    <a:pt x="0" y="2631427"/>
                  </a:lnTo>
                  <a:lnTo>
                    <a:pt x="23151" y="2631427"/>
                  </a:lnTo>
                  <a:lnTo>
                    <a:pt x="23151" y="2585219"/>
                  </a:lnTo>
                  <a:close/>
                </a:path>
                <a:path w="3264534" h="3124834" extrusionOk="0">
                  <a:moveTo>
                    <a:pt x="2006158" y="2552068"/>
                  </a:moveTo>
                  <a:lnTo>
                    <a:pt x="1982986" y="2552068"/>
                  </a:lnTo>
                  <a:lnTo>
                    <a:pt x="1982986" y="2598245"/>
                  </a:lnTo>
                  <a:lnTo>
                    <a:pt x="2006158" y="2598245"/>
                  </a:lnTo>
                  <a:lnTo>
                    <a:pt x="2006158" y="2552068"/>
                  </a:lnTo>
                  <a:close/>
                </a:path>
                <a:path w="3264534" h="3124834" extrusionOk="0">
                  <a:moveTo>
                    <a:pt x="23151" y="2492897"/>
                  </a:moveTo>
                  <a:lnTo>
                    <a:pt x="0" y="2492897"/>
                  </a:lnTo>
                  <a:lnTo>
                    <a:pt x="0" y="2539074"/>
                  </a:lnTo>
                  <a:lnTo>
                    <a:pt x="23151" y="2539074"/>
                  </a:lnTo>
                  <a:lnTo>
                    <a:pt x="23151" y="2492897"/>
                  </a:lnTo>
                  <a:close/>
                </a:path>
                <a:path w="3264534" h="3124834" extrusionOk="0">
                  <a:moveTo>
                    <a:pt x="2006158" y="2459747"/>
                  </a:moveTo>
                  <a:lnTo>
                    <a:pt x="1982986" y="2459747"/>
                  </a:lnTo>
                  <a:lnTo>
                    <a:pt x="1982986" y="2505934"/>
                  </a:lnTo>
                  <a:lnTo>
                    <a:pt x="2006158" y="2505934"/>
                  </a:lnTo>
                  <a:lnTo>
                    <a:pt x="2006158" y="2459747"/>
                  </a:lnTo>
                  <a:close/>
                </a:path>
                <a:path w="3264534" h="3124834" extrusionOk="0">
                  <a:moveTo>
                    <a:pt x="23151" y="2400576"/>
                  </a:moveTo>
                  <a:lnTo>
                    <a:pt x="0" y="2400576"/>
                  </a:lnTo>
                  <a:lnTo>
                    <a:pt x="0" y="2446752"/>
                  </a:lnTo>
                  <a:lnTo>
                    <a:pt x="23151" y="2446752"/>
                  </a:lnTo>
                  <a:lnTo>
                    <a:pt x="23151" y="2400576"/>
                  </a:lnTo>
                  <a:close/>
                </a:path>
                <a:path w="3264534" h="3124834" extrusionOk="0">
                  <a:moveTo>
                    <a:pt x="2006158" y="2367425"/>
                  </a:moveTo>
                  <a:lnTo>
                    <a:pt x="1982986" y="2367425"/>
                  </a:lnTo>
                  <a:lnTo>
                    <a:pt x="1982986" y="2413580"/>
                  </a:lnTo>
                  <a:lnTo>
                    <a:pt x="2006158" y="2413580"/>
                  </a:lnTo>
                  <a:lnTo>
                    <a:pt x="2006158" y="2367425"/>
                  </a:lnTo>
                  <a:close/>
                </a:path>
                <a:path w="3264534" h="3124834" extrusionOk="0">
                  <a:moveTo>
                    <a:pt x="23151" y="2308243"/>
                  </a:moveTo>
                  <a:lnTo>
                    <a:pt x="0" y="2308243"/>
                  </a:lnTo>
                  <a:lnTo>
                    <a:pt x="0" y="2354409"/>
                  </a:lnTo>
                  <a:lnTo>
                    <a:pt x="23151" y="2354409"/>
                  </a:lnTo>
                  <a:lnTo>
                    <a:pt x="23151" y="2308243"/>
                  </a:lnTo>
                  <a:close/>
                </a:path>
                <a:path w="3264534" h="3124834" extrusionOk="0">
                  <a:moveTo>
                    <a:pt x="2006158" y="2275082"/>
                  </a:moveTo>
                  <a:lnTo>
                    <a:pt x="1982986" y="2275082"/>
                  </a:lnTo>
                  <a:lnTo>
                    <a:pt x="1982986" y="2321269"/>
                  </a:lnTo>
                  <a:lnTo>
                    <a:pt x="2006158" y="2321269"/>
                  </a:lnTo>
                  <a:lnTo>
                    <a:pt x="2006158" y="2275082"/>
                  </a:lnTo>
                  <a:close/>
                </a:path>
                <a:path w="3264534" h="3124834" extrusionOk="0">
                  <a:moveTo>
                    <a:pt x="23151" y="2215922"/>
                  </a:moveTo>
                  <a:lnTo>
                    <a:pt x="0" y="2215922"/>
                  </a:lnTo>
                  <a:lnTo>
                    <a:pt x="0" y="2262067"/>
                  </a:lnTo>
                  <a:lnTo>
                    <a:pt x="23151" y="2262067"/>
                  </a:lnTo>
                  <a:lnTo>
                    <a:pt x="23151" y="2215922"/>
                  </a:lnTo>
                  <a:close/>
                </a:path>
                <a:path w="3264534" h="3124834" extrusionOk="0">
                  <a:moveTo>
                    <a:pt x="2006158" y="2182760"/>
                  </a:moveTo>
                  <a:lnTo>
                    <a:pt x="1982986" y="2182760"/>
                  </a:lnTo>
                  <a:lnTo>
                    <a:pt x="1982986" y="2228916"/>
                  </a:lnTo>
                  <a:lnTo>
                    <a:pt x="2006158" y="2228916"/>
                  </a:lnTo>
                  <a:lnTo>
                    <a:pt x="2006158" y="2182760"/>
                  </a:lnTo>
                  <a:close/>
                </a:path>
                <a:path w="3264534" h="3124834" extrusionOk="0">
                  <a:moveTo>
                    <a:pt x="23151" y="2123600"/>
                  </a:moveTo>
                  <a:lnTo>
                    <a:pt x="0" y="2123600"/>
                  </a:lnTo>
                  <a:lnTo>
                    <a:pt x="0" y="2169755"/>
                  </a:lnTo>
                  <a:lnTo>
                    <a:pt x="23151" y="2169755"/>
                  </a:lnTo>
                  <a:lnTo>
                    <a:pt x="23151" y="2123600"/>
                  </a:lnTo>
                  <a:close/>
                </a:path>
                <a:path w="3264534" h="3124834" extrusionOk="0">
                  <a:moveTo>
                    <a:pt x="2006158" y="2090459"/>
                  </a:moveTo>
                  <a:lnTo>
                    <a:pt x="1982986" y="2090459"/>
                  </a:lnTo>
                  <a:lnTo>
                    <a:pt x="1982986" y="2136605"/>
                  </a:lnTo>
                  <a:lnTo>
                    <a:pt x="2006158" y="2136605"/>
                  </a:lnTo>
                  <a:lnTo>
                    <a:pt x="2006158" y="2090459"/>
                  </a:lnTo>
                  <a:close/>
                </a:path>
                <a:path w="3264534" h="3124834" extrusionOk="0">
                  <a:moveTo>
                    <a:pt x="23151" y="2031236"/>
                  </a:moveTo>
                  <a:lnTo>
                    <a:pt x="0" y="2031236"/>
                  </a:lnTo>
                  <a:lnTo>
                    <a:pt x="0" y="2077434"/>
                  </a:lnTo>
                  <a:lnTo>
                    <a:pt x="23151" y="2077434"/>
                  </a:lnTo>
                  <a:lnTo>
                    <a:pt x="23151" y="2031236"/>
                  </a:lnTo>
                  <a:close/>
                </a:path>
                <a:path w="3264534" h="3124834" extrusionOk="0">
                  <a:moveTo>
                    <a:pt x="2006158" y="1998075"/>
                  </a:moveTo>
                  <a:lnTo>
                    <a:pt x="1982986" y="1998075"/>
                  </a:lnTo>
                  <a:lnTo>
                    <a:pt x="1982986" y="2044251"/>
                  </a:lnTo>
                  <a:lnTo>
                    <a:pt x="2006158" y="2044251"/>
                  </a:lnTo>
                  <a:lnTo>
                    <a:pt x="2006158" y="1998075"/>
                  </a:lnTo>
                  <a:close/>
                </a:path>
                <a:path w="3264534" h="3124834" extrusionOk="0">
                  <a:moveTo>
                    <a:pt x="23151" y="1938925"/>
                  </a:moveTo>
                  <a:lnTo>
                    <a:pt x="0" y="1938925"/>
                  </a:lnTo>
                  <a:lnTo>
                    <a:pt x="0" y="1985091"/>
                  </a:lnTo>
                  <a:lnTo>
                    <a:pt x="23151" y="1985091"/>
                  </a:lnTo>
                  <a:lnTo>
                    <a:pt x="23151" y="1938925"/>
                  </a:lnTo>
                  <a:close/>
                </a:path>
                <a:path w="3264534" h="3124834" extrusionOk="0">
                  <a:moveTo>
                    <a:pt x="2006158" y="1905763"/>
                  </a:moveTo>
                  <a:lnTo>
                    <a:pt x="1982986" y="1905763"/>
                  </a:lnTo>
                  <a:lnTo>
                    <a:pt x="1982986" y="1951930"/>
                  </a:lnTo>
                  <a:lnTo>
                    <a:pt x="2006158" y="1951930"/>
                  </a:lnTo>
                  <a:lnTo>
                    <a:pt x="2006158" y="1905763"/>
                  </a:lnTo>
                  <a:close/>
                </a:path>
                <a:path w="3264534" h="3124834" extrusionOk="0">
                  <a:moveTo>
                    <a:pt x="23151" y="1846592"/>
                  </a:moveTo>
                  <a:lnTo>
                    <a:pt x="0" y="1846592"/>
                  </a:lnTo>
                  <a:lnTo>
                    <a:pt x="0" y="1892769"/>
                  </a:lnTo>
                  <a:lnTo>
                    <a:pt x="23151" y="1892769"/>
                  </a:lnTo>
                  <a:lnTo>
                    <a:pt x="23151" y="1846592"/>
                  </a:lnTo>
                  <a:close/>
                </a:path>
                <a:path w="3264534" h="3124834" extrusionOk="0">
                  <a:moveTo>
                    <a:pt x="2006158" y="1813442"/>
                  </a:moveTo>
                  <a:lnTo>
                    <a:pt x="1982986" y="1813442"/>
                  </a:lnTo>
                  <a:lnTo>
                    <a:pt x="1982986" y="1859618"/>
                  </a:lnTo>
                  <a:lnTo>
                    <a:pt x="2006158" y="1859618"/>
                  </a:lnTo>
                  <a:lnTo>
                    <a:pt x="2006158" y="1813442"/>
                  </a:lnTo>
                  <a:close/>
                </a:path>
                <a:path w="3264534" h="3124834" extrusionOk="0">
                  <a:moveTo>
                    <a:pt x="23151" y="1754281"/>
                  </a:moveTo>
                  <a:lnTo>
                    <a:pt x="0" y="1754281"/>
                  </a:lnTo>
                  <a:lnTo>
                    <a:pt x="0" y="1800447"/>
                  </a:lnTo>
                  <a:lnTo>
                    <a:pt x="23151" y="1800447"/>
                  </a:lnTo>
                  <a:lnTo>
                    <a:pt x="23151" y="1754281"/>
                  </a:lnTo>
                  <a:close/>
                </a:path>
                <a:path w="3264534" h="3124834" extrusionOk="0">
                  <a:moveTo>
                    <a:pt x="2006158" y="1721099"/>
                  </a:moveTo>
                  <a:lnTo>
                    <a:pt x="1982986" y="1721099"/>
                  </a:lnTo>
                  <a:lnTo>
                    <a:pt x="1982986" y="1767286"/>
                  </a:lnTo>
                  <a:lnTo>
                    <a:pt x="2006158" y="1767286"/>
                  </a:lnTo>
                  <a:lnTo>
                    <a:pt x="2006158" y="1721099"/>
                  </a:lnTo>
                  <a:close/>
                </a:path>
                <a:path w="3264534" h="3124834" extrusionOk="0">
                  <a:moveTo>
                    <a:pt x="23151" y="1661928"/>
                  </a:moveTo>
                  <a:lnTo>
                    <a:pt x="0" y="1661928"/>
                  </a:lnTo>
                  <a:lnTo>
                    <a:pt x="0" y="1708105"/>
                  </a:lnTo>
                  <a:lnTo>
                    <a:pt x="23151" y="1708105"/>
                  </a:lnTo>
                  <a:lnTo>
                    <a:pt x="23151" y="1661928"/>
                  </a:lnTo>
                  <a:close/>
                </a:path>
                <a:path w="3264534" h="3124834" extrusionOk="0">
                  <a:moveTo>
                    <a:pt x="2006158" y="1628767"/>
                  </a:moveTo>
                  <a:lnTo>
                    <a:pt x="1982986" y="1628767"/>
                  </a:lnTo>
                  <a:lnTo>
                    <a:pt x="1982986" y="1674922"/>
                  </a:lnTo>
                  <a:lnTo>
                    <a:pt x="2006158" y="1674922"/>
                  </a:lnTo>
                  <a:lnTo>
                    <a:pt x="2006158" y="1628767"/>
                  </a:lnTo>
                  <a:close/>
                </a:path>
                <a:path w="3264534" h="3124834" extrusionOk="0">
                  <a:moveTo>
                    <a:pt x="23151" y="1569606"/>
                  </a:moveTo>
                  <a:lnTo>
                    <a:pt x="0" y="1569606"/>
                  </a:lnTo>
                  <a:lnTo>
                    <a:pt x="0" y="1615751"/>
                  </a:lnTo>
                  <a:lnTo>
                    <a:pt x="23151" y="1615751"/>
                  </a:lnTo>
                  <a:lnTo>
                    <a:pt x="23151" y="1569606"/>
                  </a:lnTo>
                  <a:close/>
                </a:path>
                <a:path w="3264534" h="3124834" extrusionOk="0">
                  <a:moveTo>
                    <a:pt x="1983080" y="1536288"/>
                  </a:moveTo>
                  <a:lnTo>
                    <a:pt x="1982986" y="1582611"/>
                  </a:lnTo>
                  <a:lnTo>
                    <a:pt x="2006158" y="1582611"/>
                  </a:lnTo>
                  <a:lnTo>
                    <a:pt x="2006253" y="1536623"/>
                  </a:lnTo>
                  <a:lnTo>
                    <a:pt x="1983080" y="1536288"/>
                  </a:lnTo>
                  <a:close/>
                </a:path>
                <a:path w="3264534" h="3124834" extrusionOk="0">
                  <a:moveTo>
                    <a:pt x="23151" y="1477263"/>
                  </a:moveTo>
                  <a:lnTo>
                    <a:pt x="0" y="1477263"/>
                  </a:lnTo>
                  <a:lnTo>
                    <a:pt x="0" y="1523440"/>
                  </a:lnTo>
                  <a:lnTo>
                    <a:pt x="23151" y="1523440"/>
                  </a:lnTo>
                  <a:lnTo>
                    <a:pt x="23151" y="1477263"/>
                  </a:lnTo>
                  <a:close/>
                </a:path>
                <a:path w="3264534" h="3124834" extrusionOk="0">
                  <a:moveTo>
                    <a:pt x="1987510" y="1443285"/>
                  </a:moveTo>
                  <a:lnTo>
                    <a:pt x="1986586" y="1454848"/>
                  </a:lnTo>
                  <a:lnTo>
                    <a:pt x="1985777" y="1466447"/>
                  </a:lnTo>
                  <a:lnTo>
                    <a:pt x="1985077" y="1478086"/>
                  </a:lnTo>
                  <a:lnTo>
                    <a:pt x="1984484" y="1489766"/>
                  </a:lnTo>
                  <a:lnTo>
                    <a:pt x="2007603" y="1490844"/>
                  </a:lnTo>
                  <a:lnTo>
                    <a:pt x="2008181" y="1479370"/>
                  </a:lnTo>
                  <a:lnTo>
                    <a:pt x="2008874" y="1467939"/>
                  </a:lnTo>
                  <a:lnTo>
                    <a:pt x="2009675" y="1456547"/>
                  </a:lnTo>
                  <a:lnTo>
                    <a:pt x="2010577" y="1445191"/>
                  </a:lnTo>
                  <a:lnTo>
                    <a:pt x="1987510" y="1443285"/>
                  </a:lnTo>
                  <a:close/>
                </a:path>
                <a:path w="3264534" h="3124834" extrusionOk="0">
                  <a:moveTo>
                    <a:pt x="23151" y="1384942"/>
                  </a:moveTo>
                  <a:lnTo>
                    <a:pt x="0" y="1384942"/>
                  </a:lnTo>
                  <a:lnTo>
                    <a:pt x="0" y="1431129"/>
                  </a:lnTo>
                  <a:lnTo>
                    <a:pt x="23151" y="1431129"/>
                  </a:lnTo>
                  <a:lnTo>
                    <a:pt x="23151" y="1384942"/>
                  </a:lnTo>
                  <a:close/>
                </a:path>
                <a:path w="3264534" h="3124834" extrusionOk="0">
                  <a:moveTo>
                    <a:pt x="1998682" y="1350754"/>
                  </a:moveTo>
                  <a:lnTo>
                    <a:pt x="1996931" y="1362228"/>
                  </a:lnTo>
                  <a:lnTo>
                    <a:pt x="1995267" y="1373740"/>
                  </a:lnTo>
                  <a:lnTo>
                    <a:pt x="1993704" y="1385304"/>
                  </a:lnTo>
                  <a:lnTo>
                    <a:pt x="1992253" y="1396931"/>
                  </a:lnTo>
                  <a:lnTo>
                    <a:pt x="2015247" y="1399695"/>
                  </a:lnTo>
                  <a:lnTo>
                    <a:pt x="2016677" y="1388291"/>
                  </a:lnTo>
                  <a:lnTo>
                    <a:pt x="2018213" y="1376937"/>
                  </a:lnTo>
                  <a:lnTo>
                    <a:pt x="2019847" y="1365637"/>
                  </a:lnTo>
                  <a:lnTo>
                    <a:pt x="2021571" y="1354398"/>
                  </a:lnTo>
                  <a:lnTo>
                    <a:pt x="1998682" y="1350754"/>
                  </a:lnTo>
                  <a:close/>
                </a:path>
                <a:path w="3264534" h="3124834" extrusionOk="0">
                  <a:moveTo>
                    <a:pt x="23151" y="1292578"/>
                  </a:moveTo>
                  <a:lnTo>
                    <a:pt x="0" y="1292578"/>
                  </a:lnTo>
                  <a:lnTo>
                    <a:pt x="0" y="1338775"/>
                  </a:lnTo>
                  <a:lnTo>
                    <a:pt x="23151" y="1338775"/>
                  </a:lnTo>
                  <a:lnTo>
                    <a:pt x="23151" y="1292578"/>
                  </a:lnTo>
                  <a:close/>
                </a:path>
                <a:path w="3264534" h="3124834" extrusionOk="0">
                  <a:moveTo>
                    <a:pt x="2016818" y="1259364"/>
                  </a:moveTo>
                  <a:lnTo>
                    <a:pt x="2014161" y="1270648"/>
                  </a:lnTo>
                  <a:lnTo>
                    <a:pt x="2011620" y="1282006"/>
                  </a:lnTo>
                  <a:lnTo>
                    <a:pt x="2009192" y="1293433"/>
                  </a:lnTo>
                  <a:lnTo>
                    <a:pt x="2006870" y="1304923"/>
                  </a:lnTo>
                  <a:lnTo>
                    <a:pt x="2029571" y="1309405"/>
                  </a:lnTo>
                  <a:lnTo>
                    <a:pt x="2031867" y="1298148"/>
                  </a:lnTo>
                  <a:lnTo>
                    <a:pt x="2034262" y="1286952"/>
                  </a:lnTo>
                  <a:lnTo>
                    <a:pt x="2036760" y="1275824"/>
                  </a:lnTo>
                  <a:lnTo>
                    <a:pt x="2039361" y="1264767"/>
                  </a:lnTo>
                  <a:lnTo>
                    <a:pt x="2016818" y="1259364"/>
                  </a:lnTo>
                  <a:close/>
                </a:path>
                <a:path w="3264534" h="3124834" extrusionOk="0">
                  <a:moveTo>
                    <a:pt x="23151" y="1200277"/>
                  </a:moveTo>
                  <a:lnTo>
                    <a:pt x="0" y="1200277"/>
                  </a:lnTo>
                  <a:lnTo>
                    <a:pt x="0" y="1246464"/>
                  </a:lnTo>
                  <a:lnTo>
                    <a:pt x="23151" y="1246464"/>
                  </a:lnTo>
                  <a:lnTo>
                    <a:pt x="23151" y="1200277"/>
                  </a:lnTo>
                  <a:close/>
                </a:path>
                <a:path w="3264534" h="3124834" extrusionOk="0">
                  <a:moveTo>
                    <a:pt x="2042011" y="1169597"/>
                  </a:moveTo>
                  <a:lnTo>
                    <a:pt x="2038478" y="1180650"/>
                  </a:lnTo>
                  <a:lnTo>
                    <a:pt x="2035053" y="1191775"/>
                  </a:lnTo>
                  <a:lnTo>
                    <a:pt x="2031730" y="1202978"/>
                  </a:lnTo>
                  <a:lnTo>
                    <a:pt x="2028503" y="1214266"/>
                  </a:lnTo>
                  <a:lnTo>
                    <a:pt x="2050796" y="1220496"/>
                  </a:lnTo>
                  <a:lnTo>
                    <a:pt x="2053968" y="1209455"/>
                  </a:lnTo>
                  <a:lnTo>
                    <a:pt x="2057224" y="1198490"/>
                  </a:lnTo>
                  <a:lnTo>
                    <a:pt x="2060571" y="1187603"/>
                  </a:lnTo>
                  <a:lnTo>
                    <a:pt x="2064020" y="1176791"/>
                  </a:lnTo>
                  <a:lnTo>
                    <a:pt x="2042011" y="1169597"/>
                  </a:lnTo>
                  <a:close/>
                </a:path>
                <a:path w="3264534" h="3124834" extrusionOk="0">
                  <a:moveTo>
                    <a:pt x="23151" y="1107966"/>
                  </a:moveTo>
                  <a:lnTo>
                    <a:pt x="0" y="1107966"/>
                  </a:lnTo>
                  <a:lnTo>
                    <a:pt x="0" y="1154142"/>
                  </a:lnTo>
                  <a:lnTo>
                    <a:pt x="23151" y="1154142"/>
                  </a:lnTo>
                  <a:lnTo>
                    <a:pt x="23151" y="1107966"/>
                  </a:lnTo>
                  <a:close/>
                </a:path>
                <a:path w="3264534" h="3124834" extrusionOk="0">
                  <a:moveTo>
                    <a:pt x="2074502" y="1082166"/>
                  </a:moveTo>
                  <a:lnTo>
                    <a:pt x="2070062" y="1092865"/>
                  </a:lnTo>
                  <a:lnTo>
                    <a:pt x="2065713" y="1103664"/>
                  </a:lnTo>
                  <a:lnTo>
                    <a:pt x="2061460" y="1114558"/>
                  </a:lnTo>
                  <a:lnTo>
                    <a:pt x="2057309" y="1125546"/>
                  </a:lnTo>
                  <a:lnTo>
                    <a:pt x="2079015" y="1133598"/>
                  </a:lnTo>
                  <a:lnTo>
                    <a:pt x="2083075" y="1122852"/>
                  </a:lnTo>
                  <a:lnTo>
                    <a:pt x="2087247" y="1112196"/>
                  </a:lnTo>
                  <a:lnTo>
                    <a:pt x="2091510" y="1101634"/>
                  </a:lnTo>
                  <a:lnTo>
                    <a:pt x="2095841" y="1091170"/>
                  </a:lnTo>
                  <a:lnTo>
                    <a:pt x="2074502" y="1082166"/>
                  </a:lnTo>
                  <a:close/>
                </a:path>
                <a:path w="3264534" h="3124834" extrusionOk="0">
                  <a:moveTo>
                    <a:pt x="23151" y="1015613"/>
                  </a:moveTo>
                  <a:lnTo>
                    <a:pt x="0" y="1015613"/>
                  </a:lnTo>
                  <a:lnTo>
                    <a:pt x="0" y="1061789"/>
                  </a:lnTo>
                  <a:lnTo>
                    <a:pt x="23151" y="1061789"/>
                  </a:lnTo>
                  <a:lnTo>
                    <a:pt x="23151" y="1015613"/>
                  </a:lnTo>
                  <a:close/>
                </a:path>
                <a:path w="3264534" h="3124834" extrusionOk="0">
                  <a:moveTo>
                    <a:pt x="2114658" y="997843"/>
                  </a:moveTo>
                  <a:lnTo>
                    <a:pt x="2109228" y="1008099"/>
                  </a:lnTo>
                  <a:lnTo>
                    <a:pt x="2103903" y="1018478"/>
                  </a:lnTo>
                  <a:lnTo>
                    <a:pt x="2098686" y="1028976"/>
                  </a:lnTo>
                  <a:lnTo>
                    <a:pt x="2093580" y="1039591"/>
                  </a:lnTo>
                  <a:lnTo>
                    <a:pt x="2114532" y="1049475"/>
                  </a:lnTo>
                  <a:lnTo>
                    <a:pt x="2119504" y="1039142"/>
                  </a:lnTo>
                  <a:lnTo>
                    <a:pt x="2124577" y="1028917"/>
                  </a:lnTo>
                  <a:lnTo>
                    <a:pt x="2129759" y="1018797"/>
                  </a:lnTo>
                  <a:lnTo>
                    <a:pt x="2135055" y="1008775"/>
                  </a:lnTo>
                  <a:lnTo>
                    <a:pt x="2114658" y="997843"/>
                  </a:lnTo>
                  <a:close/>
                </a:path>
                <a:path w="3264534" h="3124834" extrusionOk="0">
                  <a:moveTo>
                    <a:pt x="23151" y="923301"/>
                  </a:moveTo>
                  <a:lnTo>
                    <a:pt x="0" y="923301"/>
                  </a:lnTo>
                  <a:lnTo>
                    <a:pt x="0" y="969478"/>
                  </a:lnTo>
                  <a:lnTo>
                    <a:pt x="23151" y="969478"/>
                  </a:lnTo>
                  <a:lnTo>
                    <a:pt x="23151" y="923301"/>
                  </a:lnTo>
                  <a:close/>
                </a:path>
                <a:path w="3264534" h="3124834" extrusionOk="0">
                  <a:moveTo>
                    <a:pt x="2162520" y="917647"/>
                  </a:moveTo>
                  <a:lnTo>
                    <a:pt x="2156127" y="927345"/>
                  </a:lnTo>
                  <a:lnTo>
                    <a:pt x="2149852" y="937166"/>
                  </a:lnTo>
                  <a:lnTo>
                    <a:pt x="2143680" y="947107"/>
                  </a:lnTo>
                  <a:lnTo>
                    <a:pt x="2137599" y="957164"/>
                  </a:lnTo>
                  <a:lnTo>
                    <a:pt x="2157452" y="969049"/>
                  </a:lnTo>
                  <a:lnTo>
                    <a:pt x="2163397" y="959231"/>
                  </a:lnTo>
                  <a:lnTo>
                    <a:pt x="2169435" y="949544"/>
                  </a:lnTo>
                  <a:lnTo>
                    <a:pt x="2175565" y="939970"/>
                  </a:lnTo>
                  <a:lnTo>
                    <a:pt x="2181786" y="930495"/>
                  </a:lnTo>
                  <a:lnTo>
                    <a:pt x="2162520" y="917647"/>
                  </a:lnTo>
                  <a:close/>
                </a:path>
                <a:path w="3264534" h="3124834" extrusionOk="0">
                  <a:moveTo>
                    <a:pt x="2218560" y="842791"/>
                  </a:moveTo>
                  <a:lnTo>
                    <a:pt x="2211183" y="851733"/>
                  </a:lnTo>
                  <a:lnTo>
                    <a:pt x="2203881" y="860828"/>
                  </a:lnTo>
                  <a:lnTo>
                    <a:pt x="2196660" y="870074"/>
                  </a:lnTo>
                  <a:lnTo>
                    <a:pt x="2189524" y="879470"/>
                  </a:lnTo>
                  <a:lnTo>
                    <a:pt x="2208089" y="893323"/>
                  </a:lnTo>
                  <a:lnTo>
                    <a:pt x="2215020" y="884198"/>
                  </a:lnTo>
                  <a:lnTo>
                    <a:pt x="2222046" y="875212"/>
                  </a:lnTo>
                  <a:lnTo>
                    <a:pt x="2229156" y="866367"/>
                  </a:lnTo>
                  <a:lnTo>
                    <a:pt x="2236340" y="857659"/>
                  </a:lnTo>
                  <a:lnTo>
                    <a:pt x="2218560" y="842791"/>
                  </a:lnTo>
                  <a:close/>
                </a:path>
                <a:path w="3264534" h="3124834" extrusionOk="0">
                  <a:moveTo>
                    <a:pt x="23151" y="830958"/>
                  </a:moveTo>
                  <a:lnTo>
                    <a:pt x="0" y="830958"/>
                  </a:lnTo>
                  <a:lnTo>
                    <a:pt x="0" y="877125"/>
                  </a:lnTo>
                  <a:lnTo>
                    <a:pt x="23151" y="877125"/>
                  </a:lnTo>
                  <a:lnTo>
                    <a:pt x="23151" y="830958"/>
                  </a:lnTo>
                  <a:close/>
                </a:path>
                <a:path w="3264534" h="3124834" extrusionOk="0">
                  <a:moveTo>
                    <a:pt x="2282977" y="774803"/>
                  </a:moveTo>
                  <a:lnTo>
                    <a:pt x="2274542" y="782803"/>
                  </a:lnTo>
                  <a:lnTo>
                    <a:pt x="2266186" y="790964"/>
                  </a:lnTo>
                  <a:lnTo>
                    <a:pt x="2257914" y="799295"/>
                  </a:lnTo>
                  <a:lnTo>
                    <a:pt x="2249732" y="807807"/>
                  </a:lnTo>
                  <a:lnTo>
                    <a:pt x="2266548" y="823713"/>
                  </a:lnTo>
                  <a:lnTo>
                    <a:pt x="2274477" y="815483"/>
                  </a:lnTo>
                  <a:lnTo>
                    <a:pt x="2282502" y="807400"/>
                  </a:lnTo>
                  <a:lnTo>
                    <a:pt x="2290616" y="799468"/>
                  </a:lnTo>
                  <a:lnTo>
                    <a:pt x="2298809" y="791693"/>
                  </a:lnTo>
                  <a:lnTo>
                    <a:pt x="2282977" y="774803"/>
                  </a:lnTo>
                  <a:close/>
                </a:path>
                <a:path w="3264534" h="3124834" extrusionOk="0">
                  <a:moveTo>
                    <a:pt x="23151" y="738647"/>
                  </a:moveTo>
                  <a:lnTo>
                    <a:pt x="0" y="738647"/>
                  </a:lnTo>
                  <a:lnTo>
                    <a:pt x="0" y="784813"/>
                  </a:lnTo>
                  <a:lnTo>
                    <a:pt x="23151" y="784813"/>
                  </a:lnTo>
                  <a:lnTo>
                    <a:pt x="23151" y="738647"/>
                  </a:lnTo>
                  <a:close/>
                </a:path>
                <a:path w="3264534" h="3124834" extrusionOk="0">
                  <a:moveTo>
                    <a:pt x="2355844" y="715695"/>
                  </a:moveTo>
                  <a:lnTo>
                    <a:pt x="2346365" y="722470"/>
                  </a:lnTo>
                  <a:lnTo>
                    <a:pt x="2336941" y="729460"/>
                  </a:lnTo>
                  <a:lnTo>
                    <a:pt x="2327608" y="736641"/>
                  </a:lnTo>
                  <a:lnTo>
                    <a:pt x="2318400" y="743987"/>
                  </a:lnTo>
                  <a:lnTo>
                    <a:pt x="2333017" y="761955"/>
                  </a:lnTo>
                  <a:lnTo>
                    <a:pt x="2341899" y="754883"/>
                  </a:lnTo>
                  <a:lnTo>
                    <a:pt x="2350893" y="747960"/>
                  </a:lnTo>
                  <a:lnTo>
                    <a:pt x="2359983" y="741207"/>
                  </a:lnTo>
                  <a:lnTo>
                    <a:pt x="2369152" y="734647"/>
                  </a:lnTo>
                  <a:lnTo>
                    <a:pt x="2355844" y="715695"/>
                  </a:lnTo>
                  <a:close/>
                </a:path>
                <a:path w="3264534" h="3124834" extrusionOk="0">
                  <a:moveTo>
                    <a:pt x="2436773" y="667801"/>
                  </a:moveTo>
                  <a:lnTo>
                    <a:pt x="2426359" y="673027"/>
                  </a:lnTo>
                  <a:lnTo>
                    <a:pt x="2415965" y="678505"/>
                  </a:lnTo>
                  <a:lnTo>
                    <a:pt x="2405631" y="684222"/>
                  </a:lnTo>
                  <a:lnTo>
                    <a:pt x="2395393" y="690167"/>
                  </a:lnTo>
                  <a:lnTo>
                    <a:pt x="2407204" y="710072"/>
                  </a:lnTo>
                  <a:lnTo>
                    <a:pt x="2417047" y="704368"/>
                  </a:lnTo>
                  <a:lnTo>
                    <a:pt x="2426961" y="698879"/>
                  </a:lnTo>
                  <a:lnTo>
                    <a:pt x="2436920" y="693625"/>
                  </a:lnTo>
                  <a:lnTo>
                    <a:pt x="2446899" y="688628"/>
                  </a:lnTo>
                  <a:lnTo>
                    <a:pt x="2436773" y="667801"/>
                  </a:lnTo>
                  <a:close/>
                </a:path>
                <a:path w="3264534" h="3124834" extrusionOk="0">
                  <a:moveTo>
                    <a:pt x="23151" y="646273"/>
                  </a:moveTo>
                  <a:lnTo>
                    <a:pt x="0" y="646273"/>
                  </a:lnTo>
                  <a:lnTo>
                    <a:pt x="0" y="692460"/>
                  </a:lnTo>
                  <a:lnTo>
                    <a:pt x="23151" y="692460"/>
                  </a:lnTo>
                  <a:lnTo>
                    <a:pt x="23151" y="646273"/>
                  </a:lnTo>
                  <a:close/>
                </a:path>
                <a:path w="3264534" h="3124834" extrusionOk="0">
                  <a:moveTo>
                    <a:pt x="2524666" y="633917"/>
                  </a:moveTo>
                  <a:lnTo>
                    <a:pt x="2513507" y="637246"/>
                  </a:lnTo>
                  <a:lnTo>
                    <a:pt x="2502302" y="640873"/>
                  </a:lnTo>
                  <a:lnTo>
                    <a:pt x="2491098" y="644778"/>
                  </a:lnTo>
                  <a:lnTo>
                    <a:pt x="2479945" y="648943"/>
                  </a:lnTo>
                  <a:lnTo>
                    <a:pt x="2488311" y="670565"/>
                  </a:lnTo>
                  <a:lnTo>
                    <a:pt x="2498980" y="666569"/>
                  </a:lnTo>
                  <a:lnTo>
                    <a:pt x="2509674" y="662831"/>
                  </a:lnTo>
                  <a:lnTo>
                    <a:pt x="2520373" y="659359"/>
                  </a:lnTo>
                  <a:lnTo>
                    <a:pt x="2531053" y="656158"/>
                  </a:lnTo>
                  <a:lnTo>
                    <a:pt x="2524666" y="633917"/>
                  </a:lnTo>
                  <a:close/>
                </a:path>
                <a:path w="3264534" h="3124834" extrusionOk="0">
                  <a:moveTo>
                    <a:pt x="2617124" y="616222"/>
                  </a:moveTo>
                  <a:lnTo>
                    <a:pt x="2605432" y="617489"/>
                  </a:lnTo>
                  <a:lnTo>
                    <a:pt x="2593737" y="619029"/>
                  </a:lnTo>
                  <a:lnTo>
                    <a:pt x="2582082" y="620838"/>
                  </a:lnTo>
                  <a:lnTo>
                    <a:pt x="2570508" y="622912"/>
                  </a:lnTo>
                  <a:lnTo>
                    <a:pt x="2574832" y="645676"/>
                  </a:lnTo>
                  <a:lnTo>
                    <a:pt x="2585899" y="643693"/>
                  </a:lnTo>
                  <a:lnTo>
                    <a:pt x="2597038" y="641964"/>
                  </a:lnTo>
                  <a:lnTo>
                    <a:pt x="2608213" y="640487"/>
                  </a:lnTo>
                  <a:lnTo>
                    <a:pt x="2619386" y="639258"/>
                  </a:lnTo>
                  <a:lnTo>
                    <a:pt x="2617124" y="616222"/>
                  </a:lnTo>
                  <a:close/>
                </a:path>
                <a:path w="3264534" h="3124834" extrusionOk="0">
                  <a:moveTo>
                    <a:pt x="3264497" y="613887"/>
                  </a:moveTo>
                  <a:lnTo>
                    <a:pt x="3218341" y="613887"/>
                  </a:lnTo>
                  <a:lnTo>
                    <a:pt x="3218341" y="637048"/>
                  </a:lnTo>
                  <a:lnTo>
                    <a:pt x="3264497" y="637048"/>
                  </a:lnTo>
                  <a:lnTo>
                    <a:pt x="3264497" y="613887"/>
                  </a:lnTo>
                  <a:close/>
                </a:path>
                <a:path w="3264534" h="3124834" extrusionOk="0">
                  <a:moveTo>
                    <a:pt x="3172175" y="613887"/>
                  </a:moveTo>
                  <a:lnTo>
                    <a:pt x="3125999" y="613887"/>
                  </a:lnTo>
                  <a:lnTo>
                    <a:pt x="3125999" y="637048"/>
                  </a:lnTo>
                  <a:lnTo>
                    <a:pt x="3172175" y="637048"/>
                  </a:lnTo>
                  <a:lnTo>
                    <a:pt x="3172175" y="613887"/>
                  </a:lnTo>
                  <a:close/>
                </a:path>
                <a:path w="3264534" h="3124834" extrusionOk="0">
                  <a:moveTo>
                    <a:pt x="3079811" y="613887"/>
                  </a:moveTo>
                  <a:lnTo>
                    <a:pt x="3033645" y="613887"/>
                  </a:lnTo>
                  <a:lnTo>
                    <a:pt x="3033645" y="637048"/>
                  </a:lnTo>
                  <a:lnTo>
                    <a:pt x="3079811" y="637048"/>
                  </a:lnTo>
                  <a:lnTo>
                    <a:pt x="3079811" y="613887"/>
                  </a:lnTo>
                  <a:close/>
                </a:path>
                <a:path w="3264534" h="3124834" extrusionOk="0">
                  <a:moveTo>
                    <a:pt x="2987500" y="613887"/>
                  </a:moveTo>
                  <a:lnTo>
                    <a:pt x="2941313" y="613887"/>
                  </a:lnTo>
                  <a:lnTo>
                    <a:pt x="2941313" y="637048"/>
                  </a:lnTo>
                  <a:lnTo>
                    <a:pt x="2987500" y="637048"/>
                  </a:lnTo>
                  <a:lnTo>
                    <a:pt x="2987500" y="613887"/>
                  </a:lnTo>
                  <a:close/>
                </a:path>
                <a:path w="3264534" h="3124834" extrusionOk="0">
                  <a:moveTo>
                    <a:pt x="2895189" y="613887"/>
                  </a:moveTo>
                  <a:lnTo>
                    <a:pt x="2848991" y="613887"/>
                  </a:lnTo>
                  <a:lnTo>
                    <a:pt x="2848991" y="637048"/>
                  </a:lnTo>
                  <a:lnTo>
                    <a:pt x="2895189" y="637048"/>
                  </a:lnTo>
                  <a:lnTo>
                    <a:pt x="2895189" y="613887"/>
                  </a:lnTo>
                  <a:close/>
                </a:path>
                <a:path w="3264534" h="3124834" extrusionOk="0">
                  <a:moveTo>
                    <a:pt x="2802857" y="613887"/>
                  </a:moveTo>
                  <a:lnTo>
                    <a:pt x="2756680" y="613887"/>
                  </a:lnTo>
                  <a:lnTo>
                    <a:pt x="2756680" y="637048"/>
                  </a:lnTo>
                  <a:lnTo>
                    <a:pt x="2802857" y="637048"/>
                  </a:lnTo>
                  <a:lnTo>
                    <a:pt x="2802857" y="613887"/>
                  </a:lnTo>
                  <a:close/>
                </a:path>
                <a:path w="3264534" h="3124834" extrusionOk="0">
                  <a:moveTo>
                    <a:pt x="2710482" y="613887"/>
                  </a:moveTo>
                  <a:lnTo>
                    <a:pt x="2664337" y="613887"/>
                  </a:lnTo>
                  <a:lnTo>
                    <a:pt x="2665615" y="637048"/>
                  </a:lnTo>
                  <a:lnTo>
                    <a:pt x="2710482" y="637048"/>
                  </a:lnTo>
                  <a:lnTo>
                    <a:pt x="2710482" y="613887"/>
                  </a:lnTo>
                  <a:close/>
                </a:path>
                <a:path w="3264534" h="3124834" extrusionOk="0">
                  <a:moveTo>
                    <a:pt x="23151" y="553962"/>
                  </a:moveTo>
                  <a:lnTo>
                    <a:pt x="0" y="553962"/>
                  </a:lnTo>
                  <a:lnTo>
                    <a:pt x="0" y="600149"/>
                  </a:lnTo>
                  <a:lnTo>
                    <a:pt x="23151" y="600149"/>
                  </a:lnTo>
                  <a:lnTo>
                    <a:pt x="23151" y="553962"/>
                  </a:lnTo>
                  <a:close/>
                </a:path>
                <a:path w="3264534" h="3124834" extrusionOk="0">
                  <a:moveTo>
                    <a:pt x="23151" y="461619"/>
                  </a:moveTo>
                  <a:lnTo>
                    <a:pt x="0" y="461619"/>
                  </a:lnTo>
                  <a:lnTo>
                    <a:pt x="0" y="507837"/>
                  </a:lnTo>
                  <a:lnTo>
                    <a:pt x="23151" y="507837"/>
                  </a:lnTo>
                  <a:lnTo>
                    <a:pt x="23151" y="461619"/>
                  </a:lnTo>
                  <a:close/>
                </a:path>
                <a:path w="3264534" h="3124834" extrusionOk="0">
                  <a:moveTo>
                    <a:pt x="23151" y="369308"/>
                  </a:moveTo>
                  <a:lnTo>
                    <a:pt x="0" y="369308"/>
                  </a:lnTo>
                  <a:lnTo>
                    <a:pt x="0" y="415495"/>
                  </a:lnTo>
                  <a:lnTo>
                    <a:pt x="23151" y="415495"/>
                  </a:lnTo>
                  <a:lnTo>
                    <a:pt x="23151" y="369308"/>
                  </a:lnTo>
                  <a:close/>
                </a:path>
                <a:path w="3264534" h="3124834" extrusionOk="0">
                  <a:moveTo>
                    <a:pt x="23151" y="276996"/>
                  </a:moveTo>
                  <a:lnTo>
                    <a:pt x="0" y="276996"/>
                  </a:lnTo>
                  <a:lnTo>
                    <a:pt x="0" y="323141"/>
                  </a:lnTo>
                  <a:lnTo>
                    <a:pt x="23151" y="323141"/>
                  </a:lnTo>
                  <a:lnTo>
                    <a:pt x="23151" y="276996"/>
                  </a:lnTo>
                  <a:close/>
                </a:path>
                <a:path w="3264534" h="3124834" extrusionOk="0">
                  <a:moveTo>
                    <a:pt x="23151" y="184685"/>
                  </a:moveTo>
                  <a:lnTo>
                    <a:pt x="0" y="184685"/>
                  </a:lnTo>
                  <a:lnTo>
                    <a:pt x="0" y="230830"/>
                  </a:lnTo>
                  <a:lnTo>
                    <a:pt x="23151" y="230830"/>
                  </a:lnTo>
                  <a:lnTo>
                    <a:pt x="23151" y="184685"/>
                  </a:lnTo>
                  <a:close/>
                </a:path>
                <a:path w="3264534" h="3124834" extrusionOk="0">
                  <a:moveTo>
                    <a:pt x="23151" y="92300"/>
                  </a:moveTo>
                  <a:lnTo>
                    <a:pt x="0" y="92300"/>
                  </a:lnTo>
                  <a:lnTo>
                    <a:pt x="0" y="138477"/>
                  </a:lnTo>
                  <a:lnTo>
                    <a:pt x="23151" y="138477"/>
                  </a:lnTo>
                  <a:lnTo>
                    <a:pt x="23151" y="92300"/>
                  </a:lnTo>
                  <a:close/>
                </a:path>
                <a:path w="3264534" h="3124834" extrusionOk="0">
                  <a:moveTo>
                    <a:pt x="23151" y="0"/>
                  </a:moveTo>
                  <a:lnTo>
                    <a:pt x="0" y="0"/>
                  </a:lnTo>
                  <a:lnTo>
                    <a:pt x="0" y="46166"/>
                  </a:lnTo>
                  <a:lnTo>
                    <a:pt x="23151" y="46166"/>
                  </a:lnTo>
                  <a:lnTo>
                    <a:pt x="23151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98;p1"/>
            <p:cNvSpPr/>
            <p:nvPr/>
          </p:nvSpPr>
          <p:spPr>
            <a:xfrm>
              <a:off x="3419142" y="5062798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4" h="4309109" extrusionOk="0">
                  <a:moveTo>
                    <a:pt x="2036930" y="46333"/>
                  </a:moveTo>
                  <a:lnTo>
                    <a:pt x="1763485" y="46333"/>
                  </a:lnTo>
                  <a:lnTo>
                    <a:pt x="1809485" y="47672"/>
                  </a:lnTo>
                  <a:lnTo>
                    <a:pt x="1854845" y="51643"/>
                  </a:lnTo>
                  <a:lnTo>
                    <a:pt x="1899500" y="58177"/>
                  </a:lnTo>
                  <a:lnTo>
                    <a:pt x="1943387" y="67204"/>
                  </a:lnTo>
                  <a:lnTo>
                    <a:pt x="1986440" y="78654"/>
                  </a:lnTo>
                  <a:lnTo>
                    <a:pt x="2028595" y="92459"/>
                  </a:lnTo>
                  <a:lnTo>
                    <a:pt x="2069788" y="108548"/>
                  </a:lnTo>
                  <a:lnTo>
                    <a:pt x="2109954" y="126853"/>
                  </a:lnTo>
                  <a:lnTo>
                    <a:pt x="2149028" y="147304"/>
                  </a:lnTo>
                  <a:lnTo>
                    <a:pt x="2186947" y="169831"/>
                  </a:lnTo>
                  <a:lnTo>
                    <a:pt x="2223644" y="194366"/>
                  </a:lnTo>
                  <a:lnTo>
                    <a:pt x="2259057" y="220839"/>
                  </a:lnTo>
                  <a:lnTo>
                    <a:pt x="2293120" y="249180"/>
                  </a:lnTo>
                  <a:lnTo>
                    <a:pt x="2325768" y="279320"/>
                  </a:lnTo>
                  <a:lnTo>
                    <a:pt x="2356938" y="311189"/>
                  </a:lnTo>
                  <a:lnTo>
                    <a:pt x="2386565" y="344719"/>
                  </a:lnTo>
                  <a:lnTo>
                    <a:pt x="2414584" y="379839"/>
                  </a:lnTo>
                  <a:lnTo>
                    <a:pt x="2440930" y="416480"/>
                  </a:lnTo>
                  <a:lnTo>
                    <a:pt x="2465540" y="454574"/>
                  </a:lnTo>
                  <a:lnTo>
                    <a:pt x="2488348" y="494050"/>
                  </a:lnTo>
                  <a:lnTo>
                    <a:pt x="2509290" y="534839"/>
                  </a:lnTo>
                  <a:lnTo>
                    <a:pt x="2528302" y="576871"/>
                  </a:lnTo>
                  <a:lnTo>
                    <a:pt x="2545319" y="620078"/>
                  </a:lnTo>
                  <a:lnTo>
                    <a:pt x="2560276" y="664389"/>
                  </a:lnTo>
                  <a:lnTo>
                    <a:pt x="2573109" y="709736"/>
                  </a:lnTo>
                  <a:lnTo>
                    <a:pt x="2583754" y="756049"/>
                  </a:lnTo>
                  <a:lnTo>
                    <a:pt x="2592146" y="803259"/>
                  </a:lnTo>
                  <a:lnTo>
                    <a:pt x="2598219" y="851296"/>
                  </a:lnTo>
                  <a:lnTo>
                    <a:pt x="2601911" y="900090"/>
                  </a:lnTo>
                  <a:lnTo>
                    <a:pt x="2603156" y="949573"/>
                  </a:lnTo>
                  <a:lnTo>
                    <a:pt x="2603156" y="4308559"/>
                  </a:lnTo>
                  <a:lnTo>
                    <a:pt x="2649448" y="4308559"/>
                  </a:lnTo>
                  <a:lnTo>
                    <a:pt x="2649448" y="949573"/>
                  </a:lnTo>
                  <a:lnTo>
                    <a:pt x="2648217" y="899219"/>
                  </a:lnTo>
                  <a:lnTo>
                    <a:pt x="2644567" y="849540"/>
                  </a:lnTo>
                  <a:lnTo>
                    <a:pt x="2638559" y="800604"/>
                  </a:lnTo>
                  <a:lnTo>
                    <a:pt x="2630255" y="752475"/>
                  </a:lnTo>
                  <a:lnTo>
                    <a:pt x="2619717" y="705219"/>
                  </a:lnTo>
                  <a:lnTo>
                    <a:pt x="2607005" y="658904"/>
                  </a:lnTo>
                  <a:lnTo>
                    <a:pt x="2592182" y="613596"/>
                  </a:lnTo>
                  <a:lnTo>
                    <a:pt x="2575310" y="569359"/>
                  </a:lnTo>
                  <a:lnTo>
                    <a:pt x="2556450" y="526261"/>
                  </a:lnTo>
                  <a:lnTo>
                    <a:pt x="2535664" y="484367"/>
                  </a:lnTo>
                  <a:lnTo>
                    <a:pt x="2513014" y="443745"/>
                  </a:lnTo>
                  <a:lnTo>
                    <a:pt x="2488561" y="404459"/>
                  </a:lnTo>
                  <a:lnTo>
                    <a:pt x="2462366" y="366576"/>
                  </a:lnTo>
                  <a:lnTo>
                    <a:pt x="2434493" y="330162"/>
                  </a:lnTo>
                  <a:lnTo>
                    <a:pt x="2405002" y="295284"/>
                  </a:lnTo>
                  <a:lnTo>
                    <a:pt x="2373955" y="262007"/>
                  </a:lnTo>
                  <a:lnTo>
                    <a:pt x="2341413" y="230398"/>
                  </a:lnTo>
                  <a:lnTo>
                    <a:pt x="2307440" y="200522"/>
                  </a:lnTo>
                  <a:lnTo>
                    <a:pt x="2272095" y="172446"/>
                  </a:lnTo>
                  <a:lnTo>
                    <a:pt x="2235441" y="146237"/>
                  </a:lnTo>
                  <a:lnTo>
                    <a:pt x="2197539" y="121959"/>
                  </a:lnTo>
                  <a:lnTo>
                    <a:pt x="2158452" y="99679"/>
                  </a:lnTo>
                  <a:lnTo>
                    <a:pt x="2118241" y="79464"/>
                  </a:lnTo>
                  <a:lnTo>
                    <a:pt x="2076967" y="61380"/>
                  </a:lnTo>
                  <a:lnTo>
                    <a:pt x="2036930" y="46333"/>
                  </a:lnTo>
                  <a:close/>
                </a:path>
                <a:path w="2649854" h="4309109" extrusionOk="0">
                  <a:moveTo>
                    <a:pt x="1763485" y="0"/>
                  </a:moveTo>
                  <a:lnTo>
                    <a:pt x="1709657" y="1732"/>
                  </a:lnTo>
                  <a:lnTo>
                    <a:pt x="1656672" y="6862"/>
                  </a:lnTo>
                  <a:lnTo>
                    <a:pt x="1604621" y="15290"/>
                  </a:lnTo>
                  <a:lnTo>
                    <a:pt x="1553597" y="26918"/>
                  </a:lnTo>
                  <a:lnTo>
                    <a:pt x="1503694" y="41644"/>
                  </a:lnTo>
                  <a:lnTo>
                    <a:pt x="1455001" y="59369"/>
                  </a:lnTo>
                  <a:lnTo>
                    <a:pt x="1407614" y="79995"/>
                  </a:lnTo>
                  <a:lnTo>
                    <a:pt x="1361623" y="103420"/>
                  </a:lnTo>
                  <a:lnTo>
                    <a:pt x="1361623" y="156644"/>
                  </a:lnTo>
                  <a:lnTo>
                    <a:pt x="1407213" y="131717"/>
                  </a:lnTo>
                  <a:lnTo>
                    <a:pt x="1454340" y="109745"/>
                  </a:lnTo>
                  <a:lnTo>
                    <a:pt x="1502899" y="90842"/>
                  </a:lnTo>
                  <a:lnTo>
                    <a:pt x="1552785" y="75122"/>
                  </a:lnTo>
                  <a:lnTo>
                    <a:pt x="1603891" y="62697"/>
                  </a:lnTo>
                  <a:lnTo>
                    <a:pt x="1656114" y="53682"/>
                  </a:lnTo>
                  <a:lnTo>
                    <a:pt x="1709347" y="48189"/>
                  </a:lnTo>
                  <a:lnTo>
                    <a:pt x="1763485" y="46333"/>
                  </a:lnTo>
                  <a:lnTo>
                    <a:pt x="2036930" y="46333"/>
                  </a:lnTo>
                  <a:lnTo>
                    <a:pt x="2034693" y="45492"/>
                  </a:lnTo>
                  <a:lnTo>
                    <a:pt x="1991479" y="31867"/>
                  </a:lnTo>
                  <a:lnTo>
                    <a:pt x="1947388" y="20571"/>
                  </a:lnTo>
                  <a:lnTo>
                    <a:pt x="1902482" y="11670"/>
                  </a:lnTo>
                  <a:lnTo>
                    <a:pt x="1856821" y="5231"/>
                  </a:lnTo>
                  <a:lnTo>
                    <a:pt x="1810468" y="1318"/>
                  </a:lnTo>
                  <a:lnTo>
                    <a:pt x="1763485" y="0"/>
                  </a:lnTo>
                  <a:close/>
                </a:path>
                <a:path w="2649854" h="4309109" extrusionOk="0">
                  <a:moveTo>
                    <a:pt x="1315321" y="130676"/>
                  </a:moveTo>
                  <a:lnTo>
                    <a:pt x="1276709" y="156494"/>
                  </a:lnTo>
                  <a:lnTo>
                    <a:pt x="1239451" y="184340"/>
                  </a:lnTo>
                  <a:lnTo>
                    <a:pt x="1203614" y="214142"/>
                  </a:lnTo>
                  <a:lnTo>
                    <a:pt x="1169266" y="245826"/>
                  </a:lnTo>
                  <a:lnTo>
                    <a:pt x="1136475" y="279320"/>
                  </a:lnTo>
                  <a:lnTo>
                    <a:pt x="1105308" y="314552"/>
                  </a:lnTo>
                  <a:lnTo>
                    <a:pt x="1075834" y="351448"/>
                  </a:lnTo>
                  <a:lnTo>
                    <a:pt x="1048119" y="389937"/>
                  </a:lnTo>
                  <a:lnTo>
                    <a:pt x="1022232" y="429946"/>
                  </a:lnTo>
                  <a:lnTo>
                    <a:pt x="998241" y="471401"/>
                  </a:lnTo>
                  <a:lnTo>
                    <a:pt x="976214" y="514232"/>
                  </a:lnTo>
                  <a:lnTo>
                    <a:pt x="956217" y="558363"/>
                  </a:lnTo>
                  <a:lnTo>
                    <a:pt x="938319" y="603725"/>
                  </a:lnTo>
                  <a:lnTo>
                    <a:pt x="922587" y="650243"/>
                  </a:lnTo>
                  <a:lnTo>
                    <a:pt x="909090" y="697844"/>
                  </a:lnTo>
                  <a:lnTo>
                    <a:pt x="897895" y="746458"/>
                  </a:lnTo>
                  <a:lnTo>
                    <a:pt x="889070" y="796010"/>
                  </a:lnTo>
                  <a:lnTo>
                    <a:pt x="882682" y="846428"/>
                  </a:lnTo>
                  <a:lnTo>
                    <a:pt x="878800" y="897640"/>
                  </a:lnTo>
                  <a:lnTo>
                    <a:pt x="877491" y="949573"/>
                  </a:lnTo>
                  <a:lnTo>
                    <a:pt x="877491" y="1765485"/>
                  </a:lnTo>
                  <a:lnTo>
                    <a:pt x="876099" y="1810400"/>
                  </a:lnTo>
                  <a:lnTo>
                    <a:pt x="871974" y="1854666"/>
                  </a:lnTo>
                  <a:lnTo>
                    <a:pt x="865190" y="1898217"/>
                  </a:lnTo>
                  <a:lnTo>
                    <a:pt x="855821" y="1940983"/>
                  </a:lnTo>
                  <a:lnTo>
                    <a:pt x="843942" y="1982899"/>
                  </a:lnTo>
                  <a:lnTo>
                    <a:pt x="829629" y="2023896"/>
                  </a:lnTo>
                  <a:lnTo>
                    <a:pt x="812954" y="2063907"/>
                  </a:lnTo>
                  <a:lnTo>
                    <a:pt x="793994" y="2102864"/>
                  </a:lnTo>
                  <a:lnTo>
                    <a:pt x="772823" y="2140701"/>
                  </a:lnTo>
                  <a:lnTo>
                    <a:pt x="749516" y="2177350"/>
                  </a:lnTo>
                  <a:lnTo>
                    <a:pt x="724146" y="2212743"/>
                  </a:lnTo>
                  <a:lnTo>
                    <a:pt x="696789" y="2246813"/>
                  </a:lnTo>
                  <a:lnTo>
                    <a:pt x="667520" y="2279492"/>
                  </a:lnTo>
                  <a:lnTo>
                    <a:pt x="636412" y="2310713"/>
                  </a:lnTo>
                  <a:lnTo>
                    <a:pt x="603542" y="2340409"/>
                  </a:lnTo>
                  <a:lnTo>
                    <a:pt x="568982" y="2368512"/>
                  </a:lnTo>
                  <a:lnTo>
                    <a:pt x="532809" y="2394954"/>
                  </a:lnTo>
                  <a:lnTo>
                    <a:pt x="495096" y="2419669"/>
                  </a:lnTo>
                  <a:lnTo>
                    <a:pt x="455918" y="2442588"/>
                  </a:lnTo>
                  <a:lnTo>
                    <a:pt x="415350" y="2463645"/>
                  </a:lnTo>
                  <a:lnTo>
                    <a:pt x="373467" y="2482771"/>
                  </a:lnTo>
                  <a:lnTo>
                    <a:pt x="330343" y="2499900"/>
                  </a:lnTo>
                  <a:lnTo>
                    <a:pt x="286052" y="2514964"/>
                  </a:lnTo>
                  <a:lnTo>
                    <a:pt x="240670" y="2527895"/>
                  </a:lnTo>
                  <a:lnTo>
                    <a:pt x="194271" y="2538627"/>
                  </a:lnTo>
                  <a:lnTo>
                    <a:pt x="146930" y="2547091"/>
                  </a:lnTo>
                  <a:lnTo>
                    <a:pt x="98721" y="2553220"/>
                  </a:lnTo>
                  <a:lnTo>
                    <a:pt x="49720" y="2556947"/>
                  </a:lnTo>
                  <a:lnTo>
                    <a:pt x="0" y="2558204"/>
                  </a:lnTo>
                  <a:lnTo>
                    <a:pt x="0" y="2604538"/>
                  </a:lnTo>
                  <a:lnTo>
                    <a:pt x="50612" y="2603294"/>
                  </a:lnTo>
                  <a:lnTo>
                    <a:pt x="100520" y="2599605"/>
                  </a:lnTo>
                  <a:lnTo>
                    <a:pt x="149652" y="2593536"/>
                  </a:lnTo>
                  <a:lnTo>
                    <a:pt x="197939" y="2585151"/>
                  </a:lnTo>
                  <a:lnTo>
                    <a:pt x="245307" y="2574515"/>
                  </a:lnTo>
                  <a:lnTo>
                    <a:pt x="291688" y="2561691"/>
                  </a:lnTo>
                  <a:lnTo>
                    <a:pt x="337009" y="2546746"/>
                  </a:lnTo>
                  <a:lnTo>
                    <a:pt x="381201" y="2529742"/>
                  </a:lnTo>
                  <a:lnTo>
                    <a:pt x="424190" y="2510745"/>
                  </a:lnTo>
                  <a:lnTo>
                    <a:pt x="465908" y="2489818"/>
                  </a:lnTo>
                  <a:lnTo>
                    <a:pt x="506283" y="2467027"/>
                  </a:lnTo>
                  <a:lnTo>
                    <a:pt x="545243" y="2442436"/>
                  </a:lnTo>
                  <a:lnTo>
                    <a:pt x="582718" y="2416110"/>
                  </a:lnTo>
                  <a:lnTo>
                    <a:pt x="618638" y="2388112"/>
                  </a:lnTo>
                  <a:lnTo>
                    <a:pt x="652930" y="2358508"/>
                  </a:lnTo>
                  <a:lnTo>
                    <a:pt x="685524" y="2327361"/>
                  </a:lnTo>
                  <a:lnTo>
                    <a:pt x="716349" y="2294737"/>
                  </a:lnTo>
                  <a:lnTo>
                    <a:pt x="745334" y="2260699"/>
                  </a:lnTo>
                  <a:lnTo>
                    <a:pt x="772409" y="2225313"/>
                  </a:lnTo>
                  <a:lnTo>
                    <a:pt x="797501" y="2188642"/>
                  </a:lnTo>
                  <a:lnTo>
                    <a:pt x="820540" y="2150752"/>
                  </a:lnTo>
                  <a:lnTo>
                    <a:pt x="841456" y="2111706"/>
                  </a:lnTo>
                  <a:lnTo>
                    <a:pt x="860177" y="2071569"/>
                  </a:lnTo>
                  <a:lnTo>
                    <a:pt x="876631" y="2030406"/>
                  </a:lnTo>
                  <a:lnTo>
                    <a:pt x="890749" y="1988282"/>
                  </a:lnTo>
                  <a:lnTo>
                    <a:pt x="902460" y="1945259"/>
                  </a:lnTo>
                  <a:lnTo>
                    <a:pt x="911691" y="1901404"/>
                  </a:lnTo>
                  <a:lnTo>
                    <a:pt x="918373" y="1856780"/>
                  </a:lnTo>
                  <a:lnTo>
                    <a:pt x="922434" y="1811452"/>
                  </a:lnTo>
                  <a:lnTo>
                    <a:pt x="923804" y="1765485"/>
                  </a:lnTo>
                  <a:lnTo>
                    <a:pt x="923804" y="949573"/>
                  </a:lnTo>
                  <a:lnTo>
                    <a:pt x="925239" y="896458"/>
                  </a:lnTo>
                  <a:lnTo>
                    <a:pt x="929490" y="844144"/>
                  </a:lnTo>
                  <a:lnTo>
                    <a:pt x="936478" y="792714"/>
                  </a:lnTo>
                  <a:lnTo>
                    <a:pt x="946123" y="742256"/>
                  </a:lnTo>
                  <a:lnTo>
                    <a:pt x="958345" y="692856"/>
                  </a:lnTo>
                  <a:lnTo>
                    <a:pt x="973063" y="644598"/>
                  </a:lnTo>
                  <a:lnTo>
                    <a:pt x="990198" y="597571"/>
                  </a:lnTo>
                  <a:lnTo>
                    <a:pt x="1009670" y="551859"/>
                  </a:lnTo>
                  <a:lnTo>
                    <a:pt x="1031399" y="507548"/>
                  </a:lnTo>
                  <a:lnTo>
                    <a:pt x="1055304" y="464725"/>
                  </a:lnTo>
                  <a:lnTo>
                    <a:pt x="1081307" y="423476"/>
                  </a:lnTo>
                  <a:lnTo>
                    <a:pt x="1109326" y="383886"/>
                  </a:lnTo>
                  <a:lnTo>
                    <a:pt x="1139283" y="346042"/>
                  </a:lnTo>
                  <a:lnTo>
                    <a:pt x="1171096" y="310029"/>
                  </a:lnTo>
                  <a:lnTo>
                    <a:pt x="1204687" y="275934"/>
                  </a:lnTo>
                  <a:lnTo>
                    <a:pt x="1239974" y="243842"/>
                  </a:lnTo>
                  <a:lnTo>
                    <a:pt x="1276879" y="213841"/>
                  </a:lnTo>
                  <a:lnTo>
                    <a:pt x="1315321" y="186015"/>
                  </a:lnTo>
                  <a:lnTo>
                    <a:pt x="1315321" y="130676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99;p1"/>
            <p:cNvSpPr/>
            <p:nvPr/>
          </p:nvSpPr>
          <p:spPr>
            <a:xfrm>
              <a:off x="841817" y="8124553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72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100;p1"/>
            <p:cNvSpPr/>
            <p:nvPr/>
          </p:nvSpPr>
          <p:spPr>
            <a:xfrm>
              <a:off x="841817" y="3212519"/>
              <a:ext cx="2506345" cy="4854575"/>
            </a:xfrm>
            <a:custGeom>
              <a:avLst/>
              <a:gdLst/>
              <a:ahLst/>
              <a:cxnLst/>
              <a:rect l="l" t="t" r="r" b="b"/>
              <a:pathLst>
                <a:path w="2506345" h="4854575" extrusionOk="0">
                  <a:moveTo>
                    <a:pt x="23172" y="4807780"/>
                  </a:moveTo>
                  <a:lnTo>
                    <a:pt x="0" y="4807780"/>
                  </a:lnTo>
                  <a:lnTo>
                    <a:pt x="0" y="4854134"/>
                  </a:lnTo>
                  <a:lnTo>
                    <a:pt x="23172" y="4854134"/>
                  </a:lnTo>
                  <a:lnTo>
                    <a:pt x="23172" y="4807780"/>
                  </a:lnTo>
                  <a:close/>
                </a:path>
                <a:path w="2506345" h="4854575" extrusionOk="0">
                  <a:moveTo>
                    <a:pt x="23172" y="4715092"/>
                  </a:moveTo>
                  <a:lnTo>
                    <a:pt x="0" y="4715092"/>
                  </a:lnTo>
                  <a:lnTo>
                    <a:pt x="0" y="4761446"/>
                  </a:lnTo>
                  <a:lnTo>
                    <a:pt x="23172" y="4761446"/>
                  </a:lnTo>
                  <a:lnTo>
                    <a:pt x="23172" y="4715092"/>
                  </a:lnTo>
                  <a:close/>
                </a:path>
                <a:path w="2506345" h="4854575" extrusionOk="0">
                  <a:moveTo>
                    <a:pt x="23172" y="4622403"/>
                  </a:moveTo>
                  <a:lnTo>
                    <a:pt x="0" y="4622403"/>
                  </a:lnTo>
                  <a:lnTo>
                    <a:pt x="0" y="4668747"/>
                  </a:lnTo>
                  <a:lnTo>
                    <a:pt x="23172" y="4668747"/>
                  </a:lnTo>
                  <a:lnTo>
                    <a:pt x="23172" y="4622403"/>
                  </a:lnTo>
                  <a:close/>
                </a:path>
                <a:path w="2506345" h="4854575" extrusionOk="0">
                  <a:moveTo>
                    <a:pt x="23172" y="4529725"/>
                  </a:moveTo>
                  <a:lnTo>
                    <a:pt x="0" y="4529725"/>
                  </a:lnTo>
                  <a:lnTo>
                    <a:pt x="0" y="4576059"/>
                  </a:lnTo>
                  <a:lnTo>
                    <a:pt x="23172" y="4576059"/>
                  </a:lnTo>
                  <a:lnTo>
                    <a:pt x="23172" y="4529725"/>
                  </a:lnTo>
                  <a:close/>
                </a:path>
                <a:path w="2506345" h="4854575" extrusionOk="0">
                  <a:moveTo>
                    <a:pt x="23172" y="4437037"/>
                  </a:moveTo>
                  <a:lnTo>
                    <a:pt x="0" y="4437037"/>
                  </a:lnTo>
                  <a:lnTo>
                    <a:pt x="0" y="4483381"/>
                  </a:lnTo>
                  <a:lnTo>
                    <a:pt x="23172" y="4483381"/>
                  </a:lnTo>
                  <a:lnTo>
                    <a:pt x="23172" y="4437037"/>
                  </a:lnTo>
                  <a:close/>
                </a:path>
                <a:path w="2506345" h="4854575" extrusionOk="0">
                  <a:moveTo>
                    <a:pt x="2460836" y="4412294"/>
                  </a:moveTo>
                  <a:lnTo>
                    <a:pt x="2492693" y="4439249"/>
                  </a:lnTo>
                  <a:lnTo>
                    <a:pt x="2504436" y="4440273"/>
                  </a:lnTo>
                  <a:lnTo>
                    <a:pt x="2506300" y="4417205"/>
                  </a:lnTo>
                  <a:lnTo>
                    <a:pt x="2494851" y="4416192"/>
                  </a:lnTo>
                  <a:lnTo>
                    <a:pt x="2483454" y="4415037"/>
                  </a:lnTo>
                  <a:lnTo>
                    <a:pt x="2472114" y="4413738"/>
                  </a:lnTo>
                  <a:lnTo>
                    <a:pt x="2460836" y="4412294"/>
                  </a:lnTo>
                  <a:close/>
                </a:path>
                <a:path w="2506345" h="4854575" extrusionOk="0">
                  <a:moveTo>
                    <a:pt x="2371037" y="4395332"/>
                  </a:moveTo>
                  <a:lnTo>
                    <a:pt x="2399851" y="4425493"/>
                  </a:lnTo>
                  <a:lnTo>
                    <a:pt x="2411403" y="4427760"/>
                  </a:lnTo>
                  <a:lnTo>
                    <a:pt x="2415675" y="4405007"/>
                  </a:lnTo>
                  <a:lnTo>
                    <a:pt x="2404445" y="4402800"/>
                  </a:lnTo>
                  <a:lnTo>
                    <a:pt x="2393262" y="4400460"/>
                  </a:lnTo>
                  <a:lnTo>
                    <a:pt x="2382126" y="4397974"/>
                  </a:lnTo>
                  <a:lnTo>
                    <a:pt x="2371037" y="4395332"/>
                  </a:lnTo>
                  <a:close/>
                </a:path>
                <a:path w="2506345" h="4854575" extrusionOk="0">
                  <a:moveTo>
                    <a:pt x="2283616" y="4368976"/>
                  </a:moveTo>
                  <a:lnTo>
                    <a:pt x="2309035" y="4401997"/>
                  </a:lnTo>
                  <a:lnTo>
                    <a:pt x="2320233" y="4405467"/>
                  </a:lnTo>
                  <a:lnTo>
                    <a:pt x="2326934" y="4383280"/>
                  </a:lnTo>
                  <a:lnTo>
                    <a:pt x="2316015" y="4379905"/>
                  </a:lnTo>
                  <a:lnTo>
                    <a:pt x="2305153" y="4376395"/>
                  </a:lnTo>
                  <a:lnTo>
                    <a:pt x="2294353" y="4372752"/>
                  </a:lnTo>
                  <a:lnTo>
                    <a:pt x="2283616" y="4368976"/>
                  </a:lnTo>
                  <a:close/>
                </a:path>
                <a:path w="2506345" h="4854575" extrusionOk="0">
                  <a:moveTo>
                    <a:pt x="23172" y="4344338"/>
                  </a:moveTo>
                  <a:lnTo>
                    <a:pt x="0" y="4344338"/>
                  </a:lnTo>
                  <a:lnTo>
                    <a:pt x="0" y="4390683"/>
                  </a:lnTo>
                  <a:lnTo>
                    <a:pt x="23172" y="4390683"/>
                  </a:lnTo>
                  <a:lnTo>
                    <a:pt x="23172" y="4344338"/>
                  </a:lnTo>
                  <a:close/>
                </a:path>
                <a:path w="2506345" h="4854575" extrusionOk="0">
                  <a:moveTo>
                    <a:pt x="2199503" y="4333574"/>
                  </a:moveTo>
                  <a:lnTo>
                    <a:pt x="2221366" y="4369128"/>
                  </a:lnTo>
                  <a:lnTo>
                    <a:pt x="2232172" y="4373751"/>
                  </a:lnTo>
                  <a:lnTo>
                    <a:pt x="2241146" y="4352380"/>
                  </a:lnTo>
                  <a:lnTo>
                    <a:pt x="2230599" y="4347887"/>
                  </a:lnTo>
                  <a:lnTo>
                    <a:pt x="2220152" y="4343252"/>
                  </a:lnTo>
                  <a:lnTo>
                    <a:pt x="2209791" y="4338480"/>
                  </a:lnTo>
                  <a:lnTo>
                    <a:pt x="2199503" y="4333574"/>
                  </a:lnTo>
                  <a:close/>
                </a:path>
                <a:path w="2506345" h="4854575" extrusionOk="0">
                  <a:moveTo>
                    <a:pt x="2119443" y="4289586"/>
                  </a:moveTo>
                  <a:lnTo>
                    <a:pt x="2107297" y="4309292"/>
                  </a:lnTo>
                  <a:lnTo>
                    <a:pt x="2117293" y="4315405"/>
                  </a:lnTo>
                  <a:lnTo>
                    <a:pt x="2127373" y="4321384"/>
                  </a:lnTo>
                  <a:lnTo>
                    <a:pt x="2137546" y="4327233"/>
                  </a:lnTo>
                  <a:lnTo>
                    <a:pt x="2147819" y="4332957"/>
                  </a:lnTo>
                  <a:lnTo>
                    <a:pt x="2158939" y="4312643"/>
                  </a:lnTo>
                  <a:lnTo>
                    <a:pt x="2148938" y="4307079"/>
                  </a:lnTo>
                  <a:lnTo>
                    <a:pt x="2139030" y="4301382"/>
                  </a:lnTo>
                  <a:lnTo>
                    <a:pt x="2129203" y="4295551"/>
                  </a:lnTo>
                  <a:lnTo>
                    <a:pt x="2119443" y="4289586"/>
                  </a:lnTo>
                  <a:close/>
                </a:path>
                <a:path w="2506345" h="4854575" extrusionOk="0">
                  <a:moveTo>
                    <a:pt x="23172" y="4251682"/>
                  </a:moveTo>
                  <a:lnTo>
                    <a:pt x="0" y="4251682"/>
                  </a:lnTo>
                  <a:lnTo>
                    <a:pt x="0" y="4297973"/>
                  </a:lnTo>
                  <a:lnTo>
                    <a:pt x="23172" y="4297973"/>
                  </a:lnTo>
                  <a:lnTo>
                    <a:pt x="23172" y="4251682"/>
                  </a:lnTo>
                  <a:close/>
                </a:path>
                <a:path w="2506345" h="4854575" extrusionOk="0">
                  <a:moveTo>
                    <a:pt x="2044356" y="4237546"/>
                  </a:moveTo>
                  <a:lnTo>
                    <a:pt x="2030179" y="4255859"/>
                  </a:lnTo>
                  <a:lnTo>
                    <a:pt x="2039501" y="4262964"/>
                  </a:lnTo>
                  <a:lnTo>
                    <a:pt x="2048921" y="4269952"/>
                  </a:lnTo>
                  <a:lnTo>
                    <a:pt x="2058444" y="4276820"/>
                  </a:lnTo>
                  <a:lnTo>
                    <a:pt x="2068073" y="4283565"/>
                  </a:lnTo>
                  <a:lnTo>
                    <a:pt x="2081224" y="4264540"/>
                  </a:lnTo>
                  <a:lnTo>
                    <a:pt x="2071872" y="4257959"/>
                  </a:lnTo>
                  <a:lnTo>
                    <a:pt x="2062606" y="4251267"/>
                  </a:lnTo>
                  <a:lnTo>
                    <a:pt x="2053431" y="4244463"/>
                  </a:lnTo>
                  <a:lnTo>
                    <a:pt x="2044356" y="4237546"/>
                  </a:lnTo>
                  <a:close/>
                </a:path>
                <a:path w="2506345" h="4854575" extrusionOk="0">
                  <a:moveTo>
                    <a:pt x="1974892" y="4178029"/>
                  </a:moveTo>
                  <a:lnTo>
                    <a:pt x="1958914" y="4194846"/>
                  </a:lnTo>
                  <a:lnTo>
                    <a:pt x="1967480" y="4202876"/>
                  </a:lnTo>
                  <a:lnTo>
                    <a:pt x="1976154" y="4210789"/>
                  </a:lnTo>
                  <a:lnTo>
                    <a:pt x="1984938" y="4218586"/>
                  </a:lnTo>
                  <a:lnTo>
                    <a:pt x="1993834" y="4226269"/>
                  </a:lnTo>
                  <a:lnTo>
                    <a:pt x="2008860" y="4208636"/>
                  </a:lnTo>
                  <a:lnTo>
                    <a:pt x="2000200" y="4201156"/>
                  </a:lnTo>
                  <a:lnTo>
                    <a:pt x="1991652" y="4193560"/>
                  </a:lnTo>
                  <a:lnTo>
                    <a:pt x="1983217" y="4185851"/>
                  </a:lnTo>
                  <a:lnTo>
                    <a:pt x="1974892" y="4178029"/>
                  </a:lnTo>
                  <a:close/>
                </a:path>
                <a:path w="2506345" h="4854575" extrusionOk="0">
                  <a:moveTo>
                    <a:pt x="23172" y="4158962"/>
                  </a:moveTo>
                  <a:lnTo>
                    <a:pt x="0" y="4158962"/>
                  </a:lnTo>
                  <a:lnTo>
                    <a:pt x="0" y="4205285"/>
                  </a:lnTo>
                  <a:lnTo>
                    <a:pt x="23172" y="4205285"/>
                  </a:lnTo>
                  <a:lnTo>
                    <a:pt x="23172" y="4158962"/>
                  </a:lnTo>
                  <a:close/>
                </a:path>
                <a:path w="2506345" h="4854575" extrusionOk="0">
                  <a:moveTo>
                    <a:pt x="1911721" y="4111749"/>
                  </a:moveTo>
                  <a:lnTo>
                    <a:pt x="1894183" y="4126890"/>
                  </a:lnTo>
                  <a:lnTo>
                    <a:pt x="1901903" y="4135735"/>
                  </a:lnTo>
                  <a:lnTo>
                    <a:pt x="1909731" y="4144477"/>
                  </a:lnTo>
                  <a:lnTo>
                    <a:pt x="1917658" y="4153119"/>
                  </a:lnTo>
                  <a:lnTo>
                    <a:pt x="1925679" y="4161663"/>
                  </a:lnTo>
                  <a:lnTo>
                    <a:pt x="1942464" y="4145695"/>
                  </a:lnTo>
                  <a:lnTo>
                    <a:pt x="1934626" y="4137350"/>
                  </a:lnTo>
                  <a:lnTo>
                    <a:pt x="1926892" y="4128914"/>
                  </a:lnTo>
                  <a:lnTo>
                    <a:pt x="1919259" y="4120382"/>
                  </a:lnTo>
                  <a:lnTo>
                    <a:pt x="1911721" y="4111749"/>
                  </a:lnTo>
                  <a:close/>
                </a:path>
                <a:path w="2506345" h="4854575" extrusionOk="0">
                  <a:moveTo>
                    <a:pt x="23172" y="4066284"/>
                  </a:moveTo>
                  <a:lnTo>
                    <a:pt x="0" y="4066284"/>
                  </a:lnTo>
                  <a:lnTo>
                    <a:pt x="0" y="4112607"/>
                  </a:lnTo>
                  <a:lnTo>
                    <a:pt x="23172" y="4112607"/>
                  </a:lnTo>
                  <a:lnTo>
                    <a:pt x="23172" y="4066284"/>
                  </a:lnTo>
                  <a:close/>
                </a:path>
                <a:path w="2506345" h="4854575" extrusionOk="0">
                  <a:moveTo>
                    <a:pt x="1855524" y="4039520"/>
                  </a:moveTo>
                  <a:lnTo>
                    <a:pt x="1836551" y="4052756"/>
                  </a:lnTo>
                  <a:lnTo>
                    <a:pt x="1843354" y="4062349"/>
                  </a:lnTo>
                  <a:lnTo>
                    <a:pt x="1850265" y="4071851"/>
                  </a:lnTo>
                  <a:lnTo>
                    <a:pt x="1857298" y="4081252"/>
                  </a:lnTo>
                  <a:lnTo>
                    <a:pt x="1864466" y="4090545"/>
                  </a:lnTo>
                  <a:lnTo>
                    <a:pt x="1882717" y="4076336"/>
                  </a:lnTo>
                  <a:lnTo>
                    <a:pt x="1875765" y="4067266"/>
                  </a:lnTo>
                  <a:lnTo>
                    <a:pt x="1868909" y="4058105"/>
                  </a:lnTo>
                  <a:lnTo>
                    <a:pt x="1862158" y="4048855"/>
                  </a:lnTo>
                  <a:lnTo>
                    <a:pt x="1855524" y="4039520"/>
                  </a:lnTo>
                  <a:close/>
                </a:path>
                <a:path w="2506345" h="4854575" extrusionOk="0">
                  <a:moveTo>
                    <a:pt x="23172" y="3973617"/>
                  </a:moveTo>
                  <a:lnTo>
                    <a:pt x="0" y="3973617"/>
                  </a:lnTo>
                  <a:lnTo>
                    <a:pt x="0" y="4019919"/>
                  </a:lnTo>
                  <a:lnTo>
                    <a:pt x="23172" y="4019919"/>
                  </a:lnTo>
                  <a:lnTo>
                    <a:pt x="23172" y="3973617"/>
                  </a:lnTo>
                  <a:close/>
                </a:path>
                <a:path w="2506345" h="4854575" extrusionOk="0">
                  <a:moveTo>
                    <a:pt x="1806782" y="3961942"/>
                  </a:moveTo>
                  <a:lnTo>
                    <a:pt x="1786573" y="3973271"/>
                  </a:lnTo>
                  <a:lnTo>
                    <a:pt x="1792389" y="3983492"/>
                  </a:lnTo>
                  <a:lnTo>
                    <a:pt x="1798333" y="3993627"/>
                  </a:lnTo>
                  <a:lnTo>
                    <a:pt x="1804398" y="4003675"/>
                  </a:lnTo>
                  <a:lnTo>
                    <a:pt x="1810573" y="4013636"/>
                  </a:lnTo>
                  <a:lnTo>
                    <a:pt x="1830164" y="4001333"/>
                  </a:lnTo>
                  <a:lnTo>
                    <a:pt x="1824154" y="3991608"/>
                  </a:lnTo>
                  <a:lnTo>
                    <a:pt x="1818245" y="3981798"/>
                  </a:lnTo>
                  <a:lnTo>
                    <a:pt x="1812450" y="3971909"/>
                  </a:lnTo>
                  <a:lnTo>
                    <a:pt x="1806782" y="3961942"/>
                  </a:lnTo>
                  <a:close/>
                </a:path>
                <a:path w="2506345" h="4854575" extrusionOk="0">
                  <a:moveTo>
                    <a:pt x="1765925" y="3879881"/>
                  </a:moveTo>
                  <a:lnTo>
                    <a:pt x="1744721" y="3889138"/>
                  </a:lnTo>
                  <a:lnTo>
                    <a:pt x="1749503" y="3899900"/>
                  </a:lnTo>
                  <a:lnTo>
                    <a:pt x="1754417" y="3910587"/>
                  </a:lnTo>
                  <a:lnTo>
                    <a:pt x="1759557" y="3921398"/>
                  </a:lnTo>
                  <a:lnTo>
                    <a:pt x="1764616" y="3931723"/>
                  </a:lnTo>
                  <a:lnTo>
                    <a:pt x="1785338" y="3921398"/>
                  </a:lnTo>
                  <a:lnTo>
                    <a:pt x="1780320" y="3911123"/>
                  </a:lnTo>
                  <a:lnTo>
                    <a:pt x="1775411" y="3900777"/>
                  </a:lnTo>
                  <a:lnTo>
                    <a:pt x="1770613" y="3890363"/>
                  </a:lnTo>
                  <a:lnTo>
                    <a:pt x="1765925" y="3879881"/>
                  </a:lnTo>
                  <a:close/>
                </a:path>
                <a:path w="2506345" h="4854575" extrusionOk="0">
                  <a:moveTo>
                    <a:pt x="23172" y="3880887"/>
                  </a:moveTo>
                  <a:lnTo>
                    <a:pt x="0" y="3880887"/>
                  </a:lnTo>
                  <a:lnTo>
                    <a:pt x="0" y="3927231"/>
                  </a:lnTo>
                  <a:lnTo>
                    <a:pt x="23172" y="3927231"/>
                  </a:lnTo>
                  <a:lnTo>
                    <a:pt x="23172" y="3880887"/>
                  </a:lnTo>
                  <a:close/>
                </a:path>
                <a:path w="2506345" h="4854575" extrusionOk="0">
                  <a:moveTo>
                    <a:pt x="1733507" y="3794219"/>
                  </a:moveTo>
                  <a:lnTo>
                    <a:pt x="1711487" y="3801360"/>
                  </a:lnTo>
                  <a:lnTo>
                    <a:pt x="1715155" y="3812523"/>
                  </a:lnTo>
                  <a:lnTo>
                    <a:pt x="1718964" y="3823616"/>
                  </a:lnTo>
                  <a:lnTo>
                    <a:pt x="1722909" y="3834638"/>
                  </a:lnTo>
                  <a:lnTo>
                    <a:pt x="1726984" y="3845589"/>
                  </a:lnTo>
                  <a:lnTo>
                    <a:pt x="1748669" y="3837411"/>
                  </a:lnTo>
                  <a:lnTo>
                    <a:pt x="1744679" y="3826706"/>
                  </a:lnTo>
                  <a:lnTo>
                    <a:pt x="1740825" y="3815937"/>
                  </a:lnTo>
                  <a:lnTo>
                    <a:pt x="1737103" y="3805107"/>
                  </a:lnTo>
                  <a:lnTo>
                    <a:pt x="1733507" y="3794219"/>
                  </a:lnTo>
                  <a:close/>
                </a:path>
                <a:path w="2506345" h="4854575" extrusionOk="0">
                  <a:moveTo>
                    <a:pt x="23172" y="3788219"/>
                  </a:moveTo>
                  <a:lnTo>
                    <a:pt x="0" y="3788219"/>
                  </a:lnTo>
                  <a:lnTo>
                    <a:pt x="0" y="3834553"/>
                  </a:lnTo>
                  <a:lnTo>
                    <a:pt x="23172" y="3834553"/>
                  </a:lnTo>
                  <a:lnTo>
                    <a:pt x="23172" y="3788219"/>
                  </a:lnTo>
                  <a:close/>
                </a:path>
                <a:path w="2506345" h="4854575" extrusionOk="0">
                  <a:moveTo>
                    <a:pt x="1709686" y="3705918"/>
                  </a:moveTo>
                  <a:lnTo>
                    <a:pt x="1687048" y="3710808"/>
                  </a:lnTo>
                  <a:lnTo>
                    <a:pt x="1689615" y="3722299"/>
                  </a:lnTo>
                  <a:lnTo>
                    <a:pt x="1692320" y="3733729"/>
                  </a:lnTo>
                  <a:lnTo>
                    <a:pt x="1695158" y="3745096"/>
                  </a:lnTo>
                  <a:lnTo>
                    <a:pt x="1698126" y="3756398"/>
                  </a:lnTo>
                  <a:lnTo>
                    <a:pt x="1720513" y="3750377"/>
                  </a:lnTo>
                  <a:lnTo>
                    <a:pt x="1717603" y="3739333"/>
                  </a:lnTo>
                  <a:lnTo>
                    <a:pt x="1714828" y="3728246"/>
                  </a:lnTo>
                  <a:lnTo>
                    <a:pt x="1712189" y="3717110"/>
                  </a:lnTo>
                  <a:lnTo>
                    <a:pt x="1709686" y="3705918"/>
                  </a:lnTo>
                  <a:close/>
                </a:path>
                <a:path w="2506345" h="4854575" extrusionOk="0">
                  <a:moveTo>
                    <a:pt x="23172" y="3695520"/>
                  </a:moveTo>
                  <a:lnTo>
                    <a:pt x="0" y="3695520"/>
                  </a:lnTo>
                  <a:lnTo>
                    <a:pt x="0" y="3741865"/>
                  </a:lnTo>
                  <a:lnTo>
                    <a:pt x="23172" y="3741865"/>
                  </a:lnTo>
                  <a:lnTo>
                    <a:pt x="23172" y="3695520"/>
                  </a:lnTo>
                  <a:close/>
                </a:path>
                <a:path w="2506345" h="4854575" extrusionOk="0">
                  <a:moveTo>
                    <a:pt x="1694639" y="3615659"/>
                  </a:moveTo>
                  <a:lnTo>
                    <a:pt x="1671634" y="3618340"/>
                  </a:lnTo>
                  <a:lnTo>
                    <a:pt x="1673087" y="3630016"/>
                  </a:lnTo>
                  <a:lnTo>
                    <a:pt x="1674659" y="3641646"/>
                  </a:lnTo>
                  <a:lnTo>
                    <a:pt x="1676363" y="3653236"/>
                  </a:lnTo>
                  <a:lnTo>
                    <a:pt x="1678210" y="3664788"/>
                  </a:lnTo>
                  <a:lnTo>
                    <a:pt x="1701079" y="3660946"/>
                  </a:lnTo>
                  <a:lnTo>
                    <a:pt x="1699267" y="3649689"/>
                  </a:lnTo>
                  <a:lnTo>
                    <a:pt x="1697588" y="3638393"/>
                  </a:lnTo>
                  <a:lnTo>
                    <a:pt x="1696044" y="3627051"/>
                  </a:lnTo>
                  <a:lnTo>
                    <a:pt x="1694639" y="3615659"/>
                  </a:lnTo>
                  <a:close/>
                </a:path>
                <a:path w="2506345" h="4854575" extrusionOk="0">
                  <a:moveTo>
                    <a:pt x="23172" y="3602853"/>
                  </a:moveTo>
                  <a:lnTo>
                    <a:pt x="0" y="3602853"/>
                  </a:lnTo>
                  <a:lnTo>
                    <a:pt x="0" y="3649176"/>
                  </a:lnTo>
                  <a:lnTo>
                    <a:pt x="23172" y="3649176"/>
                  </a:lnTo>
                  <a:lnTo>
                    <a:pt x="23172" y="3602853"/>
                  </a:lnTo>
                  <a:close/>
                </a:path>
                <a:path w="2506345" h="4854575" extrusionOk="0">
                  <a:moveTo>
                    <a:pt x="1688430" y="3524353"/>
                  </a:moveTo>
                  <a:lnTo>
                    <a:pt x="1665279" y="3524803"/>
                  </a:lnTo>
                  <a:lnTo>
                    <a:pt x="1665588" y="3536579"/>
                  </a:lnTo>
                  <a:lnTo>
                    <a:pt x="1666030" y="3548314"/>
                  </a:lnTo>
                  <a:lnTo>
                    <a:pt x="1666610" y="3560008"/>
                  </a:lnTo>
                  <a:lnTo>
                    <a:pt x="1667331" y="3571660"/>
                  </a:lnTo>
                  <a:lnTo>
                    <a:pt x="1690461" y="3570069"/>
                  </a:lnTo>
                  <a:lnTo>
                    <a:pt x="1689734" y="3558695"/>
                  </a:lnTo>
                  <a:lnTo>
                    <a:pt x="1689155" y="3547285"/>
                  </a:lnTo>
                  <a:lnTo>
                    <a:pt x="1688721" y="3535838"/>
                  </a:lnTo>
                  <a:lnTo>
                    <a:pt x="1688430" y="3524353"/>
                  </a:lnTo>
                  <a:close/>
                </a:path>
                <a:path w="2506345" h="4854575" extrusionOk="0">
                  <a:moveTo>
                    <a:pt x="23172" y="3510144"/>
                  </a:moveTo>
                  <a:lnTo>
                    <a:pt x="0" y="3510144"/>
                  </a:lnTo>
                  <a:lnTo>
                    <a:pt x="0" y="3556499"/>
                  </a:lnTo>
                  <a:lnTo>
                    <a:pt x="23172" y="3556499"/>
                  </a:lnTo>
                  <a:lnTo>
                    <a:pt x="23172" y="3510144"/>
                  </a:lnTo>
                  <a:close/>
                </a:path>
                <a:path w="2506345" h="4854575" extrusionOk="0">
                  <a:moveTo>
                    <a:pt x="1688231" y="3431895"/>
                  </a:moveTo>
                  <a:lnTo>
                    <a:pt x="1665059" y="3431895"/>
                  </a:lnTo>
                  <a:lnTo>
                    <a:pt x="1665059" y="3478250"/>
                  </a:lnTo>
                  <a:lnTo>
                    <a:pt x="1688231" y="3478250"/>
                  </a:lnTo>
                  <a:lnTo>
                    <a:pt x="1688231" y="3431895"/>
                  </a:lnTo>
                  <a:close/>
                </a:path>
                <a:path w="2506345" h="4854575" extrusionOk="0">
                  <a:moveTo>
                    <a:pt x="23172" y="3417456"/>
                  </a:moveTo>
                  <a:lnTo>
                    <a:pt x="0" y="3417456"/>
                  </a:lnTo>
                  <a:lnTo>
                    <a:pt x="0" y="3463810"/>
                  </a:lnTo>
                  <a:lnTo>
                    <a:pt x="23172" y="3463810"/>
                  </a:lnTo>
                  <a:lnTo>
                    <a:pt x="23172" y="3417456"/>
                  </a:lnTo>
                  <a:close/>
                </a:path>
                <a:path w="2506345" h="4854575" extrusionOk="0">
                  <a:moveTo>
                    <a:pt x="1688231" y="3339196"/>
                  </a:moveTo>
                  <a:lnTo>
                    <a:pt x="1665059" y="3339196"/>
                  </a:lnTo>
                  <a:lnTo>
                    <a:pt x="1665059" y="3385561"/>
                  </a:lnTo>
                  <a:lnTo>
                    <a:pt x="1688231" y="3385561"/>
                  </a:lnTo>
                  <a:lnTo>
                    <a:pt x="1688231" y="3339196"/>
                  </a:lnTo>
                  <a:close/>
                </a:path>
                <a:path w="2506345" h="4854575" extrusionOk="0">
                  <a:moveTo>
                    <a:pt x="23172" y="3324767"/>
                  </a:moveTo>
                  <a:lnTo>
                    <a:pt x="0" y="3324767"/>
                  </a:lnTo>
                  <a:lnTo>
                    <a:pt x="0" y="3371122"/>
                  </a:lnTo>
                  <a:lnTo>
                    <a:pt x="23172" y="3371122"/>
                  </a:lnTo>
                  <a:lnTo>
                    <a:pt x="23172" y="3324767"/>
                  </a:lnTo>
                  <a:close/>
                </a:path>
                <a:path w="2506345" h="4854575" extrusionOk="0">
                  <a:moveTo>
                    <a:pt x="1688231" y="3246539"/>
                  </a:moveTo>
                  <a:lnTo>
                    <a:pt x="1665059" y="3246539"/>
                  </a:lnTo>
                  <a:lnTo>
                    <a:pt x="1665059" y="3292873"/>
                  </a:lnTo>
                  <a:lnTo>
                    <a:pt x="1688231" y="3292873"/>
                  </a:lnTo>
                  <a:lnTo>
                    <a:pt x="1688231" y="3246539"/>
                  </a:lnTo>
                  <a:close/>
                </a:path>
                <a:path w="2506345" h="4854575" extrusionOk="0">
                  <a:moveTo>
                    <a:pt x="23172" y="3232079"/>
                  </a:moveTo>
                  <a:lnTo>
                    <a:pt x="0" y="3232079"/>
                  </a:lnTo>
                  <a:lnTo>
                    <a:pt x="0" y="3278444"/>
                  </a:lnTo>
                  <a:lnTo>
                    <a:pt x="23172" y="3278444"/>
                  </a:lnTo>
                  <a:lnTo>
                    <a:pt x="23172" y="3232079"/>
                  </a:lnTo>
                  <a:close/>
                </a:path>
                <a:path w="2506345" h="4854575" extrusionOk="0">
                  <a:moveTo>
                    <a:pt x="1688231" y="3153851"/>
                  </a:moveTo>
                  <a:lnTo>
                    <a:pt x="1665059" y="3153851"/>
                  </a:lnTo>
                  <a:lnTo>
                    <a:pt x="1665059" y="3200195"/>
                  </a:lnTo>
                  <a:lnTo>
                    <a:pt x="1688231" y="3200195"/>
                  </a:lnTo>
                  <a:lnTo>
                    <a:pt x="1688231" y="3153851"/>
                  </a:lnTo>
                  <a:close/>
                </a:path>
                <a:path w="2506345" h="4854575" extrusionOk="0">
                  <a:moveTo>
                    <a:pt x="23172" y="3139412"/>
                  </a:moveTo>
                  <a:lnTo>
                    <a:pt x="0" y="3139412"/>
                  </a:lnTo>
                  <a:lnTo>
                    <a:pt x="0" y="3185756"/>
                  </a:lnTo>
                  <a:lnTo>
                    <a:pt x="23172" y="3185756"/>
                  </a:lnTo>
                  <a:lnTo>
                    <a:pt x="23172" y="3139412"/>
                  </a:lnTo>
                  <a:close/>
                </a:path>
                <a:path w="2506345" h="4854575" extrusionOk="0">
                  <a:moveTo>
                    <a:pt x="1688231" y="3061152"/>
                  </a:moveTo>
                  <a:lnTo>
                    <a:pt x="1665059" y="3061152"/>
                  </a:lnTo>
                  <a:lnTo>
                    <a:pt x="1665059" y="3107507"/>
                  </a:lnTo>
                  <a:lnTo>
                    <a:pt x="1688231" y="3107507"/>
                  </a:lnTo>
                  <a:lnTo>
                    <a:pt x="1688231" y="3061152"/>
                  </a:lnTo>
                  <a:close/>
                </a:path>
                <a:path w="2506345" h="4854575" extrusionOk="0">
                  <a:moveTo>
                    <a:pt x="23172" y="3046703"/>
                  </a:moveTo>
                  <a:lnTo>
                    <a:pt x="0" y="3046703"/>
                  </a:lnTo>
                  <a:lnTo>
                    <a:pt x="0" y="3093036"/>
                  </a:lnTo>
                  <a:lnTo>
                    <a:pt x="23172" y="3093036"/>
                  </a:lnTo>
                  <a:lnTo>
                    <a:pt x="23172" y="3046703"/>
                  </a:lnTo>
                  <a:close/>
                </a:path>
                <a:path w="2506345" h="4854575" extrusionOk="0">
                  <a:moveTo>
                    <a:pt x="1688231" y="2968475"/>
                  </a:moveTo>
                  <a:lnTo>
                    <a:pt x="1665059" y="2968475"/>
                  </a:lnTo>
                  <a:lnTo>
                    <a:pt x="1665059" y="3014798"/>
                  </a:lnTo>
                  <a:lnTo>
                    <a:pt x="1688231" y="3014798"/>
                  </a:lnTo>
                  <a:lnTo>
                    <a:pt x="1688231" y="2968475"/>
                  </a:lnTo>
                  <a:close/>
                </a:path>
                <a:path w="2506345" h="4854575" extrusionOk="0">
                  <a:moveTo>
                    <a:pt x="23172" y="2954046"/>
                  </a:moveTo>
                  <a:lnTo>
                    <a:pt x="0" y="2954046"/>
                  </a:lnTo>
                  <a:lnTo>
                    <a:pt x="0" y="3000379"/>
                  </a:lnTo>
                  <a:lnTo>
                    <a:pt x="23172" y="3000379"/>
                  </a:lnTo>
                  <a:lnTo>
                    <a:pt x="23172" y="2954046"/>
                  </a:lnTo>
                  <a:close/>
                </a:path>
                <a:path w="2506345" h="4854575" extrusionOk="0">
                  <a:moveTo>
                    <a:pt x="1688231" y="2875776"/>
                  </a:moveTo>
                  <a:lnTo>
                    <a:pt x="1665059" y="2875776"/>
                  </a:lnTo>
                  <a:lnTo>
                    <a:pt x="1665059" y="2922130"/>
                  </a:lnTo>
                  <a:lnTo>
                    <a:pt x="1688231" y="2922130"/>
                  </a:lnTo>
                  <a:lnTo>
                    <a:pt x="1688231" y="2875776"/>
                  </a:lnTo>
                  <a:close/>
                </a:path>
                <a:path w="2506345" h="4854575" extrusionOk="0">
                  <a:moveTo>
                    <a:pt x="23172" y="2861336"/>
                  </a:moveTo>
                  <a:lnTo>
                    <a:pt x="0" y="2861336"/>
                  </a:lnTo>
                  <a:lnTo>
                    <a:pt x="0" y="2907681"/>
                  </a:lnTo>
                  <a:lnTo>
                    <a:pt x="23172" y="2907681"/>
                  </a:lnTo>
                  <a:lnTo>
                    <a:pt x="23172" y="2861336"/>
                  </a:lnTo>
                  <a:close/>
                </a:path>
                <a:path w="2506345" h="4854575" extrusionOk="0">
                  <a:moveTo>
                    <a:pt x="1688231" y="2783098"/>
                  </a:moveTo>
                  <a:lnTo>
                    <a:pt x="1665059" y="2783098"/>
                  </a:lnTo>
                  <a:lnTo>
                    <a:pt x="1665059" y="2829442"/>
                  </a:lnTo>
                  <a:lnTo>
                    <a:pt x="1688231" y="2829442"/>
                  </a:lnTo>
                  <a:lnTo>
                    <a:pt x="1688231" y="2783098"/>
                  </a:lnTo>
                  <a:close/>
                </a:path>
                <a:path w="2506345" h="4854575" extrusionOk="0">
                  <a:moveTo>
                    <a:pt x="23172" y="2768648"/>
                  </a:moveTo>
                  <a:lnTo>
                    <a:pt x="0" y="2768648"/>
                  </a:lnTo>
                  <a:lnTo>
                    <a:pt x="0" y="2814982"/>
                  </a:lnTo>
                  <a:lnTo>
                    <a:pt x="23172" y="2814982"/>
                  </a:lnTo>
                  <a:lnTo>
                    <a:pt x="23172" y="2768648"/>
                  </a:lnTo>
                  <a:close/>
                </a:path>
                <a:path w="2506345" h="4854575" extrusionOk="0">
                  <a:moveTo>
                    <a:pt x="1688231" y="2690399"/>
                  </a:moveTo>
                  <a:lnTo>
                    <a:pt x="1665059" y="2690399"/>
                  </a:lnTo>
                  <a:lnTo>
                    <a:pt x="1665059" y="2736733"/>
                  </a:lnTo>
                  <a:lnTo>
                    <a:pt x="1688231" y="2736733"/>
                  </a:lnTo>
                  <a:lnTo>
                    <a:pt x="1688231" y="2690399"/>
                  </a:lnTo>
                  <a:close/>
                </a:path>
                <a:path w="2506345" h="4854575" extrusionOk="0">
                  <a:moveTo>
                    <a:pt x="23172" y="2675960"/>
                  </a:moveTo>
                  <a:lnTo>
                    <a:pt x="0" y="2675960"/>
                  </a:lnTo>
                  <a:lnTo>
                    <a:pt x="0" y="2722304"/>
                  </a:lnTo>
                  <a:lnTo>
                    <a:pt x="23172" y="2722304"/>
                  </a:lnTo>
                  <a:lnTo>
                    <a:pt x="23172" y="2675960"/>
                  </a:lnTo>
                  <a:close/>
                </a:path>
                <a:path w="2506345" h="4854575" extrusionOk="0">
                  <a:moveTo>
                    <a:pt x="1688231" y="2597690"/>
                  </a:moveTo>
                  <a:lnTo>
                    <a:pt x="1665059" y="2597690"/>
                  </a:lnTo>
                  <a:lnTo>
                    <a:pt x="1665059" y="2644055"/>
                  </a:lnTo>
                  <a:lnTo>
                    <a:pt x="1688231" y="2644055"/>
                  </a:lnTo>
                  <a:lnTo>
                    <a:pt x="1688231" y="2597690"/>
                  </a:lnTo>
                  <a:close/>
                </a:path>
                <a:path w="2506345" h="4854575" extrusionOk="0">
                  <a:moveTo>
                    <a:pt x="23172" y="2583272"/>
                  </a:moveTo>
                  <a:lnTo>
                    <a:pt x="0" y="2583272"/>
                  </a:lnTo>
                  <a:lnTo>
                    <a:pt x="0" y="2629605"/>
                  </a:lnTo>
                  <a:lnTo>
                    <a:pt x="23172" y="2629605"/>
                  </a:lnTo>
                  <a:lnTo>
                    <a:pt x="23172" y="2583272"/>
                  </a:lnTo>
                  <a:close/>
                </a:path>
                <a:path w="2506345" h="4854575" extrusionOk="0">
                  <a:moveTo>
                    <a:pt x="1688231" y="2505054"/>
                  </a:moveTo>
                  <a:lnTo>
                    <a:pt x="1665059" y="2505054"/>
                  </a:lnTo>
                  <a:lnTo>
                    <a:pt x="1665059" y="2551367"/>
                  </a:lnTo>
                  <a:lnTo>
                    <a:pt x="1688231" y="2551367"/>
                  </a:lnTo>
                  <a:lnTo>
                    <a:pt x="1688231" y="2505054"/>
                  </a:lnTo>
                  <a:close/>
                </a:path>
                <a:path w="2506345" h="4854575" extrusionOk="0">
                  <a:moveTo>
                    <a:pt x="23172" y="2490604"/>
                  </a:moveTo>
                  <a:lnTo>
                    <a:pt x="0" y="2490604"/>
                  </a:lnTo>
                  <a:lnTo>
                    <a:pt x="0" y="2536927"/>
                  </a:lnTo>
                  <a:lnTo>
                    <a:pt x="23172" y="2536927"/>
                  </a:lnTo>
                  <a:lnTo>
                    <a:pt x="23172" y="2490604"/>
                  </a:lnTo>
                  <a:close/>
                </a:path>
                <a:path w="2506345" h="4854575" extrusionOk="0">
                  <a:moveTo>
                    <a:pt x="1688231" y="2412355"/>
                  </a:moveTo>
                  <a:lnTo>
                    <a:pt x="1665059" y="2412355"/>
                  </a:lnTo>
                  <a:lnTo>
                    <a:pt x="1665059" y="2458679"/>
                  </a:lnTo>
                  <a:lnTo>
                    <a:pt x="1688231" y="2458679"/>
                  </a:lnTo>
                  <a:lnTo>
                    <a:pt x="1688231" y="2412355"/>
                  </a:lnTo>
                  <a:close/>
                </a:path>
                <a:path w="2506345" h="4854575" extrusionOk="0">
                  <a:moveTo>
                    <a:pt x="23172" y="2397885"/>
                  </a:moveTo>
                  <a:lnTo>
                    <a:pt x="0" y="2397885"/>
                  </a:lnTo>
                  <a:lnTo>
                    <a:pt x="0" y="2444239"/>
                  </a:lnTo>
                  <a:lnTo>
                    <a:pt x="23172" y="2444239"/>
                  </a:lnTo>
                  <a:lnTo>
                    <a:pt x="23172" y="2397885"/>
                  </a:lnTo>
                  <a:close/>
                </a:path>
                <a:path w="2506345" h="4854575" extrusionOk="0">
                  <a:moveTo>
                    <a:pt x="1688231" y="2319636"/>
                  </a:moveTo>
                  <a:lnTo>
                    <a:pt x="1665059" y="2319636"/>
                  </a:lnTo>
                  <a:lnTo>
                    <a:pt x="1665059" y="2365959"/>
                  </a:lnTo>
                  <a:lnTo>
                    <a:pt x="1688231" y="2365959"/>
                  </a:lnTo>
                  <a:lnTo>
                    <a:pt x="1688231" y="2319636"/>
                  </a:lnTo>
                  <a:close/>
                </a:path>
                <a:path w="2506345" h="4854575" extrusionOk="0">
                  <a:moveTo>
                    <a:pt x="23172" y="2305207"/>
                  </a:moveTo>
                  <a:lnTo>
                    <a:pt x="0" y="2305207"/>
                  </a:lnTo>
                  <a:lnTo>
                    <a:pt x="0" y="2351551"/>
                  </a:lnTo>
                  <a:lnTo>
                    <a:pt x="23172" y="2351551"/>
                  </a:lnTo>
                  <a:lnTo>
                    <a:pt x="23172" y="2305207"/>
                  </a:lnTo>
                  <a:close/>
                </a:path>
                <a:path w="2506345" h="4854575" extrusionOk="0">
                  <a:moveTo>
                    <a:pt x="1688231" y="2226958"/>
                  </a:moveTo>
                  <a:lnTo>
                    <a:pt x="1665059" y="2226958"/>
                  </a:lnTo>
                  <a:lnTo>
                    <a:pt x="1665059" y="2273302"/>
                  </a:lnTo>
                  <a:lnTo>
                    <a:pt x="1688231" y="2273302"/>
                  </a:lnTo>
                  <a:lnTo>
                    <a:pt x="1688231" y="2226958"/>
                  </a:lnTo>
                  <a:close/>
                </a:path>
                <a:path w="2506345" h="4854575" extrusionOk="0">
                  <a:moveTo>
                    <a:pt x="23172" y="2212519"/>
                  </a:moveTo>
                  <a:lnTo>
                    <a:pt x="0" y="2212519"/>
                  </a:lnTo>
                  <a:lnTo>
                    <a:pt x="0" y="2258863"/>
                  </a:lnTo>
                  <a:lnTo>
                    <a:pt x="23172" y="2258863"/>
                  </a:lnTo>
                  <a:lnTo>
                    <a:pt x="23172" y="2212519"/>
                  </a:lnTo>
                  <a:close/>
                </a:path>
                <a:path w="2506345" h="4854575" extrusionOk="0">
                  <a:moveTo>
                    <a:pt x="1688231" y="2134270"/>
                  </a:moveTo>
                  <a:lnTo>
                    <a:pt x="1665059" y="2134270"/>
                  </a:lnTo>
                  <a:lnTo>
                    <a:pt x="1665059" y="2180624"/>
                  </a:lnTo>
                  <a:lnTo>
                    <a:pt x="1688231" y="2180624"/>
                  </a:lnTo>
                  <a:lnTo>
                    <a:pt x="1688231" y="2134270"/>
                  </a:lnTo>
                  <a:close/>
                </a:path>
                <a:path w="2506345" h="4854575" extrusionOk="0">
                  <a:moveTo>
                    <a:pt x="23172" y="2119830"/>
                  </a:moveTo>
                  <a:lnTo>
                    <a:pt x="0" y="2119830"/>
                  </a:lnTo>
                  <a:lnTo>
                    <a:pt x="0" y="2166174"/>
                  </a:lnTo>
                  <a:lnTo>
                    <a:pt x="23172" y="2166174"/>
                  </a:lnTo>
                  <a:lnTo>
                    <a:pt x="23172" y="2119830"/>
                  </a:lnTo>
                  <a:close/>
                </a:path>
                <a:path w="2506345" h="4854575" extrusionOk="0">
                  <a:moveTo>
                    <a:pt x="1688231" y="2041581"/>
                  </a:moveTo>
                  <a:lnTo>
                    <a:pt x="1665059" y="2041581"/>
                  </a:lnTo>
                  <a:lnTo>
                    <a:pt x="1665059" y="2087936"/>
                  </a:lnTo>
                  <a:lnTo>
                    <a:pt x="1688231" y="2087936"/>
                  </a:lnTo>
                  <a:lnTo>
                    <a:pt x="1688231" y="2041581"/>
                  </a:lnTo>
                  <a:close/>
                </a:path>
                <a:path w="2506345" h="4854575" extrusionOk="0">
                  <a:moveTo>
                    <a:pt x="23172" y="2027142"/>
                  </a:moveTo>
                  <a:lnTo>
                    <a:pt x="0" y="2027142"/>
                  </a:lnTo>
                  <a:lnTo>
                    <a:pt x="0" y="2073476"/>
                  </a:lnTo>
                  <a:lnTo>
                    <a:pt x="23172" y="2073476"/>
                  </a:lnTo>
                  <a:lnTo>
                    <a:pt x="23172" y="2027142"/>
                  </a:lnTo>
                  <a:close/>
                </a:path>
                <a:path w="2506345" h="4854575" extrusionOk="0">
                  <a:moveTo>
                    <a:pt x="1688231" y="1948893"/>
                  </a:moveTo>
                  <a:lnTo>
                    <a:pt x="1665059" y="1948893"/>
                  </a:lnTo>
                  <a:lnTo>
                    <a:pt x="1665059" y="1995248"/>
                  </a:lnTo>
                  <a:lnTo>
                    <a:pt x="1688231" y="1995248"/>
                  </a:lnTo>
                  <a:lnTo>
                    <a:pt x="1688231" y="1948893"/>
                  </a:lnTo>
                  <a:close/>
                </a:path>
                <a:path w="2506345" h="4854575" extrusionOk="0">
                  <a:moveTo>
                    <a:pt x="23172" y="1934464"/>
                  </a:moveTo>
                  <a:lnTo>
                    <a:pt x="0" y="1934464"/>
                  </a:lnTo>
                  <a:lnTo>
                    <a:pt x="0" y="1980787"/>
                  </a:lnTo>
                  <a:lnTo>
                    <a:pt x="23172" y="1980787"/>
                  </a:lnTo>
                  <a:lnTo>
                    <a:pt x="23172" y="1934464"/>
                  </a:lnTo>
                  <a:close/>
                </a:path>
                <a:path w="2506345" h="4854575" extrusionOk="0">
                  <a:moveTo>
                    <a:pt x="1688231" y="1856226"/>
                  </a:moveTo>
                  <a:lnTo>
                    <a:pt x="1665059" y="1856226"/>
                  </a:lnTo>
                  <a:lnTo>
                    <a:pt x="1665059" y="1902538"/>
                  </a:lnTo>
                  <a:lnTo>
                    <a:pt x="1688231" y="1902538"/>
                  </a:lnTo>
                  <a:lnTo>
                    <a:pt x="1688231" y="1856226"/>
                  </a:lnTo>
                  <a:close/>
                </a:path>
                <a:path w="2506345" h="4854575" extrusionOk="0">
                  <a:moveTo>
                    <a:pt x="23172" y="1841776"/>
                  </a:moveTo>
                  <a:lnTo>
                    <a:pt x="0" y="1841776"/>
                  </a:lnTo>
                  <a:lnTo>
                    <a:pt x="0" y="1888099"/>
                  </a:lnTo>
                  <a:lnTo>
                    <a:pt x="23172" y="1888099"/>
                  </a:lnTo>
                  <a:lnTo>
                    <a:pt x="23172" y="1841776"/>
                  </a:lnTo>
                  <a:close/>
                </a:path>
                <a:path w="2506345" h="4854575" extrusionOk="0">
                  <a:moveTo>
                    <a:pt x="1688231" y="1763527"/>
                  </a:moveTo>
                  <a:lnTo>
                    <a:pt x="1665059" y="1763527"/>
                  </a:lnTo>
                  <a:lnTo>
                    <a:pt x="1665059" y="1809850"/>
                  </a:lnTo>
                  <a:lnTo>
                    <a:pt x="1688231" y="1809850"/>
                  </a:lnTo>
                  <a:lnTo>
                    <a:pt x="1688231" y="1763527"/>
                  </a:lnTo>
                  <a:close/>
                </a:path>
                <a:path w="2506345" h="4854575" extrusionOk="0">
                  <a:moveTo>
                    <a:pt x="23172" y="1749077"/>
                  </a:moveTo>
                  <a:lnTo>
                    <a:pt x="0" y="1749077"/>
                  </a:lnTo>
                  <a:lnTo>
                    <a:pt x="0" y="1795421"/>
                  </a:lnTo>
                  <a:lnTo>
                    <a:pt x="23172" y="1795421"/>
                  </a:lnTo>
                  <a:lnTo>
                    <a:pt x="23172" y="1749077"/>
                  </a:lnTo>
                  <a:close/>
                </a:path>
                <a:path w="2506345" h="4854575" extrusionOk="0">
                  <a:moveTo>
                    <a:pt x="1688231" y="1670849"/>
                  </a:moveTo>
                  <a:lnTo>
                    <a:pt x="1665059" y="1670849"/>
                  </a:lnTo>
                  <a:lnTo>
                    <a:pt x="1665059" y="1717172"/>
                  </a:lnTo>
                  <a:lnTo>
                    <a:pt x="1688231" y="1717172"/>
                  </a:lnTo>
                  <a:lnTo>
                    <a:pt x="1688231" y="1670849"/>
                  </a:lnTo>
                  <a:close/>
                </a:path>
                <a:path w="2506345" h="4854575" extrusionOk="0">
                  <a:moveTo>
                    <a:pt x="23172" y="1656378"/>
                  </a:moveTo>
                  <a:lnTo>
                    <a:pt x="0" y="1656378"/>
                  </a:lnTo>
                  <a:lnTo>
                    <a:pt x="0" y="1702723"/>
                  </a:lnTo>
                  <a:lnTo>
                    <a:pt x="23172" y="1702723"/>
                  </a:lnTo>
                  <a:lnTo>
                    <a:pt x="23172" y="1656378"/>
                  </a:lnTo>
                  <a:close/>
                </a:path>
                <a:path w="2506345" h="4854575" extrusionOk="0">
                  <a:moveTo>
                    <a:pt x="1688231" y="1578140"/>
                  </a:moveTo>
                  <a:lnTo>
                    <a:pt x="1665059" y="1578140"/>
                  </a:lnTo>
                  <a:lnTo>
                    <a:pt x="1665059" y="1624484"/>
                  </a:lnTo>
                  <a:lnTo>
                    <a:pt x="1688231" y="1624484"/>
                  </a:lnTo>
                  <a:lnTo>
                    <a:pt x="1688231" y="1578140"/>
                  </a:lnTo>
                  <a:close/>
                </a:path>
                <a:path w="2506345" h="4854575" extrusionOk="0">
                  <a:moveTo>
                    <a:pt x="23172" y="1563690"/>
                  </a:moveTo>
                  <a:lnTo>
                    <a:pt x="0" y="1563690"/>
                  </a:lnTo>
                  <a:lnTo>
                    <a:pt x="0" y="1610045"/>
                  </a:lnTo>
                  <a:lnTo>
                    <a:pt x="23172" y="1610045"/>
                  </a:lnTo>
                  <a:lnTo>
                    <a:pt x="23172" y="1563690"/>
                  </a:lnTo>
                  <a:close/>
                </a:path>
                <a:path w="2506345" h="4854575" extrusionOk="0">
                  <a:moveTo>
                    <a:pt x="1688231" y="1485441"/>
                  </a:moveTo>
                  <a:lnTo>
                    <a:pt x="1665059" y="1485441"/>
                  </a:lnTo>
                  <a:lnTo>
                    <a:pt x="1665059" y="1531796"/>
                  </a:lnTo>
                  <a:lnTo>
                    <a:pt x="1688231" y="1531796"/>
                  </a:lnTo>
                  <a:lnTo>
                    <a:pt x="1688231" y="1485441"/>
                  </a:lnTo>
                  <a:close/>
                </a:path>
                <a:path w="2506345" h="4854575" extrusionOk="0">
                  <a:moveTo>
                    <a:pt x="23172" y="1471002"/>
                  </a:moveTo>
                  <a:lnTo>
                    <a:pt x="0" y="1471002"/>
                  </a:lnTo>
                  <a:lnTo>
                    <a:pt x="0" y="1517356"/>
                  </a:lnTo>
                  <a:lnTo>
                    <a:pt x="23172" y="1517356"/>
                  </a:lnTo>
                  <a:lnTo>
                    <a:pt x="23172" y="1471002"/>
                  </a:lnTo>
                  <a:close/>
                </a:path>
                <a:path w="2506345" h="4854575" extrusionOk="0">
                  <a:moveTo>
                    <a:pt x="1688231" y="1392753"/>
                  </a:moveTo>
                  <a:lnTo>
                    <a:pt x="1665059" y="1392753"/>
                  </a:lnTo>
                  <a:lnTo>
                    <a:pt x="1665059" y="1439118"/>
                  </a:lnTo>
                  <a:lnTo>
                    <a:pt x="1688231" y="1439118"/>
                  </a:lnTo>
                  <a:lnTo>
                    <a:pt x="1688231" y="1392753"/>
                  </a:lnTo>
                  <a:close/>
                </a:path>
                <a:path w="2506345" h="4854575" extrusionOk="0">
                  <a:moveTo>
                    <a:pt x="23172" y="1378314"/>
                  </a:moveTo>
                  <a:lnTo>
                    <a:pt x="0" y="1378314"/>
                  </a:lnTo>
                  <a:lnTo>
                    <a:pt x="0" y="1424658"/>
                  </a:lnTo>
                  <a:lnTo>
                    <a:pt x="23172" y="1424658"/>
                  </a:lnTo>
                  <a:lnTo>
                    <a:pt x="23172" y="1378314"/>
                  </a:lnTo>
                  <a:close/>
                </a:path>
                <a:path w="2506345" h="4854575" extrusionOk="0">
                  <a:moveTo>
                    <a:pt x="1688231" y="1300065"/>
                  </a:moveTo>
                  <a:lnTo>
                    <a:pt x="1665059" y="1300065"/>
                  </a:lnTo>
                  <a:lnTo>
                    <a:pt x="1665059" y="1346419"/>
                  </a:lnTo>
                  <a:lnTo>
                    <a:pt x="1688231" y="1346419"/>
                  </a:lnTo>
                  <a:lnTo>
                    <a:pt x="1688231" y="1300065"/>
                  </a:lnTo>
                  <a:close/>
                </a:path>
                <a:path w="2506345" h="4854575" extrusionOk="0">
                  <a:moveTo>
                    <a:pt x="23172" y="1285625"/>
                  </a:moveTo>
                  <a:lnTo>
                    <a:pt x="0" y="1285625"/>
                  </a:lnTo>
                  <a:lnTo>
                    <a:pt x="0" y="1331969"/>
                  </a:lnTo>
                  <a:lnTo>
                    <a:pt x="23172" y="1331969"/>
                  </a:lnTo>
                  <a:lnTo>
                    <a:pt x="23172" y="1285625"/>
                  </a:lnTo>
                  <a:close/>
                </a:path>
                <a:path w="2506345" h="4854575" extrusionOk="0">
                  <a:moveTo>
                    <a:pt x="1688231" y="1207408"/>
                  </a:moveTo>
                  <a:lnTo>
                    <a:pt x="1665059" y="1207408"/>
                  </a:lnTo>
                  <a:lnTo>
                    <a:pt x="1665059" y="1253731"/>
                  </a:lnTo>
                  <a:lnTo>
                    <a:pt x="1688231" y="1253731"/>
                  </a:lnTo>
                  <a:lnTo>
                    <a:pt x="1688231" y="1207408"/>
                  </a:lnTo>
                  <a:close/>
                </a:path>
                <a:path w="2506345" h="4854575" extrusionOk="0">
                  <a:moveTo>
                    <a:pt x="23172" y="1192958"/>
                  </a:moveTo>
                  <a:lnTo>
                    <a:pt x="0" y="1192958"/>
                  </a:lnTo>
                  <a:lnTo>
                    <a:pt x="0" y="1239281"/>
                  </a:lnTo>
                  <a:lnTo>
                    <a:pt x="23172" y="1239281"/>
                  </a:lnTo>
                  <a:lnTo>
                    <a:pt x="23172" y="1192958"/>
                  </a:lnTo>
                  <a:close/>
                </a:path>
                <a:path w="2506345" h="4854575" extrusionOk="0">
                  <a:moveTo>
                    <a:pt x="1688231" y="1114709"/>
                  </a:moveTo>
                  <a:lnTo>
                    <a:pt x="1665059" y="1114709"/>
                  </a:lnTo>
                  <a:lnTo>
                    <a:pt x="1665059" y="1161043"/>
                  </a:lnTo>
                  <a:lnTo>
                    <a:pt x="1688231" y="1161043"/>
                  </a:lnTo>
                  <a:lnTo>
                    <a:pt x="1688231" y="1114709"/>
                  </a:lnTo>
                  <a:close/>
                </a:path>
                <a:path w="2506345" h="4854575" extrusionOk="0">
                  <a:moveTo>
                    <a:pt x="23172" y="1100259"/>
                  </a:moveTo>
                  <a:lnTo>
                    <a:pt x="0" y="1100259"/>
                  </a:lnTo>
                  <a:lnTo>
                    <a:pt x="0" y="1146603"/>
                  </a:lnTo>
                  <a:lnTo>
                    <a:pt x="23172" y="1146603"/>
                  </a:lnTo>
                  <a:lnTo>
                    <a:pt x="23172" y="1100259"/>
                  </a:lnTo>
                  <a:close/>
                </a:path>
                <a:path w="2506345" h="4854575" extrusionOk="0">
                  <a:moveTo>
                    <a:pt x="1688231" y="1022010"/>
                  </a:moveTo>
                  <a:lnTo>
                    <a:pt x="1665059" y="1022010"/>
                  </a:lnTo>
                  <a:lnTo>
                    <a:pt x="1665059" y="1068333"/>
                  </a:lnTo>
                  <a:lnTo>
                    <a:pt x="1688231" y="1068333"/>
                  </a:lnTo>
                  <a:lnTo>
                    <a:pt x="1688231" y="1022010"/>
                  </a:lnTo>
                  <a:close/>
                </a:path>
                <a:path w="2506345" h="4854575" extrusionOk="0">
                  <a:moveTo>
                    <a:pt x="23172" y="1007560"/>
                  </a:moveTo>
                  <a:lnTo>
                    <a:pt x="0" y="1007560"/>
                  </a:lnTo>
                  <a:lnTo>
                    <a:pt x="0" y="1053905"/>
                  </a:lnTo>
                  <a:lnTo>
                    <a:pt x="23172" y="1053905"/>
                  </a:lnTo>
                  <a:lnTo>
                    <a:pt x="23172" y="1007560"/>
                  </a:lnTo>
                  <a:close/>
                </a:path>
                <a:path w="2506345" h="4854575" extrusionOk="0">
                  <a:moveTo>
                    <a:pt x="1688231" y="929249"/>
                  </a:moveTo>
                  <a:lnTo>
                    <a:pt x="1665080" y="929416"/>
                  </a:lnTo>
                  <a:lnTo>
                    <a:pt x="1665080" y="975656"/>
                  </a:lnTo>
                  <a:lnTo>
                    <a:pt x="1688231" y="975656"/>
                  </a:lnTo>
                  <a:lnTo>
                    <a:pt x="1688231" y="929249"/>
                  </a:lnTo>
                  <a:close/>
                </a:path>
                <a:path w="2506345" h="4854575" extrusionOk="0">
                  <a:moveTo>
                    <a:pt x="219" y="914631"/>
                  </a:moveTo>
                  <a:lnTo>
                    <a:pt x="52" y="922401"/>
                  </a:lnTo>
                  <a:lnTo>
                    <a:pt x="0" y="961216"/>
                  </a:lnTo>
                  <a:lnTo>
                    <a:pt x="23172" y="961216"/>
                  </a:lnTo>
                  <a:lnTo>
                    <a:pt x="23230" y="922401"/>
                  </a:lnTo>
                  <a:lnTo>
                    <a:pt x="23360" y="915144"/>
                  </a:lnTo>
                  <a:lnTo>
                    <a:pt x="219" y="914631"/>
                  </a:lnTo>
                  <a:close/>
                </a:path>
                <a:path w="2506345" h="4854575" extrusionOk="0">
                  <a:moveTo>
                    <a:pt x="1683310" y="835681"/>
                  </a:moveTo>
                  <a:lnTo>
                    <a:pt x="1660232" y="837953"/>
                  </a:lnTo>
                  <a:lnTo>
                    <a:pt x="1661287" y="849303"/>
                  </a:lnTo>
                  <a:lnTo>
                    <a:pt x="1662209" y="860701"/>
                  </a:lnTo>
                  <a:lnTo>
                    <a:pt x="1663004" y="872138"/>
                  </a:lnTo>
                  <a:lnTo>
                    <a:pt x="1663677" y="883606"/>
                  </a:lnTo>
                  <a:lnTo>
                    <a:pt x="1686754" y="882381"/>
                  </a:lnTo>
                  <a:lnTo>
                    <a:pt x="1686088" y="870651"/>
                  </a:lnTo>
                  <a:lnTo>
                    <a:pt x="1685287" y="858956"/>
                  </a:lnTo>
                  <a:lnTo>
                    <a:pt x="1684359" y="847299"/>
                  </a:lnTo>
                  <a:lnTo>
                    <a:pt x="1683310" y="835681"/>
                  </a:lnTo>
                  <a:close/>
                </a:path>
                <a:path w="2506345" h="4854575" extrusionOk="0">
                  <a:moveTo>
                    <a:pt x="6460" y="821168"/>
                  </a:moveTo>
                  <a:lnTo>
                    <a:pt x="5227" y="832770"/>
                  </a:lnTo>
                  <a:lnTo>
                    <a:pt x="4122" y="844410"/>
                  </a:lnTo>
                  <a:lnTo>
                    <a:pt x="3147" y="856091"/>
                  </a:lnTo>
                  <a:lnTo>
                    <a:pt x="2303" y="867816"/>
                  </a:lnTo>
                  <a:lnTo>
                    <a:pt x="25402" y="869376"/>
                  </a:lnTo>
                  <a:lnTo>
                    <a:pt x="26246" y="857901"/>
                  </a:lnTo>
                  <a:lnTo>
                    <a:pt x="27208" y="846478"/>
                  </a:lnTo>
                  <a:lnTo>
                    <a:pt x="28288" y="835096"/>
                  </a:lnTo>
                  <a:lnTo>
                    <a:pt x="29486" y="823744"/>
                  </a:lnTo>
                  <a:lnTo>
                    <a:pt x="6460" y="821168"/>
                  </a:lnTo>
                  <a:close/>
                </a:path>
                <a:path w="2506345" h="4854575" extrusionOk="0">
                  <a:moveTo>
                    <a:pt x="1669959" y="742940"/>
                  </a:moveTo>
                  <a:lnTo>
                    <a:pt x="1647206" y="747265"/>
                  </a:lnTo>
                  <a:lnTo>
                    <a:pt x="1649277" y="758494"/>
                  </a:lnTo>
                  <a:lnTo>
                    <a:pt x="1651229" y="769761"/>
                  </a:lnTo>
                  <a:lnTo>
                    <a:pt x="1653052" y="781076"/>
                  </a:lnTo>
                  <a:lnTo>
                    <a:pt x="1654734" y="792447"/>
                  </a:lnTo>
                  <a:lnTo>
                    <a:pt x="1677666" y="789159"/>
                  </a:lnTo>
                  <a:lnTo>
                    <a:pt x="1675940" y="777539"/>
                  </a:lnTo>
                  <a:lnTo>
                    <a:pt x="1674079" y="765959"/>
                  </a:lnTo>
                  <a:lnTo>
                    <a:pt x="1672085" y="754425"/>
                  </a:lnTo>
                  <a:lnTo>
                    <a:pt x="1669959" y="742940"/>
                  </a:lnTo>
                  <a:close/>
                </a:path>
                <a:path w="2506345" h="4854575" extrusionOk="0">
                  <a:moveTo>
                    <a:pt x="21067" y="728627"/>
                  </a:moveTo>
                  <a:lnTo>
                    <a:pt x="18795" y="740083"/>
                  </a:lnTo>
                  <a:lnTo>
                    <a:pt x="16646" y="751584"/>
                  </a:lnTo>
                  <a:lnTo>
                    <a:pt x="14618" y="763132"/>
                  </a:lnTo>
                  <a:lnTo>
                    <a:pt x="12711" y="774730"/>
                  </a:lnTo>
                  <a:lnTo>
                    <a:pt x="35601" y="778332"/>
                  </a:lnTo>
                  <a:lnTo>
                    <a:pt x="37448" y="766998"/>
                  </a:lnTo>
                  <a:lnTo>
                    <a:pt x="39424" y="755711"/>
                  </a:lnTo>
                  <a:lnTo>
                    <a:pt x="41527" y="744472"/>
                  </a:lnTo>
                  <a:lnTo>
                    <a:pt x="43757" y="733286"/>
                  </a:lnTo>
                  <a:lnTo>
                    <a:pt x="21067" y="728627"/>
                  </a:lnTo>
                  <a:close/>
                </a:path>
                <a:path w="2506345" h="4854575" extrusionOk="0">
                  <a:moveTo>
                    <a:pt x="1648232" y="651791"/>
                  </a:moveTo>
                  <a:lnTo>
                    <a:pt x="1625992" y="658220"/>
                  </a:lnTo>
                  <a:lnTo>
                    <a:pt x="1629082" y="669194"/>
                  </a:lnTo>
                  <a:lnTo>
                    <a:pt x="1632052" y="680234"/>
                  </a:lnTo>
                  <a:lnTo>
                    <a:pt x="1634900" y="691335"/>
                  </a:lnTo>
                  <a:lnTo>
                    <a:pt x="1637625" y="702491"/>
                  </a:lnTo>
                  <a:lnTo>
                    <a:pt x="1660158" y="697120"/>
                  </a:lnTo>
                  <a:lnTo>
                    <a:pt x="1657369" y="685709"/>
                  </a:lnTo>
                  <a:lnTo>
                    <a:pt x="1654450" y="674349"/>
                  </a:lnTo>
                  <a:lnTo>
                    <a:pt x="1651405" y="663042"/>
                  </a:lnTo>
                  <a:lnTo>
                    <a:pt x="1648232" y="651791"/>
                  </a:lnTo>
                  <a:close/>
                </a:path>
                <a:path w="2506345" h="4854575" extrusionOk="0">
                  <a:moveTo>
                    <a:pt x="44145" y="637781"/>
                  </a:moveTo>
                  <a:lnTo>
                    <a:pt x="40816" y="648989"/>
                  </a:lnTo>
                  <a:lnTo>
                    <a:pt x="37607" y="660249"/>
                  </a:lnTo>
                  <a:lnTo>
                    <a:pt x="34525" y="671568"/>
                  </a:lnTo>
                  <a:lnTo>
                    <a:pt x="31580" y="682953"/>
                  </a:lnTo>
                  <a:lnTo>
                    <a:pt x="54008" y="688628"/>
                  </a:lnTo>
                  <a:lnTo>
                    <a:pt x="56896" y="677511"/>
                  </a:lnTo>
                  <a:lnTo>
                    <a:pt x="59907" y="666450"/>
                  </a:lnTo>
                  <a:lnTo>
                    <a:pt x="63042" y="655453"/>
                  </a:lnTo>
                  <a:lnTo>
                    <a:pt x="66301" y="644524"/>
                  </a:lnTo>
                  <a:lnTo>
                    <a:pt x="44145" y="637781"/>
                  </a:lnTo>
                  <a:close/>
                </a:path>
                <a:path w="2506345" h="4854575" extrusionOk="0">
                  <a:moveTo>
                    <a:pt x="1618107" y="563040"/>
                  </a:moveTo>
                  <a:lnTo>
                    <a:pt x="1596558" y="571532"/>
                  </a:lnTo>
                  <a:lnTo>
                    <a:pt x="1600659" y="582166"/>
                  </a:lnTo>
                  <a:lnTo>
                    <a:pt x="1604651" y="592881"/>
                  </a:lnTo>
                  <a:lnTo>
                    <a:pt x="1608531" y="603671"/>
                  </a:lnTo>
                  <a:lnTo>
                    <a:pt x="1612296" y="614536"/>
                  </a:lnTo>
                  <a:lnTo>
                    <a:pt x="1634232" y="607060"/>
                  </a:lnTo>
                  <a:lnTo>
                    <a:pt x="1630373" y="595956"/>
                  </a:lnTo>
                  <a:lnTo>
                    <a:pt x="1626405" y="584916"/>
                  </a:lnTo>
                  <a:lnTo>
                    <a:pt x="1622320" y="573944"/>
                  </a:lnTo>
                  <a:lnTo>
                    <a:pt x="1618107" y="563040"/>
                  </a:lnTo>
                  <a:close/>
                </a:path>
                <a:path w="2506345" h="4854575" extrusionOk="0">
                  <a:moveTo>
                    <a:pt x="75536" y="549491"/>
                  </a:moveTo>
                  <a:lnTo>
                    <a:pt x="71174" y="560327"/>
                  </a:lnTo>
                  <a:lnTo>
                    <a:pt x="66929" y="571240"/>
                  </a:lnTo>
                  <a:lnTo>
                    <a:pt x="62803" y="582225"/>
                  </a:lnTo>
                  <a:lnTo>
                    <a:pt x="58794" y="593280"/>
                  </a:lnTo>
                  <a:lnTo>
                    <a:pt x="80604" y="601039"/>
                  </a:lnTo>
                  <a:lnTo>
                    <a:pt x="84528" y="590250"/>
                  </a:lnTo>
                  <a:lnTo>
                    <a:pt x="88569" y="579528"/>
                  </a:lnTo>
                  <a:lnTo>
                    <a:pt x="92721" y="568870"/>
                  </a:lnTo>
                  <a:lnTo>
                    <a:pt x="96981" y="558276"/>
                  </a:lnTo>
                  <a:lnTo>
                    <a:pt x="75536" y="549491"/>
                  </a:lnTo>
                  <a:close/>
                </a:path>
                <a:path w="2506345" h="4854575" extrusionOk="0">
                  <a:moveTo>
                    <a:pt x="1579721" y="477535"/>
                  </a:moveTo>
                  <a:lnTo>
                    <a:pt x="1559052" y="488016"/>
                  </a:lnTo>
                  <a:lnTo>
                    <a:pt x="1564172" y="498224"/>
                  </a:lnTo>
                  <a:lnTo>
                    <a:pt x="1569161" y="508517"/>
                  </a:lnTo>
                  <a:lnTo>
                    <a:pt x="1574032" y="518886"/>
                  </a:lnTo>
                  <a:lnTo>
                    <a:pt x="1578800" y="529324"/>
                  </a:lnTo>
                  <a:lnTo>
                    <a:pt x="1599940" y="519816"/>
                  </a:lnTo>
                  <a:lnTo>
                    <a:pt x="1595054" y="509129"/>
                  </a:lnTo>
                  <a:lnTo>
                    <a:pt x="1590054" y="498514"/>
                  </a:lnTo>
                  <a:lnTo>
                    <a:pt x="1584943" y="487980"/>
                  </a:lnTo>
                  <a:lnTo>
                    <a:pt x="1579721" y="477535"/>
                  </a:lnTo>
                  <a:close/>
                </a:path>
                <a:path w="2506345" h="4854575" extrusionOk="0">
                  <a:moveTo>
                    <a:pt x="115232" y="464551"/>
                  </a:moveTo>
                  <a:lnTo>
                    <a:pt x="109833" y="474921"/>
                  </a:lnTo>
                  <a:lnTo>
                    <a:pt x="104512" y="485463"/>
                  </a:lnTo>
                  <a:lnTo>
                    <a:pt x="99397" y="495925"/>
                  </a:lnTo>
                  <a:lnTo>
                    <a:pt x="94363" y="506560"/>
                  </a:lnTo>
                  <a:lnTo>
                    <a:pt x="115347" y="516329"/>
                  </a:lnTo>
                  <a:lnTo>
                    <a:pt x="120275" y="505967"/>
                  </a:lnTo>
                  <a:lnTo>
                    <a:pt x="125311" y="495678"/>
                  </a:lnTo>
                  <a:lnTo>
                    <a:pt x="130503" y="485379"/>
                  </a:lnTo>
                  <a:lnTo>
                    <a:pt x="135723" y="475325"/>
                  </a:lnTo>
                  <a:lnTo>
                    <a:pt x="115232" y="464551"/>
                  </a:lnTo>
                  <a:close/>
                </a:path>
                <a:path w="2506345" h="4854575" extrusionOk="0">
                  <a:moveTo>
                    <a:pt x="1533220" y="396082"/>
                  </a:moveTo>
                  <a:lnTo>
                    <a:pt x="1513681" y="408542"/>
                  </a:lnTo>
                  <a:lnTo>
                    <a:pt x="1519755" y="418207"/>
                  </a:lnTo>
                  <a:lnTo>
                    <a:pt x="1525723" y="427959"/>
                  </a:lnTo>
                  <a:lnTo>
                    <a:pt x="1531580" y="437796"/>
                  </a:lnTo>
                  <a:lnTo>
                    <a:pt x="1537324" y="447714"/>
                  </a:lnTo>
                  <a:lnTo>
                    <a:pt x="1557470" y="436258"/>
                  </a:lnTo>
                  <a:lnTo>
                    <a:pt x="1551568" y="426079"/>
                  </a:lnTo>
                  <a:lnTo>
                    <a:pt x="1545553" y="415989"/>
                  </a:lnTo>
                  <a:lnTo>
                    <a:pt x="1539434" y="405990"/>
                  </a:lnTo>
                  <a:lnTo>
                    <a:pt x="1533220" y="396082"/>
                  </a:lnTo>
                  <a:close/>
                </a:path>
                <a:path w="2506345" h="4854575" extrusionOk="0">
                  <a:moveTo>
                    <a:pt x="162968" y="383810"/>
                  </a:moveTo>
                  <a:lnTo>
                    <a:pt x="156578" y="393617"/>
                  </a:lnTo>
                  <a:lnTo>
                    <a:pt x="150300" y="403516"/>
                  </a:lnTo>
                  <a:lnTo>
                    <a:pt x="144134" y="413509"/>
                  </a:lnTo>
                  <a:lnTo>
                    <a:pt x="138079" y="423599"/>
                  </a:lnTo>
                  <a:lnTo>
                    <a:pt x="158047" y="435400"/>
                  </a:lnTo>
                  <a:lnTo>
                    <a:pt x="163934" y="425554"/>
                  </a:lnTo>
                  <a:lnTo>
                    <a:pt x="169938" y="415804"/>
                  </a:lnTo>
                  <a:lnTo>
                    <a:pt x="176054" y="406148"/>
                  </a:lnTo>
                  <a:lnTo>
                    <a:pt x="182277" y="396584"/>
                  </a:lnTo>
                  <a:lnTo>
                    <a:pt x="162968" y="383810"/>
                  </a:lnTo>
                  <a:close/>
                </a:path>
                <a:path w="2506345" h="4854575" extrusionOk="0">
                  <a:moveTo>
                    <a:pt x="1478897" y="319623"/>
                  </a:moveTo>
                  <a:lnTo>
                    <a:pt x="1460688" y="333989"/>
                  </a:lnTo>
                  <a:lnTo>
                    <a:pt x="1467713" y="342984"/>
                  </a:lnTo>
                  <a:lnTo>
                    <a:pt x="1474625" y="352088"/>
                  </a:lnTo>
                  <a:lnTo>
                    <a:pt x="1481426" y="361295"/>
                  </a:lnTo>
                  <a:lnTo>
                    <a:pt x="1488122" y="370596"/>
                  </a:lnTo>
                  <a:lnTo>
                    <a:pt x="1507032" y="357182"/>
                  </a:lnTo>
                  <a:lnTo>
                    <a:pt x="1500149" y="347638"/>
                  </a:lnTo>
                  <a:lnTo>
                    <a:pt x="1493165" y="338199"/>
                  </a:lnTo>
                  <a:lnTo>
                    <a:pt x="1486080" y="328861"/>
                  </a:lnTo>
                  <a:lnTo>
                    <a:pt x="1478897" y="319623"/>
                  </a:lnTo>
                  <a:close/>
                </a:path>
                <a:path w="2506345" h="4854575" extrusionOk="0">
                  <a:moveTo>
                    <a:pt x="218495" y="308210"/>
                  </a:moveTo>
                  <a:lnTo>
                    <a:pt x="211151" y="317332"/>
                  </a:lnTo>
                  <a:lnTo>
                    <a:pt x="203916" y="326558"/>
                  </a:lnTo>
                  <a:lnTo>
                    <a:pt x="196793" y="335889"/>
                  </a:lnTo>
                  <a:lnTo>
                    <a:pt x="189784" y="345329"/>
                  </a:lnTo>
                  <a:lnTo>
                    <a:pt x="208433" y="359025"/>
                  </a:lnTo>
                  <a:lnTo>
                    <a:pt x="215275" y="349839"/>
                  </a:lnTo>
                  <a:lnTo>
                    <a:pt x="222226" y="340740"/>
                  </a:lnTo>
                  <a:lnTo>
                    <a:pt x="229274" y="331740"/>
                  </a:lnTo>
                  <a:lnTo>
                    <a:pt x="236411" y="322848"/>
                  </a:lnTo>
                  <a:lnTo>
                    <a:pt x="218495" y="308210"/>
                  </a:lnTo>
                  <a:close/>
                </a:path>
                <a:path w="2506345" h="4854575" extrusionOk="0">
                  <a:moveTo>
                    <a:pt x="1417035" y="249091"/>
                  </a:moveTo>
                  <a:lnTo>
                    <a:pt x="1400428" y="265237"/>
                  </a:lnTo>
                  <a:lnTo>
                    <a:pt x="1408337" y="273469"/>
                  </a:lnTo>
                  <a:lnTo>
                    <a:pt x="1416149" y="281812"/>
                  </a:lnTo>
                  <a:lnTo>
                    <a:pt x="1423857" y="290262"/>
                  </a:lnTo>
                  <a:lnTo>
                    <a:pt x="1431453" y="298818"/>
                  </a:lnTo>
                  <a:lnTo>
                    <a:pt x="1448856" y="283541"/>
                  </a:lnTo>
                  <a:lnTo>
                    <a:pt x="1441055" y="274754"/>
                  </a:lnTo>
                  <a:lnTo>
                    <a:pt x="1433146" y="266080"/>
                  </a:lnTo>
                  <a:lnTo>
                    <a:pt x="1425136" y="257525"/>
                  </a:lnTo>
                  <a:lnTo>
                    <a:pt x="1417035" y="249091"/>
                  </a:lnTo>
                  <a:close/>
                </a:path>
                <a:path w="2506345" h="4854575" extrusionOk="0">
                  <a:moveTo>
                    <a:pt x="281551" y="238610"/>
                  </a:moveTo>
                  <a:lnTo>
                    <a:pt x="273272" y="246937"/>
                  </a:lnTo>
                  <a:lnTo>
                    <a:pt x="265109" y="255382"/>
                  </a:lnTo>
                  <a:lnTo>
                    <a:pt x="257052" y="263948"/>
                  </a:lnTo>
                  <a:lnTo>
                    <a:pt x="249091" y="272640"/>
                  </a:lnTo>
                  <a:lnTo>
                    <a:pt x="266232" y="288169"/>
                  </a:lnTo>
                  <a:lnTo>
                    <a:pt x="274000" y="279728"/>
                  </a:lnTo>
                  <a:lnTo>
                    <a:pt x="281872" y="271387"/>
                  </a:lnTo>
                  <a:lnTo>
                    <a:pt x="289840" y="263152"/>
                  </a:lnTo>
                  <a:lnTo>
                    <a:pt x="297896" y="255028"/>
                  </a:lnTo>
                  <a:lnTo>
                    <a:pt x="281551" y="238610"/>
                  </a:lnTo>
                  <a:close/>
                </a:path>
                <a:path w="2506345" h="4854575" extrusionOk="0">
                  <a:moveTo>
                    <a:pt x="1348199" y="185512"/>
                  </a:moveTo>
                  <a:lnTo>
                    <a:pt x="1333446" y="203334"/>
                  </a:lnTo>
                  <a:lnTo>
                    <a:pt x="1342169" y="210666"/>
                  </a:lnTo>
                  <a:lnTo>
                    <a:pt x="1350796" y="218117"/>
                  </a:lnTo>
                  <a:lnTo>
                    <a:pt x="1359329" y="225684"/>
                  </a:lnTo>
                  <a:lnTo>
                    <a:pt x="1367769" y="233364"/>
                  </a:lnTo>
                  <a:lnTo>
                    <a:pt x="1383476" y="216359"/>
                  </a:lnTo>
                  <a:lnTo>
                    <a:pt x="1374808" y="208469"/>
                  </a:lnTo>
                  <a:lnTo>
                    <a:pt x="1366038" y="200688"/>
                  </a:lnTo>
                  <a:lnTo>
                    <a:pt x="1357167" y="193031"/>
                  </a:lnTo>
                  <a:lnTo>
                    <a:pt x="1348199" y="185512"/>
                  </a:lnTo>
                  <a:close/>
                </a:path>
                <a:path w="2506345" h="4854575" extrusionOk="0">
                  <a:moveTo>
                    <a:pt x="351717" y="175994"/>
                  </a:moveTo>
                  <a:lnTo>
                    <a:pt x="342594" y="183383"/>
                  </a:lnTo>
                  <a:lnTo>
                    <a:pt x="333570" y="190907"/>
                  </a:lnTo>
                  <a:lnTo>
                    <a:pt x="324641" y="198561"/>
                  </a:lnTo>
                  <a:lnTo>
                    <a:pt x="315801" y="206339"/>
                  </a:lnTo>
                  <a:lnTo>
                    <a:pt x="331225" y="223616"/>
                  </a:lnTo>
                  <a:lnTo>
                    <a:pt x="339831" y="216042"/>
                  </a:lnTo>
                  <a:lnTo>
                    <a:pt x="348528" y="208591"/>
                  </a:lnTo>
                  <a:lnTo>
                    <a:pt x="357311" y="201268"/>
                  </a:lnTo>
                  <a:lnTo>
                    <a:pt x="366177" y="194077"/>
                  </a:lnTo>
                  <a:lnTo>
                    <a:pt x="351717" y="175994"/>
                  </a:lnTo>
                  <a:close/>
                </a:path>
                <a:path w="2506345" h="4854575" extrusionOk="0">
                  <a:moveTo>
                    <a:pt x="1272788" y="129765"/>
                  </a:moveTo>
                  <a:lnTo>
                    <a:pt x="1260066" y="149126"/>
                  </a:lnTo>
                  <a:lnTo>
                    <a:pt x="1269562" y="155445"/>
                  </a:lnTo>
                  <a:lnTo>
                    <a:pt x="1278970" y="161900"/>
                  </a:lnTo>
                  <a:lnTo>
                    <a:pt x="1288289" y="168489"/>
                  </a:lnTo>
                  <a:lnTo>
                    <a:pt x="1297520" y="175209"/>
                  </a:lnTo>
                  <a:lnTo>
                    <a:pt x="1311289" y="156613"/>
                  </a:lnTo>
                  <a:lnTo>
                    <a:pt x="1301812" y="149677"/>
                  </a:lnTo>
                  <a:lnTo>
                    <a:pt x="1292231" y="142894"/>
                  </a:lnTo>
                  <a:lnTo>
                    <a:pt x="1282554" y="136259"/>
                  </a:lnTo>
                  <a:lnTo>
                    <a:pt x="1272788" y="129765"/>
                  </a:lnTo>
                  <a:close/>
                </a:path>
                <a:path w="2506345" h="4854575" extrusionOk="0">
                  <a:moveTo>
                    <a:pt x="428311" y="121493"/>
                  </a:moveTo>
                  <a:lnTo>
                    <a:pt x="418423" y="127816"/>
                  </a:lnTo>
                  <a:lnTo>
                    <a:pt x="408615" y="134291"/>
                  </a:lnTo>
                  <a:lnTo>
                    <a:pt x="398894" y="140912"/>
                  </a:lnTo>
                  <a:lnTo>
                    <a:pt x="389265" y="147670"/>
                  </a:lnTo>
                  <a:lnTo>
                    <a:pt x="402689" y="166528"/>
                  </a:lnTo>
                  <a:lnTo>
                    <a:pt x="412045" y="159961"/>
                  </a:lnTo>
                  <a:lnTo>
                    <a:pt x="421497" y="153529"/>
                  </a:lnTo>
                  <a:lnTo>
                    <a:pt x="431040" y="147230"/>
                  </a:lnTo>
                  <a:lnTo>
                    <a:pt x="440667" y="141063"/>
                  </a:lnTo>
                  <a:lnTo>
                    <a:pt x="428311" y="121493"/>
                  </a:lnTo>
                  <a:close/>
                </a:path>
                <a:path w="2506345" h="4854575" extrusionOk="0">
                  <a:moveTo>
                    <a:pt x="1191513" y="82845"/>
                  </a:moveTo>
                  <a:lnTo>
                    <a:pt x="1181094" y="103536"/>
                  </a:lnTo>
                  <a:lnTo>
                    <a:pt x="1191253" y="108715"/>
                  </a:lnTo>
                  <a:lnTo>
                    <a:pt x="1201329" y="114055"/>
                  </a:lnTo>
                  <a:lnTo>
                    <a:pt x="1211327" y="119546"/>
                  </a:lnTo>
                  <a:lnTo>
                    <a:pt x="1221250" y="125179"/>
                  </a:lnTo>
                  <a:lnTo>
                    <a:pt x="1232862" y="105148"/>
                  </a:lnTo>
                  <a:lnTo>
                    <a:pt x="1222638" y="99329"/>
                  </a:lnTo>
                  <a:lnTo>
                    <a:pt x="1212337" y="93671"/>
                  </a:lnTo>
                  <a:lnTo>
                    <a:pt x="1201961" y="88175"/>
                  </a:lnTo>
                  <a:lnTo>
                    <a:pt x="1191513" y="82845"/>
                  </a:lnTo>
                  <a:close/>
                </a:path>
                <a:path w="2506345" h="4854575" extrusionOk="0">
                  <a:moveTo>
                    <a:pt x="510570" y="76050"/>
                  </a:moveTo>
                  <a:lnTo>
                    <a:pt x="500018" y="81192"/>
                  </a:lnTo>
                  <a:lnTo>
                    <a:pt x="489536" y="86490"/>
                  </a:lnTo>
                  <a:lnTo>
                    <a:pt x="479126" y="91948"/>
                  </a:lnTo>
                  <a:lnTo>
                    <a:pt x="468792" y="97567"/>
                  </a:lnTo>
                  <a:lnTo>
                    <a:pt x="479985" y="117839"/>
                  </a:lnTo>
                  <a:lnTo>
                    <a:pt x="490016" y="112385"/>
                  </a:lnTo>
                  <a:lnTo>
                    <a:pt x="500127" y="107084"/>
                  </a:lnTo>
                  <a:lnTo>
                    <a:pt x="510310" y="101938"/>
                  </a:lnTo>
                  <a:lnTo>
                    <a:pt x="520560" y="96949"/>
                  </a:lnTo>
                  <a:lnTo>
                    <a:pt x="510570" y="76050"/>
                  </a:lnTo>
                  <a:close/>
                </a:path>
                <a:path w="2506345" h="4854575" extrusionOk="0">
                  <a:moveTo>
                    <a:pt x="1105149" y="45694"/>
                  </a:moveTo>
                  <a:lnTo>
                    <a:pt x="1097285" y="67484"/>
                  </a:lnTo>
                  <a:lnTo>
                    <a:pt x="1108001" y="71438"/>
                  </a:lnTo>
                  <a:lnTo>
                    <a:pt x="1118645" y="75553"/>
                  </a:lnTo>
                  <a:lnTo>
                    <a:pt x="1129216" y="79828"/>
                  </a:lnTo>
                  <a:lnTo>
                    <a:pt x="1139713" y="84259"/>
                  </a:lnTo>
                  <a:lnTo>
                    <a:pt x="1148896" y="62992"/>
                  </a:lnTo>
                  <a:lnTo>
                    <a:pt x="1138059" y="58422"/>
                  </a:lnTo>
                  <a:lnTo>
                    <a:pt x="1127148" y="54014"/>
                  </a:lnTo>
                  <a:lnTo>
                    <a:pt x="1116175" y="49770"/>
                  </a:lnTo>
                  <a:lnTo>
                    <a:pt x="1105149" y="45694"/>
                  </a:lnTo>
                  <a:close/>
                </a:path>
                <a:path w="2506345" h="4854575" extrusionOk="0">
                  <a:moveTo>
                    <a:pt x="597552" y="40637"/>
                  </a:moveTo>
                  <a:lnTo>
                    <a:pt x="586451" y="44495"/>
                  </a:lnTo>
                  <a:lnTo>
                    <a:pt x="575420" y="48515"/>
                  </a:lnTo>
                  <a:lnTo>
                    <a:pt x="564458" y="52698"/>
                  </a:lnTo>
                  <a:lnTo>
                    <a:pt x="553564" y="57045"/>
                  </a:lnTo>
                  <a:lnTo>
                    <a:pt x="562276" y="78479"/>
                  </a:lnTo>
                  <a:lnTo>
                    <a:pt x="572850" y="74268"/>
                  </a:lnTo>
                  <a:lnTo>
                    <a:pt x="583492" y="70211"/>
                  </a:lnTo>
                  <a:lnTo>
                    <a:pt x="594202" y="66309"/>
                  </a:lnTo>
                  <a:lnTo>
                    <a:pt x="604976" y="62563"/>
                  </a:lnTo>
                  <a:lnTo>
                    <a:pt x="597552" y="40637"/>
                  </a:lnTo>
                  <a:close/>
                </a:path>
                <a:path w="2506345" h="4854575" extrusionOk="0">
                  <a:moveTo>
                    <a:pt x="1014848" y="19182"/>
                  </a:moveTo>
                  <a:lnTo>
                    <a:pt x="1009676" y="41768"/>
                  </a:lnTo>
                  <a:lnTo>
                    <a:pt x="1020817" y="44400"/>
                  </a:lnTo>
                  <a:lnTo>
                    <a:pt x="1031893" y="47194"/>
                  </a:lnTo>
                  <a:lnTo>
                    <a:pt x="1042905" y="50158"/>
                  </a:lnTo>
                  <a:lnTo>
                    <a:pt x="1053852" y="53296"/>
                  </a:lnTo>
                  <a:lnTo>
                    <a:pt x="1060417" y="31077"/>
                  </a:lnTo>
                  <a:lnTo>
                    <a:pt x="1049118" y="27843"/>
                  </a:lnTo>
                  <a:lnTo>
                    <a:pt x="1037751" y="24784"/>
                  </a:lnTo>
                  <a:lnTo>
                    <a:pt x="1026324" y="21898"/>
                  </a:lnTo>
                  <a:lnTo>
                    <a:pt x="1014848" y="19182"/>
                  </a:lnTo>
                  <a:close/>
                </a:path>
                <a:path w="2506345" h="4854575" extrusionOk="0">
                  <a:moveTo>
                    <a:pt x="688188" y="15957"/>
                  </a:moveTo>
                  <a:lnTo>
                    <a:pt x="676648" y="18440"/>
                  </a:lnTo>
                  <a:lnTo>
                    <a:pt x="665180" y="21098"/>
                  </a:lnTo>
                  <a:lnTo>
                    <a:pt x="653784" y="23929"/>
                  </a:lnTo>
                  <a:lnTo>
                    <a:pt x="642462" y="26931"/>
                  </a:lnTo>
                  <a:lnTo>
                    <a:pt x="648514" y="49255"/>
                  </a:lnTo>
                  <a:lnTo>
                    <a:pt x="659527" y="46351"/>
                  </a:lnTo>
                  <a:lnTo>
                    <a:pt x="670593" y="43613"/>
                  </a:lnTo>
                  <a:lnTo>
                    <a:pt x="681708" y="41044"/>
                  </a:lnTo>
                  <a:lnTo>
                    <a:pt x="692868" y="38648"/>
                  </a:lnTo>
                  <a:lnTo>
                    <a:pt x="688188" y="15957"/>
                  </a:lnTo>
                  <a:close/>
                </a:path>
                <a:path w="2506345" h="4854575" extrusionOk="0">
                  <a:moveTo>
                    <a:pt x="922076" y="3947"/>
                  </a:moveTo>
                  <a:lnTo>
                    <a:pt x="919752" y="26962"/>
                  </a:lnTo>
                  <a:lnTo>
                    <a:pt x="931127" y="28215"/>
                  </a:lnTo>
                  <a:lnTo>
                    <a:pt x="942450" y="29635"/>
                  </a:lnTo>
                  <a:lnTo>
                    <a:pt x="953721" y="31223"/>
                  </a:lnTo>
                  <a:lnTo>
                    <a:pt x="964944" y="32983"/>
                  </a:lnTo>
                  <a:lnTo>
                    <a:pt x="968713" y="10146"/>
                  </a:lnTo>
                  <a:lnTo>
                    <a:pt x="957125" y="8320"/>
                  </a:lnTo>
                  <a:lnTo>
                    <a:pt x="945485" y="6677"/>
                  </a:lnTo>
                  <a:lnTo>
                    <a:pt x="933800" y="5219"/>
                  </a:lnTo>
                  <a:lnTo>
                    <a:pt x="922076" y="3947"/>
                  </a:lnTo>
                  <a:close/>
                </a:path>
                <a:path w="2506345" h="4854575" extrusionOk="0">
                  <a:moveTo>
                    <a:pt x="781201" y="2544"/>
                  </a:moveTo>
                  <a:lnTo>
                    <a:pt x="769445" y="3610"/>
                  </a:lnTo>
                  <a:lnTo>
                    <a:pt x="757738" y="4846"/>
                  </a:lnTo>
                  <a:lnTo>
                    <a:pt x="746082" y="6253"/>
                  </a:lnTo>
                  <a:lnTo>
                    <a:pt x="734480" y="7832"/>
                  </a:lnTo>
                  <a:lnTo>
                    <a:pt x="737789" y="30763"/>
                  </a:lnTo>
                  <a:lnTo>
                    <a:pt x="749056" y="29224"/>
                  </a:lnTo>
                  <a:lnTo>
                    <a:pt x="760365" y="27857"/>
                  </a:lnTo>
                  <a:lnTo>
                    <a:pt x="771716" y="26664"/>
                  </a:lnTo>
                  <a:lnTo>
                    <a:pt x="783107" y="25643"/>
                  </a:lnTo>
                  <a:lnTo>
                    <a:pt x="781201" y="2544"/>
                  </a:lnTo>
                  <a:close/>
                </a:path>
                <a:path w="2506345" h="4854575" extrusionOk="0">
                  <a:moveTo>
                    <a:pt x="874278" y="23200"/>
                  </a:moveTo>
                  <a:lnTo>
                    <a:pt x="850684" y="23200"/>
                  </a:lnTo>
                  <a:lnTo>
                    <a:pt x="858552" y="23309"/>
                  </a:lnTo>
                  <a:lnTo>
                    <a:pt x="866416" y="23491"/>
                  </a:lnTo>
                  <a:lnTo>
                    <a:pt x="874256" y="23758"/>
                  </a:lnTo>
                  <a:lnTo>
                    <a:pt x="874278" y="23200"/>
                  </a:lnTo>
                  <a:close/>
                </a:path>
                <a:path w="2506345" h="4854575" extrusionOk="0">
                  <a:moveTo>
                    <a:pt x="844141" y="0"/>
                  </a:moveTo>
                  <a:lnTo>
                    <a:pt x="828163" y="136"/>
                  </a:lnTo>
                  <a:lnTo>
                    <a:pt x="828665" y="23308"/>
                  </a:lnTo>
                  <a:lnTo>
                    <a:pt x="874278" y="23200"/>
                  </a:lnTo>
                  <a:lnTo>
                    <a:pt x="875198" y="638"/>
                  </a:lnTo>
                  <a:lnTo>
                    <a:pt x="867449" y="344"/>
                  </a:lnTo>
                  <a:lnTo>
                    <a:pt x="859689" y="146"/>
                  </a:lnTo>
                  <a:lnTo>
                    <a:pt x="844141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101;p1"/>
            <p:cNvSpPr/>
            <p:nvPr/>
          </p:nvSpPr>
          <p:spPr>
            <a:xfrm>
              <a:off x="3395645" y="7632270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5" h="23495" extrusionOk="0">
                  <a:moveTo>
                    <a:pt x="649" y="0"/>
                  </a:moveTo>
                  <a:lnTo>
                    <a:pt x="0" y="23172"/>
                  </a:lnTo>
                  <a:lnTo>
                    <a:pt x="7832" y="23381"/>
                  </a:lnTo>
                  <a:lnTo>
                    <a:pt x="23486" y="23475"/>
                  </a:lnTo>
                  <a:lnTo>
                    <a:pt x="23486" y="314"/>
                  </a:lnTo>
                  <a:lnTo>
                    <a:pt x="8230" y="219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102;p1"/>
            <p:cNvSpPr/>
            <p:nvPr/>
          </p:nvSpPr>
          <p:spPr>
            <a:xfrm>
              <a:off x="830241" y="8136128"/>
              <a:ext cx="46355" cy="4429125"/>
            </a:xfrm>
            <a:custGeom>
              <a:avLst/>
              <a:gdLst/>
              <a:ahLst/>
              <a:cxnLst/>
              <a:rect l="l" t="t" r="r" b="b"/>
              <a:pathLst>
                <a:path w="46355" h="4429125" extrusionOk="0">
                  <a:moveTo>
                    <a:pt x="46312" y="1884015"/>
                  </a:moveTo>
                  <a:lnTo>
                    <a:pt x="34893" y="1891100"/>
                  </a:lnTo>
                  <a:lnTo>
                    <a:pt x="23364" y="1898011"/>
                  </a:lnTo>
                  <a:lnTo>
                    <a:pt x="11731" y="1904743"/>
                  </a:lnTo>
                  <a:lnTo>
                    <a:pt x="0" y="1911292"/>
                  </a:lnTo>
                  <a:lnTo>
                    <a:pt x="0" y="4428933"/>
                  </a:lnTo>
                  <a:lnTo>
                    <a:pt x="46312" y="4428933"/>
                  </a:lnTo>
                  <a:lnTo>
                    <a:pt x="46312" y="1884015"/>
                  </a:lnTo>
                  <a:close/>
                </a:path>
                <a:path w="46355" h="4429125" extrusionOk="0">
                  <a:moveTo>
                    <a:pt x="46312" y="0"/>
                  </a:moveTo>
                  <a:lnTo>
                    <a:pt x="0" y="0"/>
                  </a:lnTo>
                  <a:lnTo>
                    <a:pt x="0" y="1858048"/>
                  </a:lnTo>
                  <a:lnTo>
                    <a:pt x="11753" y="1850992"/>
                  </a:lnTo>
                  <a:lnTo>
                    <a:pt x="23391" y="1843742"/>
                  </a:lnTo>
                  <a:lnTo>
                    <a:pt x="34912" y="1836299"/>
                  </a:lnTo>
                  <a:lnTo>
                    <a:pt x="46312" y="1828666"/>
                  </a:lnTo>
                  <a:lnTo>
                    <a:pt x="46312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"/>
            <p:cNvSpPr/>
            <p:nvPr/>
          </p:nvSpPr>
          <p:spPr>
            <a:xfrm>
              <a:off x="3677961" y="11016837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2" y="4705"/>
                  </a:lnTo>
                  <a:lnTo>
                    <a:pt x="141427" y="18201"/>
                  </a:lnTo>
                  <a:lnTo>
                    <a:pt x="102089" y="39556"/>
                  </a:lnTo>
                  <a:lnTo>
                    <a:pt x="67817" y="67838"/>
                  </a:lnTo>
                  <a:lnTo>
                    <a:pt x="39542" y="102114"/>
                  </a:lnTo>
                  <a:lnTo>
                    <a:pt x="18194" y="141454"/>
                  </a:lnTo>
                  <a:lnTo>
                    <a:pt x="4703" y="184924"/>
                  </a:lnTo>
                  <a:lnTo>
                    <a:pt x="0" y="231595"/>
                  </a:lnTo>
                  <a:lnTo>
                    <a:pt x="4703" y="278278"/>
                  </a:lnTo>
                  <a:lnTo>
                    <a:pt x="18194" y="321756"/>
                  </a:lnTo>
                  <a:lnTo>
                    <a:pt x="39542" y="361100"/>
                  </a:lnTo>
                  <a:lnTo>
                    <a:pt x="67817" y="395378"/>
                  </a:lnTo>
                  <a:lnTo>
                    <a:pt x="102089" y="423658"/>
                  </a:lnTo>
                  <a:lnTo>
                    <a:pt x="141427" y="445011"/>
                  </a:lnTo>
                  <a:lnTo>
                    <a:pt x="184902" y="458506"/>
                  </a:lnTo>
                  <a:lnTo>
                    <a:pt x="231584" y="463211"/>
                  </a:lnTo>
                  <a:lnTo>
                    <a:pt x="278255" y="458506"/>
                  </a:lnTo>
                  <a:lnTo>
                    <a:pt x="321727" y="445011"/>
                  </a:lnTo>
                  <a:lnTo>
                    <a:pt x="361068" y="423658"/>
                  </a:lnTo>
                  <a:lnTo>
                    <a:pt x="395346" y="395378"/>
                  </a:lnTo>
                  <a:lnTo>
                    <a:pt x="423630" y="361100"/>
                  </a:lnTo>
                  <a:lnTo>
                    <a:pt x="444986" y="321756"/>
                  </a:lnTo>
                  <a:lnTo>
                    <a:pt x="458483" y="278278"/>
                  </a:lnTo>
                  <a:lnTo>
                    <a:pt x="463190" y="231595"/>
                  </a:lnTo>
                  <a:lnTo>
                    <a:pt x="458483" y="184924"/>
                  </a:lnTo>
                  <a:lnTo>
                    <a:pt x="444986" y="141454"/>
                  </a:lnTo>
                  <a:lnTo>
                    <a:pt x="423630" y="102114"/>
                  </a:lnTo>
                  <a:lnTo>
                    <a:pt x="395346" y="67838"/>
                  </a:lnTo>
                  <a:lnTo>
                    <a:pt x="361068" y="39556"/>
                  </a:lnTo>
                  <a:lnTo>
                    <a:pt x="321727" y="18201"/>
                  </a:lnTo>
                  <a:lnTo>
                    <a:pt x="278255" y="4705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"/>
            <p:cNvSpPr/>
            <p:nvPr/>
          </p:nvSpPr>
          <p:spPr>
            <a:xfrm>
              <a:off x="1960254" y="8294417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74" y="0"/>
                  </a:moveTo>
                  <a:lnTo>
                    <a:pt x="184901" y="4704"/>
                  </a:lnTo>
                  <a:lnTo>
                    <a:pt x="141432" y="18195"/>
                  </a:lnTo>
                  <a:lnTo>
                    <a:pt x="102095" y="39545"/>
                  </a:lnTo>
                  <a:lnTo>
                    <a:pt x="67823" y="67821"/>
                  </a:lnTo>
                  <a:lnTo>
                    <a:pt x="39547" y="102093"/>
                  </a:lnTo>
                  <a:lnTo>
                    <a:pt x="18197" y="141432"/>
                  </a:lnTo>
                  <a:lnTo>
                    <a:pt x="4704" y="184905"/>
                  </a:lnTo>
                  <a:lnTo>
                    <a:pt x="0" y="231584"/>
                  </a:lnTo>
                  <a:lnTo>
                    <a:pt x="4704" y="278252"/>
                  </a:lnTo>
                  <a:lnTo>
                    <a:pt x="18197" y="321722"/>
                  </a:lnTo>
                  <a:lnTo>
                    <a:pt x="39547" y="361063"/>
                  </a:lnTo>
                  <a:lnTo>
                    <a:pt x="67823" y="395342"/>
                  </a:lnTo>
                  <a:lnTo>
                    <a:pt x="102095" y="423627"/>
                  </a:lnTo>
                  <a:lnTo>
                    <a:pt x="141432" y="444984"/>
                  </a:lnTo>
                  <a:lnTo>
                    <a:pt x="184901" y="458483"/>
                  </a:lnTo>
                  <a:lnTo>
                    <a:pt x="231574" y="463190"/>
                  </a:lnTo>
                  <a:lnTo>
                    <a:pt x="278252" y="458483"/>
                  </a:lnTo>
                  <a:lnTo>
                    <a:pt x="321726" y="444984"/>
                  </a:lnTo>
                  <a:lnTo>
                    <a:pt x="361064" y="423627"/>
                  </a:lnTo>
                  <a:lnTo>
                    <a:pt x="395337" y="395342"/>
                  </a:lnTo>
                  <a:lnTo>
                    <a:pt x="423613" y="361063"/>
                  </a:lnTo>
                  <a:lnTo>
                    <a:pt x="444962" y="321722"/>
                  </a:lnTo>
                  <a:lnTo>
                    <a:pt x="458454" y="278252"/>
                  </a:lnTo>
                  <a:lnTo>
                    <a:pt x="463158" y="231584"/>
                  </a:lnTo>
                  <a:lnTo>
                    <a:pt x="458454" y="184905"/>
                  </a:lnTo>
                  <a:lnTo>
                    <a:pt x="444962" y="141432"/>
                  </a:lnTo>
                  <a:lnTo>
                    <a:pt x="423613" y="102093"/>
                  </a:lnTo>
                  <a:lnTo>
                    <a:pt x="395337" y="67821"/>
                  </a:lnTo>
                  <a:lnTo>
                    <a:pt x="361064" y="39545"/>
                  </a:lnTo>
                  <a:lnTo>
                    <a:pt x="321726" y="18195"/>
                  </a:lnTo>
                  <a:lnTo>
                    <a:pt x="278252" y="4704"/>
                  </a:lnTo>
                  <a:lnTo>
                    <a:pt x="23157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105;p1"/>
            <p:cNvSpPr/>
            <p:nvPr/>
          </p:nvSpPr>
          <p:spPr>
            <a:xfrm>
              <a:off x="19139825" y="697309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106;p1"/>
            <p:cNvSpPr/>
            <p:nvPr/>
          </p:nvSpPr>
          <p:spPr>
            <a:xfrm>
              <a:off x="19139836" y="7030843"/>
              <a:ext cx="964565" cy="4239260"/>
            </a:xfrm>
            <a:custGeom>
              <a:avLst/>
              <a:gdLst/>
              <a:ahLst/>
              <a:cxnLst/>
              <a:rect l="l" t="t" r="r" b="b"/>
              <a:pathLst>
                <a:path w="964565" h="4239259" extrusionOk="0">
                  <a:moveTo>
                    <a:pt x="951321" y="4215013"/>
                  </a:moveTo>
                  <a:lnTo>
                    <a:pt x="949929" y="4238111"/>
                  </a:lnTo>
                  <a:lnTo>
                    <a:pt x="954693" y="4238415"/>
                  </a:lnTo>
                  <a:lnTo>
                    <a:pt x="964263" y="4238876"/>
                  </a:lnTo>
                  <a:lnTo>
                    <a:pt x="964263" y="4215683"/>
                  </a:lnTo>
                  <a:lnTo>
                    <a:pt x="951321" y="4215013"/>
                  </a:lnTo>
                  <a:close/>
                </a:path>
                <a:path w="964565" h="4239259" extrusionOk="0">
                  <a:moveTo>
                    <a:pt x="860947" y="4204594"/>
                  </a:moveTo>
                  <a:lnTo>
                    <a:pt x="891707" y="4232644"/>
                  </a:lnTo>
                  <a:lnTo>
                    <a:pt x="903386" y="4234070"/>
                  </a:lnTo>
                  <a:lnTo>
                    <a:pt x="906003" y="4211023"/>
                  </a:lnTo>
                  <a:lnTo>
                    <a:pt x="894665" y="4209636"/>
                  </a:lnTo>
                  <a:lnTo>
                    <a:pt x="883377" y="4208107"/>
                  </a:lnTo>
                  <a:lnTo>
                    <a:pt x="872138" y="4206429"/>
                  </a:lnTo>
                  <a:lnTo>
                    <a:pt x="860947" y="4204594"/>
                  </a:lnTo>
                  <a:close/>
                </a:path>
                <a:path w="964565" h="4239259" extrusionOk="0">
                  <a:moveTo>
                    <a:pt x="772290" y="4184605"/>
                  </a:moveTo>
                  <a:lnTo>
                    <a:pt x="799820" y="4215712"/>
                  </a:lnTo>
                  <a:lnTo>
                    <a:pt x="811189" y="4218363"/>
                  </a:lnTo>
                  <a:lnTo>
                    <a:pt x="816299" y="4195788"/>
                  </a:lnTo>
                  <a:lnTo>
                    <a:pt x="805228" y="4193206"/>
                  </a:lnTo>
                  <a:lnTo>
                    <a:pt x="794197" y="4190483"/>
                  </a:lnTo>
                  <a:lnTo>
                    <a:pt x="783214" y="4187617"/>
                  </a:lnTo>
                  <a:lnTo>
                    <a:pt x="772290" y="4184605"/>
                  </a:lnTo>
                  <a:close/>
                </a:path>
                <a:path w="964565" h="4239259" extrusionOk="0">
                  <a:moveTo>
                    <a:pt x="686199" y="4155297"/>
                  </a:moveTo>
                  <a:lnTo>
                    <a:pt x="710404" y="4189145"/>
                  </a:lnTo>
                  <a:lnTo>
                    <a:pt x="721454" y="4192992"/>
                  </a:lnTo>
                  <a:lnTo>
                    <a:pt x="728920" y="4171056"/>
                  </a:lnTo>
                  <a:lnTo>
                    <a:pt x="718157" y="4167315"/>
                  </a:lnTo>
                  <a:lnTo>
                    <a:pt x="707457" y="4163436"/>
                  </a:lnTo>
                  <a:lnTo>
                    <a:pt x="696808" y="4159426"/>
                  </a:lnTo>
                  <a:lnTo>
                    <a:pt x="686199" y="4155297"/>
                  </a:lnTo>
                  <a:close/>
                </a:path>
                <a:path w="964565" h="4239259" extrusionOk="0">
                  <a:moveTo>
                    <a:pt x="603426" y="4117204"/>
                  </a:moveTo>
                  <a:lnTo>
                    <a:pt x="592714" y="4137716"/>
                  </a:lnTo>
                  <a:lnTo>
                    <a:pt x="603112" y="4143084"/>
                  </a:lnTo>
                  <a:lnTo>
                    <a:pt x="613572" y="4148308"/>
                  </a:lnTo>
                  <a:lnTo>
                    <a:pt x="624096" y="4153398"/>
                  </a:lnTo>
                  <a:lnTo>
                    <a:pt x="634682" y="4158365"/>
                  </a:lnTo>
                  <a:lnTo>
                    <a:pt x="644409" y="4137350"/>
                  </a:lnTo>
                  <a:lnTo>
                    <a:pt x="634084" y="4132496"/>
                  </a:lnTo>
                  <a:lnTo>
                    <a:pt x="623812" y="4127516"/>
                  </a:lnTo>
                  <a:lnTo>
                    <a:pt x="613592" y="4122418"/>
                  </a:lnTo>
                  <a:lnTo>
                    <a:pt x="603426" y="4117204"/>
                  </a:lnTo>
                  <a:close/>
                </a:path>
                <a:path w="964565" h="4239259" extrusionOk="0">
                  <a:moveTo>
                    <a:pt x="524811" y="4070954"/>
                  </a:moveTo>
                  <a:lnTo>
                    <a:pt x="512110" y="4090315"/>
                  </a:lnTo>
                  <a:lnTo>
                    <a:pt x="521945" y="4096664"/>
                  </a:lnTo>
                  <a:lnTo>
                    <a:pt x="531851" y="4102897"/>
                  </a:lnTo>
                  <a:lnTo>
                    <a:pt x="541825" y="4109014"/>
                  </a:lnTo>
                  <a:lnTo>
                    <a:pt x="551868" y="4115016"/>
                  </a:lnTo>
                  <a:lnTo>
                    <a:pt x="563616" y="4095079"/>
                  </a:lnTo>
                  <a:lnTo>
                    <a:pt x="553814" y="4089217"/>
                  </a:lnTo>
                  <a:lnTo>
                    <a:pt x="544076" y="4083240"/>
                  </a:lnTo>
                  <a:lnTo>
                    <a:pt x="534406" y="4077152"/>
                  </a:lnTo>
                  <a:lnTo>
                    <a:pt x="524811" y="4070954"/>
                  </a:lnTo>
                  <a:close/>
                </a:path>
                <a:path w="964565" h="4239259" extrusionOk="0">
                  <a:moveTo>
                    <a:pt x="450813" y="4017228"/>
                  </a:moveTo>
                  <a:lnTo>
                    <a:pt x="436342" y="4035332"/>
                  </a:lnTo>
                  <a:lnTo>
                    <a:pt x="445558" y="4042603"/>
                  </a:lnTo>
                  <a:lnTo>
                    <a:pt x="454834" y="4049760"/>
                  </a:lnTo>
                  <a:lnTo>
                    <a:pt x="464181" y="4056796"/>
                  </a:lnTo>
                  <a:lnTo>
                    <a:pt x="473608" y="4063708"/>
                  </a:lnTo>
                  <a:lnTo>
                    <a:pt x="487168" y="4044944"/>
                  </a:lnTo>
                  <a:lnTo>
                    <a:pt x="477979" y="4038186"/>
                  </a:lnTo>
                  <a:lnTo>
                    <a:pt x="468853" y="4031318"/>
                  </a:lnTo>
                  <a:lnTo>
                    <a:pt x="459796" y="4024334"/>
                  </a:lnTo>
                  <a:lnTo>
                    <a:pt x="450813" y="4017228"/>
                  </a:lnTo>
                  <a:close/>
                </a:path>
                <a:path w="964565" h="4239259" extrusionOk="0">
                  <a:moveTo>
                    <a:pt x="382208" y="3957115"/>
                  </a:moveTo>
                  <a:lnTo>
                    <a:pt x="366219" y="3973795"/>
                  </a:lnTo>
                  <a:lnTo>
                    <a:pt x="374687" y="3981845"/>
                  </a:lnTo>
                  <a:lnTo>
                    <a:pt x="383246" y="3989789"/>
                  </a:lnTo>
                  <a:lnTo>
                    <a:pt x="391885" y="3997631"/>
                  </a:lnTo>
                  <a:lnTo>
                    <a:pt x="400595" y="4005375"/>
                  </a:lnTo>
                  <a:lnTo>
                    <a:pt x="415893" y="3987951"/>
                  </a:lnTo>
                  <a:lnTo>
                    <a:pt x="407356" y="3980391"/>
                  </a:lnTo>
                  <a:lnTo>
                    <a:pt x="398897" y="3972729"/>
                  </a:lnTo>
                  <a:lnTo>
                    <a:pt x="390515" y="3964969"/>
                  </a:lnTo>
                  <a:lnTo>
                    <a:pt x="382208" y="3957115"/>
                  </a:lnTo>
                  <a:close/>
                </a:path>
                <a:path w="964565" h="4239259" extrusionOk="0">
                  <a:moveTo>
                    <a:pt x="319131" y="3891096"/>
                  </a:moveTo>
                  <a:lnTo>
                    <a:pt x="301729" y="3906394"/>
                  </a:lnTo>
                  <a:lnTo>
                    <a:pt x="309491" y="3915132"/>
                  </a:lnTo>
                  <a:lnTo>
                    <a:pt x="317326" y="3923782"/>
                  </a:lnTo>
                  <a:lnTo>
                    <a:pt x="325242" y="3932331"/>
                  </a:lnTo>
                  <a:lnTo>
                    <a:pt x="333246" y="3940770"/>
                  </a:lnTo>
                  <a:lnTo>
                    <a:pt x="349989" y="3924760"/>
                  </a:lnTo>
                  <a:lnTo>
                    <a:pt x="342153" y="3916490"/>
                  </a:lnTo>
                  <a:lnTo>
                    <a:pt x="334399" y="3908124"/>
                  </a:lnTo>
                  <a:lnTo>
                    <a:pt x="326725" y="3899660"/>
                  </a:lnTo>
                  <a:lnTo>
                    <a:pt x="319131" y="3891096"/>
                  </a:lnTo>
                  <a:close/>
                </a:path>
                <a:path w="964565" h="4239259" extrusionOk="0">
                  <a:moveTo>
                    <a:pt x="261845" y="3819956"/>
                  </a:moveTo>
                  <a:lnTo>
                    <a:pt x="243228" y="3833715"/>
                  </a:lnTo>
                  <a:lnTo>
                    <a:pt x="250222" y="3843089"/>
                  </a:lnTo>
                  <a:lnTo>
                    <a:pt x="257304" y="3852372"/>
                  </a:lnTo>
                  <a:lnTo>
                    <a:pt x="264471" y="3861557"/>
                  </a:lnTo>
                  <a:lnTo>
                    <a:pt x="271719" y="3870636"/>
                  </a:lnTo>
                  <a:lnTo>
                    <a:pt x="289771" y="3856102"/>
                  </a:lnTo>
                  <a:lnTo>
                    <a:pt x="282657" y="3847188"/>
                  </a:lnTo>
                  <a:lnTo>
                    <a:pt x="275627" y="3838194"/>
                  </a:lnTo>
                  <a:lnTo>
                    <a:pt x="268688" y="3829118"/>
                  </a:lnTo>
                  <a:lnTo>
                    <a:pt x="261845" y="3819956"/>
                  </a:lnTo>
                  <a:close/>
                </a:path>
                <a:path w="964565" h="4239259" extrusionOk="0">
                  <a:moveTo>
                    <a:pt x="210527" y="3744367"/>
                  </a:moveTo>
                  <a:lnTo>
                    <a:pt x="190842" y="3756629"/>
                  </a:lnTo>
                  <a:lnTo>
                    <a:pt x="197073" y="3766522"/>
                  </a:lnTo>
                  <a:lnTo>
                    <a:pt x="203389" y="3776332"/>
                  </a:lnTo>
                  <a:lnTo>
                    <a:pt x="209787" y="3786060"/>
                  </a:lnTo>
                  <a:lnTo>
                    <a:pt x="216265" y="3795706"/>
                  </a:lnTo>
                  <a:lnTo>
                    <a:pt x="235448" y="3782680"/>
                  </a:lnTo>
                  <a:lnTo>
                    <a:pt x="229073" y="3773233"/>
                  </a:lnTo>
                  <a:lnTo>
                    <a:pt x="222795" y="3763696"/>
                  </a:lnTo>
                  <a:lnTo>
                    <a:pt x="216613" y="3754073"/>
                  </a:lnTo>
                  <a:lnTo>
                    <a:pt x="210527" y="3744367"/>
                  </a:lnTo>
                  <a:close/>
                </a:path>
                <a:path w="964565" h="4239259" extrusionOk="0">
                  <a:moveTo>
                    <a:pt x="165220" y="3664987"/>
                  </a:moveTo>
                  <a:lnTo>
                    <a:pt x="144707" y="3675647"/>
                  </a:lnTo>
                  <a:lnTo>
                    <a:pt x="150144" y="3686011"/>
                  </a:lnTo>
                  <a:lnTo>
                    <a:pt x="155670" y="3696291"/>
                  </a:lnTo>
                  <a:lnTo>
                    <a:pt x="161290" y="3706488"/>
                  </a:lnTo>
                  <a:lnTo>
                    <a:pt x="167010" y="3716598"/>
                  </a:lnTo>
                  <a:lnTo>
                    <a:pt x="187125" y="3705112"/>
                  </a:lnTo>
                  <a:lnTo>
                    <a:pt x="181517" y="3695191"/>
                  </a:lnTo>
                  <a:lnTo>
                    <a:pt x="175999" y="3685199"/>
                  </a:lnTo>
                  <a:lnTo>
                    <a:pt x="170568" y="3675132"/>
                  </a:lnTo>
                  <a:lnTo>
                    <a:pt x="165220" y="3664987"/>
                  </a:lnTo>
                  <a:close/>
                </a:path>
                <a:path w="964565" h="4239259" extrusionOk="0">
                  <a:moveTo>
                    <a:pt x="126205" y="3582320"/>
                  </a:moveTo>
                  <a:lnTo>
                    <a:pt x="104897" y="3591408"/>
                  </a:lnTo>
                  <a:lnTo>
                    <a:pt x="109533" y="3602134"/>
                  </a:lnTo>
                  <a:lnTo>
                    <a:pt x="114268" y="3612795"/>
                  </a:lnTo>
                  <a:lnTo>
                    <a:pt x="119097" y="3623393"/>
                  </a:lnTo>
                  <a:lnTo>
                    <a:pt x="124017" y="3633931"/>
                  </a:lnTo>
                  <a:lnTo>
                    <a:pt x="144917" y="3624004"/>
                  </a:lnTo>
                  <a:lnTo>
                    <a:pt x="140107" y="3613688"/>
                  </a:lnTo>
                  <a:lnTo>
                    <a:pt x="135376" y="3603299"/>
                  </a:lnTo>
                  <a:lnTo>
                    <a:pt x="130738" y="3592842"/>
                  </a:lnTo>
                  <a:lnTo>
                    <a:pt x="126205" y="3582320"/>
                  </a:lnTo>
                  <a:close/>
                </a:path>
                <a:path w="964565" h="4239259" extrusionOk="0">
                  <a:moveTo>
                    <a:pt x="93306" y="3496972"/>
                  </a:moveTo>
                  <a:lnTo>
                    <a:pt x="71421" y="3504469"/>
                  </a:lnTo>
                  <a:lnTo>
                    <a:pt x="75281" y="3515498"/>
                  </a:lnTo>
                  <a:lnTo>
                    <a:pt x="79222" y="3526468"/>
                  </a:lnTo>
                  <a:lnTo>
                    <a:pt x="83242" y="3537375"/>
                  </a:lnTo>
                  <a:lnTo>
                    <a:pt x="87337" y="3548216"/>
                  </a:lnTo>
                  <a:lnTo>
                    <a:pt x="108970" y="3539955"/>
                  </a:lnTo>
                  <a:lnTo>
                    <a:pt x="104935" y="3529288"/>
                  </a:lnTo>
                  <a:lnTo>
                    <a:pt x="100973" y="3518569"/>
                  </a:lnTo>
                  <a:lnTo>
                    <a:pt x="97093" y="3507797"/>
                  </a:lnTo>
                  <a:lnTo>
                    <a:pt x="93306" y="3496972"/>
                  </a:lnTo>
                  <a:close/>
                </a:path>
                <a:path w="964565" h="4239259" extrusionOk="0">
                  <a:moveTo>
                    <a:pt x="66793" y="3409424"/>
                  </a:moveTo>
                  <a:lnTo>
                    <a:pt x="44427" y="3415351"/>
                  </a:lnTo>
                  <a:lnTo>
                    <a:pt x="47456" y="3426633"/>
                  </a:lnTo>
                  <a:lnTo>
                    <a:pt x="50584" y="3437854"/>
                  </a:lnTo>
                  <a:lnTo>
                    <a:pt x="53807" y="3449031"/>
                  </a:lnTo>
                  <a:lnTo>
                    <a:pt x="57118" y="3460177"/>
                  </a:lnTo>
                  <a:lnTo>
                    <a:pt x="79316" y="3453465"/>
                  </a:lnTo>
                  <a:lnTo>
                    <a:pt x="76045" y="3442526"/>
                  </a:lnTo>
                  <a:lnTo>
                    <a:pt x="72862" y="3431539"/>
                  </a:lnTo>
                  <a:lnTo>
                    <a:pt x="69776" y="3420505"/>
                  </a:lnTo>
                  <a:lnTo>
                    <a:pt x="66793" y="3409424"/>
                  </a:lnTo>
                  <a:close/>
                </a:path>
                <a:path w="964565" h="4239259" extrusionOk="0">
                  <a:moveTo>
                    <a:pt x="46553" y="3320171"/>
                  </a:moveTo>
                  <a:lnTo>
                    <a:pt x="23779" y="3324537"/>
                  </a:lnTo>
                  <a:lnTo>
                    <a:pt x="26040" y="3335992"/>
                  </a:lnTo>
                  <a:lnTo>
                    <a:pt x="28382" y="3347407"/>
                  </a:lnTo>
                  <a:lnTo>
                    <a:pt x="30813" y="3358776"/>
                  </a:lnTo>
                  <a:lnTo>
                    <a:pt x="33339" y="3370096"/>
                  </a:lnTo>
                  <a:lnTo>
                    <a:pt x="55914" y="3364997"/>
                  </a:lnTo>
                  <a:lnTo>
                    <a:pt x="53444" y="3353846"/>
                  </a:lnTo>
                  <a:lnTo>
                    <a:pt x="51061" y="3342662"/>
                  </a:lnTo>
                  <a:lnTo>
                    <a:pt x="48764" y="3331439"/>
                  </a:lnTo>
                  <a:lnTo>
                    <a:pt x="46553" y="3320171"/>
                  </a:lnTo>
                  <a:close/>
                </a:path>
                <a:path w="964565" h="4239259" extrusionOk="0">
                  <a:moveTo>
                    <a:pt x="32606" y="3229786"/>
                  </a:moveTo>
                  <a:lnTo>
                    <a:pt x="9633" y="3232529"/>
                  </a:lnTo>
                  <a:lnTo>
                    <a:pt x="11047" y="3244102"/>
                  </a:lnTo>
                  <a:lnTo>
                    <a:pt x="12570" y="3255653"/>
                  </a:lnTo>
                  <a:lnTo>
                    <a:pt x="14194" y="3267178"/>
                  </a:lnTo>
                  <a:lnTo>
                    <a:pt x="15915" y="3278675"/>
                  </a:lnTo>
                  <a:lnTo>
                    <a:pt x="38794" y="3275135"/>
                  </a:lnTo>
                  <a:lnTo>
                    <a:pt x="37116" y="3263854"/>
                  </a:lnTo>
                  <a:lnTo>
                    <a:pt x="35523" y="3252535"/>
                  </a:lnTo>
                  <a:lnTo>
                    <a:pt x="34019" y="3241179"/>
                  </a:lnTo>
                  <a:lnTo>
                    <a:pt x="32606" y="3229786"/>
                  </a:lnTo>
                  <a:close/>
                </a:path>
                <a:path w="964565" h="4239259" extrusionOk="0">
                  <a:moveTo>
                    <a:pt x="24878" y="3138606"/>
                  </a:moveTo>
                  <a:lnTo>
                    <a:pt x="1759" y="3139757"/>
                  </a:lnTo>
                  <a:lnTo>
                    <a:pt x="2391" y="3151404"/>
                  </a:lnTo>
                  <a:lnTo>
                    <a:pt x="3125" y="3163031"/>
                  </a:lnTo>
                  <a:lnTo>
                    <a:pt x="3961" y="3174631"/>
                  </a:lnTo>
                  <a:lnTo>
                    <a:pt x="4900" y="3186196"/>
                  </a:lnTo>
                  <a:lnTo>
                    <a:pt x="27957" y="3184269"/>
                  </a:lnTo>
                  <a:lnTo>
                    <a:pt x="27044" y="3172895"/>
                  </a:lnTo>
                  <a:lnTo>
                    <a:pt x="26225" y="3161496"/>
                  </a:lnTo>
                  <a:lnTo>
                    <a:pt x="25502" y="3150068"/>
                  </a:lnTo>
                  <a:lnTo>
                    <a:pt x="24878" y="3138606"/>
                  </a:lnTo>
                  <a:close/>
                </a:path>
                <a:path w="964565" h="4239259" extrusionOk="0">
                  <a:moveTo>
                    <a:pt x="23161" y="3046881"/>
                  </a:moveTo>
                  <a:lnTo>
                    <a:pt x="10" y="3046881"/>
                  </a:lnTo>
                  <a:lnTo>
                    <a:pt x="10" y="3077874"/>
                  </a:lnTo>
                  <a:lnTo>
                    <a:pt x="188" y="3093235"/>
                  </a:lnTo>
                  <a:lnTo>
                    <a:pt x="23350" y="3092869"/>
                  </a:lnTo>
                  <a:lnTo>
                    <a:pt x="23161" y="3046881"/>
                  </a:lnTo>
                  <a:close/>
                </a:path>
                <a:path w="964565" h="4239259" extrusionOk="0">
                  <a:moveTo>
                    <a:pt x="23161" y="2954548"/>
                  </a:moveTo>
                  <a:lnTo>
                    <a:pt x="0" y="2954548"/>
                  </a:lnTo>
                  <a:lnTo>
                    <a:pt x="0" y="3000735"/>
                  </a:lnTo>
                  <a:lnTo>
                    <a:pt x="23161" y="3000735"/>
                  </a:lnTo>
                  <a:lnTo>
                    <a:pt x="23161" y="2954548"/>
                  </a:lnTo>
                  <a:close/>
                </a:path>
                <a:path w="964565" h="4239259" extrusionOk="0">
                  <a:moveTo>
                    <a:pt x="23161" y="2862206"/>
                  </a:moveTo>
                  <a:lnTo>
                    <a:pt x="0" y="2862206"/>
                  </a:lnTo>
                  <a:lnTo>
                    <a:pt x="0" y="2908393"/>
                  </a:lnTo>
                  <a:lnTo>
                    <a:pt x="23161" y="2908393"/>
                  </a:lnTo>
                  <a:lnTo>
                    <a:pt x="23161" y="2862206"/>
                  </a:lnTo>
                  <a:close/>
                </a:path>
                <a:path w="964565" h="4239259" extrusionOk="0">
                  <a:moveTo>
                    <a:pt x="23161" y="2769884"/>
                  </a:moveTo>
                  <a:lnTo>
                    <a:pt x="0" y="2769884"/>
                  </a:lnTo>
                  <a:lnTo>
                    <a:pt x="0" y="2816081"/>
                  </a:lnTo>
                  <a:lnTo>
                    <a:pt x="23161" y="2816081"/>
                  </a:lnTo>
                  <a:lnTo>
                    <a:pt x="23161" y="2769884"/>
                  </a:lnTo>
                  <a:close/>
                </a:path>
                <a:path w="964565" h="4239259" extrusionOk="0">
                  <a:moveTo>
                    <a:pt x="23161" y="2677583"/>
                  </a:moveTo>
                  <a:lnTo>
                    <a:pt x="0" y="2677583"/>
                  </a:lnTo>
                  <a:lnTo>
                    <a:pt x="0" y="2723759"/>
                  </a:lnTo>
                  <a:lnTo>
                    <a:pt x="23161" y="2723759"/>
                  </a:lnTo>
                  <a:lnTo>
                    <a:pt x="23161" y="2677583"/>
                  </a:lnTo>
                  <a:close/>
                </a:path>
                <a:path w="964565" h="4239259" extrusionOk="0">
                  <a:moveTo>
                    <a:pt x="23161" y="2585240"/>
                  </a:moveTo>
                  <a:lnTo>
                    <a:pt x="0" y="2585240"/>
                  </a:lnTo>
                  <a:lnTo>
                    <a:pt x="0" y="2631417"/>
                  </a:lnTo>
                  <a:lnTo>
                    <a:pt x="23161" y="2631417"/>
                  </a:lnTo>
                  <a:lnTo>
                    <a:pt x="23161" y="2585240"/>
                  </a:lnTo>
                  <a:close/>
                </a:path>
                <a:path w="964565" h="4239259" extrusionOk="0">
                  <a:moveTo>
                    <a:pt x="23161" y="2492918"/>
                  </a:moveTo>
                  <a:lnTo>
                    <a:pt x="0" y="2492918"/>
                  </a:lnTo>
                  <a:lnTo>
                    <a:pt x="0" y="2539064"/>
                  </a:lnTo>
                  <a:lnTo>
                    <a:pt x="23161" y="2539064"/>
                  </a:lnTo>
                  <a:lnTo>
                    <a:pt x="23161" y="2492918"/>
                  </a:lnTo>
                  <a:close/>
                </a:path>
                <a:path w="964565" h="4239259" extrusionOk="0">
                  <a:moveTo>
                    <a:pt x="23161" y="2400607"/>
                  </a:moveTo>
                  <a:lnTo>
                    <a:pt x="0" y="2400607"/>
                  </a:lnTo>
                  <a:lnTo>
                    <a:pt x="0" y="2446742"/>
                  </a:lnTo>
                  <a:lnTo>
                    <a:pt x="23161" y="2446742"/>
                  </a:lnTo>
                  <a:lnTo>
                    <a:pt x="23161" y="2400607"/>
                  </a:lnTo>
                  <a:close/>
                </a:path>
                <a:path w="964565" h="4239259" extrusionOk="0">
                  <a:moveTo>
                    <a:pt x="23161" y="2308264"/>
                  </a:moveTo>
                  <a:lnTo>
                    <a:pt x="0" y="2308264"/>
                  </a:lnTo>
                  <a:lnTo>
                    <a:pt x="0" y="2354430"/>
                  </a:lnTo>
                  <a:lnTo>
                    <a:pt x="23161" y="2354430"/>
                  </a:lnTo>
                  <a:lnTo>
                    <a:pt x="23161" y="2308264"/>
                  </a:lnTo>
                  <a:close/>
                </a:path>
                <a:path w="964565" h="4239259" extrusionOk="0">
                  <a:moveTo>
                    <a:pt x="23161" y="2215911"/>
                  </a:moveTo>
                  <a:lnTo>
                    <a:pt x="0" y="2215911"/>
                  </a:lnTo>
                  <a:lnTo>
                    <a:pt x="0" y="2262098"/>
                  </a:lnTo>
                  <a:lnTo>
                    <a:pt x="23161" y="2262098"/>
                  </a:lnTo>
                  <a:lnTo>
                    <a:pt x="23161" y="2215911"/>
                  </a:lnTo>
                  <a:close/>
                </a:path>
                <a:path w="964565" h="4239259" extrusionOk="0">
                  <a:moveTo>
                    <a:pt x="23161" y="2123579"/>
                  </a:moveTo>
                  <a:lnTo>
                    <a:pt x="0" y="2123579"/>
                  </a:lnTo>
                  <a:lnTo>
                    <a:pt x="0" y="2169766"/>
                  </a:lnTo>
                  <a:lnTo>
                    <a:pt x="23161" y="2169766"/>
                  </a:lnTo>
                  <a:lnTo>
                    <a:pt x="23161" y="2123579"/>
                  </a:lnTo>
                  <a:close/>
                </a:path>
                <a:path w="964565" h="4239259" extrusionOk="0">
                  <a:moveTo>
                    <a:pt x="23161" y="2031267"/>
                  </a:moveTo>
                  <a:lnTo>
                    <a:pt x="0" y="2031267"/>
                  </a:lnTo>
                  <a:lnTo>
                    <a:pt x="0" y="2077455"/>
                  </a:lnTo>
                  <a:lnTo>
                    <a:pt x="23161" y="2077455"/>
                  </a:lnTo>
                  <a:lnTo>
                    <a:pt x="23161" y="2031267"/>
                  </a:lnTo>
                  <a:close/>
                </a:path>
                <a:path w="964565" h="4239259" extrusionOk="0">
                  <a:moveTo>
                    <a:pt x="23161" y="1938914"/>
                  </a:moveTo>
                  <a:lnTo>
                    <a:pt x="0" y="1938914"/>
                  </a:lnTo>
                  <a:lnTo>
                    <a:pt x="0" y="1985101"/>
                  </a:lnTo>
                  <a:lnTo>
                    <a:pt x="23161" y="1985101"/>
                  </a:lnTo>
                  <a:lnTo>
                    <a:pt x="23161" y="1938914"/>
                  </a:lnTo>
                  <a:close/>
                </a:path>
                <a:path w="964565" h="4239259" extrusionOk="0">
                  <a:moveTo>
                    <a:pt x="23161" y="1846613"/>
                  </a:moveTo>
                  <a:lnTo>
                    <a:pt x="0" y="1846613"/>
                  </a:lnTo>
                  <a:lnTo>
                    <a:pt x="0" y="1892759"/>
                  </a:lnTo>
                  <a:lnTo>
                    <a:pt x="23161" y="1892759"/>
                  </a:lnTo>
                  <a:lnTo>
                    <a:pt x="23161" y="1846613"/>
                  </a:lnTo>
                  <a:close/>
                </a:path>
                <a:path w="964565" h="4239259" extrusionOk="0">
                  <a:moveTo>
                    <a:pt x="23161" y="1754260"/>
                  </a:moveTo>
                  <a:lnTo>
                    <a:pt x="0" y="1754260"/>
                  </a:lnTo>
                  <a:lnTo>
                    <a:pt x="0" y="1800437"/>
                  </a:lnTo>
                  <a:lnTo>
                    <a:pt x="23161" y="1800437"/>
                  </a:lnTo>
                  <a:lnTo>
                    <a:pt x="23161" y="1754260"/>
                  </a:lnTo>
                  <a:close/>
                </a:path>
                <a:path w="964565" h="4239259" extrusionOk="0">
                  <a:moveTo>
                    <a:pt x="23161" y="1661928"/>
                  </a:moveTo>
                  <a:lnTo>
                    <a:pt x="0" y="1661928"/>
                  </a:lnTo>
                  <a:lnTo>
                    <a:pt x="0" y="1708126"/>
                  </a:lnTo>
                  <a:lnTo>
                    <a:pt x="23161" y="1708126"/>
                  </a:lnTo>
                  <a:lnTo>
                    <a:pt x="23161" y="1661928"/>
                  </a:lnTo>
                  <a:close/>
                </a:path>
                <a:path w="964565" h="4239259" extrusionOk="0">
                  <a:moveTo>
                    <a:pt x="23161" y="1569606"/>
                  </a:moveTo>
                  <a:lnTo>
                    <a:pt x="0" y="1569606"/>
                  </a:lnTo>
                  <a:lnTo>
                    <a:pt x="0" y="1615772"/>
                  </a:lnTo>
                  <a:lnTo>
                    <a:pt x="23161" y="1615772"/>
                  </a:lnTo>
                  <a:lnTo>
                    <a:pt x="23161" y="1569606"/>
                  </a:lnTo>
                  <a:close/>
                </a:path>
                <a:path w="964565" h="4239259" extrusionOk="0">
                  <a:moveTo>
                    <a:pt x="23161" y="1477284"/>
                  </a:moveTo>
                  <a:lnTo>
                    <a:pt x="0" y="1477284"/>
                  </a:lnTo>
                  <a:lnTo>
                    <a:pt x="0" y="1523461"/>
                  </a:lnTo>
                  <a:lnTo>
                    <a:pt x="23161" y="1523461"/>
                  </a:lnTo>
                  <a:lnTo>
                    <a:pt x="23161" y="1477284"/>
                  </a:lnTo>
                  <a:close/>
                </a:path>
                <a:path w="964565" h="4239259" extrusionOk="0">
                  <a:moveTo>
                    <a:pt x="23161" y="1384921"/>
                  </a:moveTo>
                  <a:lnTo>
                    <a:pt x="0" y="1384921"/>
                  </a:lnTo>
                  <a:lnTo>
                    <a:pt x="0" y="1431108"/>
                  </a:lnTo>
                  <a:lnTo>
                    <a:pt x="23161" y="1431108"/>
                  </a:lnTo>
                  <a:lnTo>
                    <a:pt x="23161" y="1384921"/>
                  </a:lnTo>
                  <a:close/>
                </a:path>
                <a:path w="964565" h="4239259" extrusionOk="0">
                  <a:moveTo>
                    <a:pt x="23161" y="1292609"/>
                  </a:moveTo>
                  <a:lnTo>
                    <a:pt x="0" y="1292609"/>
                  </a:lnTo>
                  <a:lnTo>
                    <a:pt x="0" y="1338796"/>
                  </a:lnTo>
                  <a:lnTo>
                    <a:pt x="23161" y="1338796"/>
                  </a:lnTo>
                  <a:lnTo>
                    <a:pt x="23161" y="1292609"/>
                  </a:lnTo>
                  <a:close/>
                </a:path>
                <a:path w="964565" h="4239259" extrusionOk="0">
                  <a:moveTo>
                    <a:pt x="23161" y="1200288"/>
                  </a:moveTo>
                  <a:lnTo>
                    <a:pt x="0" y="1200288"/>
                  </a:lnTo>
                  <a:lnTo>
                    <a:pt x="0" y="1246443"/>
                  </a:lnTo>
                  <a:lnTo>
                    <a:pt x="23161" y="1246443"/>
                  </a:lnTo>
                  <a:lnTo>
                    <a:pt x="23161" y="1200288"/>
                  </a:lnTo>
                  <a:close/>
                </a:path>
                <a:path w="964565" h="4239259" extrusionOk="0">
                  <a:moveTo>
                    <a:pt x="23161" y="1107987"/>
                  </a:moveTo>
                  <a:lnTo>
                    <a:pt x="0" y="1107987"/>
                  </a:lnTo>
                  <a:lnTo>
                    <a:pt x="0" y="1154132"/>
                  </a:lnTo>
                  <a:lnTo>
                    <a:pt x="23161" y="1154132"/>
                  </a:lnTo>
                  <a:lnTo>
                    <a:pt x="23161" y="1107987"/>
                  </a:lnTo>
                  <a:close/>
                </a:path>
                <a:path w="964565" h="4239259" extrusionOk="0">
                  <a:moveTo>
                    <a:pt x="23161" y="1015644"/>
                  </a:moveTo>
                  <a:lnTo>
                    <a:pt x="0" y="1015644"/>
                  </a:lnTo>
                  <a:lnTo>
                    <a:pt x="0" y="1061789"/>
                  </a:lnTo>
                  <a:lnTo>
                    <a:pt x="23161" y="1061789"/>
                  </a:lnTo>
                  <a:lnTo>
                    <a:pt x="23161" y="1015644"/>
                  </a:lnTo>
                  <a:close/>
                </a:path>
                <a:path w="964565" h="4239259" extrusionOk="0">
                  <a:moveTo>
                    <a:pt x="23161" y="923291"/>
                  </a:moveTo>
                  <a:lnTo>
                    <a:pt x="0" y="923291"/>
                  </a:lnTo>
                  <a:lnTo>
                    <a:pt x="0" y="969467"/>
                  </a:lnTo>
                  <a:lnTo>
                    <a:pt x="23161" y="969467"/>
                  </a:lnTo>
                  <a:lnTo>
                    <a:pt x="23161" y="923291"/>
                  </a:lnTo>
                  <a:close/>
                </a:path>
                <a:path w="964565" h="4239259" extrusionOk="0">
                  <a:moveTo>
                    <a:pt x="23161" y="830979"/>
                  </a:moveTo>
                  <a:lnTo>
                    <a:pt x="0" y="830979"/>
                  </a:lnTo>
                  <a:lnTo>
                    <a:pt x="0" y="877125"/>
                  </a:lnTo>
                  <a:lnTo>
                    <a:pt x="23161" y="877125"/>
                  </a:lnTo>
                  <a:lnTo>
                    <a:pt x="23161" y="830979"/>
                  </a:lnTo>
                  <a:close/>
                </a:path>
                <a:path w="964565" h="4239259" extrusionOk="0">
                  <a:moveTo>
                    <a:pt x="23161" y="738626"/>
                  </a:moveTo>
                  <a:lnTo>
                    <a:pt x="0" y="738626"/>
                  </a:lnTo>
                  <a:lnTo>
                    <a:pt x="0" y="784803"/>
                  </a:lnTo>
                  <a:lnTo>
                    <a:pt x="23161" y="784803"/>
                  </a:lnTo>
                  <a:lnTo>
                    <a:pt x="23161" y="738626"/>
                  </a:lnTo>
                  <a:close/>
                </a:path>
                <a:path w="964565" h="4239259" extrusionOk="0">
                  <a:moveTo>
                    <a:pt x="23161" y="646315"/>
                  </a:moveTo>
                  <a:lnTo>
                    <a:pt x="0" y="646315"/>
                  </a:lnTo>
                  <a:lnTo>
                    <a:pt x="0" y="692471"/>
                  </a:lnTo>
                  <a:lnTo>
                    <a:pt x="23161" y="692471"/>
                  </a:lnTo>
                  <a:lnTo>
                    <a:pt x="23161" y="646315"/>
                  </a:lnTo>
                  <a:close/>
                </a:path>
                <a:path w="964565" h="4239259" extrusionOk="0">
                  <a:moveTo>
                    <a:pt x="23161" y="553972"/>
                  </a:moveTo>
                  <a:lnTo>
                    <a:pt x="0" y="553972"/>
                  </a:lnTo>
                  <a:lnTo>
                    <a:pt x="0" y="600138"/>
                  </a:lnTo>
                  <a:lnTo>
                    <a:pt x="23161" y="600138"/>
                  </a:lnTo>
                  <a:lnTo>
                    <a:pt x="23161" y="553972"/>
                  </a:lnTo>
                  <a:close/>
                </a:path>
                <a:path w="964565" h="4239259" extrusionOk="0">
                  <a:moveTo>
                    <a:pt x="23161" y="461629"/>
                  </a:moveTo>
                  <a:lnTo>
                    <a:pt x="0" y="461629"/>
                  </a:lnTo>
                  <a:lnTo>
                    <a:pt x="0" y="507816"/>
                  </a:lnTo>
                  <a:lnTo>
                    <a:pt x="23161" y="507816"/>
                  </a:lnTo>
                  <a:lnTo>
                    <a:pt x="23161" y="461629"/>
                  </a:lnTo>
                  <a:close/>
                </a:path>
                <a:path w="964565" h="4239259" extrusionOk="0">
                  <a:moveTo>
                    <a:pt x="23161" y="369287"/>
                  </a:moveTo>
                  <a:lnTo>
                    <a:pt x="0" y="369287"/>
                  </a:lnTo>
                  <a:lnTo>
                    <a:pt x="0" y="415474"/>
                  </a:lnTo>
                  <a:lnTo>
                    <a:pt x="23161" y="415474"/>
                  </a:lnTo>
                  <a:lnTo>
                    <a:pt x="23161" y="369287"/>
                  </a:lnTo>
                  <a:close/>
                </a:path>
                <a:path w="964565" h="4239259" extrusionOk="0">
                  <a:moveTo>
                    <a:pt x="23161" y="276986"/>
                  </a:moveTo>
                  <a:lnTo>
                    <a:pt x="0" y="276986"/>
                  </a:lnTo>
                  <a:lnTo>
                    <a:pt x="0" y="323162"/>
                  </a:lnTo>
                  <a:lnTo>
                    <a:pt x="23161" y="323162"/>
                  </a:lnTo>
                  <a:lnTo>
                    <a:pt x="23161" y="276986"/>
                  </a:lnTo>
                  <a:close/>
                </a:path>
                <a:path w="964565" h="4239259" extrusionOk="0">
                  <a:moveTo>
                    <a:pt x="23161" y="184664"/>
                  </a:moveTo>
                  <a:lnTo>
                    <a:pt x="0" y="184664"/>
                  </a:lnTo>
                  <a:lnTo>
                    <a:pt x="0" y="230841"/>
                  </a:lnTo>
                  <a:lnTo>
                    <a:pt x="23161" y="230841"/>
                  </a:lnTo>
                  <a:lnTo>
                    <a:pt x="23161" y="184664"/>
                  </a:lnTo>
                  <a:close/>
                </a:path>
                <a:path w="964565" h="4239259" extrusionOk="0">
                  <a:moveTo>
                    <a:pt x="23161" y="92321"/>
                  </a:moveTo>
                  <a:lnTo>
                    <a:pt x="0" y="92321"/>
                  </a:lnTo>
                  <a:lnTo>
                    <a:pt x="0" y="138498"/>
                  </a:lnTo>
                  <a:lnTo>
                    <a:pt x="23161" y="138498"/>
                  </a:lnTo>
                  <a:lnTo>
                    <a:pt x="23161" y="92321"/>
                  </a:lnTo>
                  <a:close/>
                </a:path>
                <a:path w="964565" h="4239259" extrusionOk="0">
                  <a:moveTo>
                    <a:pt x="23161" y="0"/>
                  </a:moveTo>
                  <a:lnTo>
                    <a:pt x="0" y="0"/>
                  </a:lnTo>
                  <a:lnTo>
                    <a:pt x="0" y="46145"/>
                  </a:lnTo>
                  <a:lnTo>
                    <a:pt x="23161" y="46145"/>
                  </a:lnTo>
                  <a:lnTo>
                    <a:pt x="23161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107;p1"/>
            <p:cNvSpPr/>
            <p:nvPr/>
          </p:nvSpPr>
          <p:spPr>
            <a:xfrm>
              <a:off x="16525120" y="2652976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5" h="4309109" extrusionOk="0">
                  <a:moveTo>
                    <a:pt x="2036878" y="46302"/>
                  </a:moveTo>
                  <a:lnTo>
                    <a:pt x="1763516" y="46302"/>
                  </a:lnTo>
                  <a:lnTo>
                    <a:pt x="1809513" y="47641"/>
                  </a:lnTo>
                  <a:lnTo>
                    <a:pt x="1854870" y="51612"/>
                  </a:lnTo>
                  <a:lnTo>
                    <a:pt x="1899523" y="58146"/>
                  </a:lnTo>
                  <a:lnTo>
                    <a:pt x="1943408" y="67173"/>
                  </a:lnTo>
                  <a:lnTo>
                    <a:pt x="1986459" y="78624"/>
                  </a:lnTo>
                  <a:lnTo>
                    <a:pt x="2028613" y="92429"/>
                  </a:lnTo>
                  <a:lnTo>
                    <a:pt x="2069804" y="108519"/>
                  </a:lnTo>
                  <a:lnTo>
                    <a:pt x="2109968" y="126825"/>
                  </a:lnTo>
                  <a:lnTo>
                    <a:pt x="2149041" y="147277"/>
                  </a:lnTo>
                  <a:lnTo>
                    <a:pt x="2186959" y="169805"/>
                  </a:lnTo>
                  <a:lnTo>
                    <a:pt x="2223655" y="194341"/>
                  </a:lnTo>
                  <a:lnTo>
                    <a:pt x="2259067" y="220815"/>
                  </a:lnTo>
                  <a:lnTo>
                    <a:pt x="2293130" y="249157"/>
                  </a:lnTo>
                  <a:lnTo>
                    <a:pt x="2325778" y="279298"/>
                  </a:lnTo>
                  <a:lnTo>
                    <a:pt x="2356947" y="311168"/>
                  </a:lnTo>
                  <a:lnTo>
                    <a:pt x="2386574" y="344699"/>
                  </a:lnTo>
                  <a:lnTo>
                    <a:pt x="2414592" y="379820"/>
                  </a:lnTo>
                  <a:lnTo>
                    <a:pt x="2440939" y="416462"/>
                  </a:lnTo>
                  <a:lnTo>
                    <a:pt x="2465549" y="454557"/>
                  </a:lnTo>
                  <a:lnTo>
                    <a:pt x="2488357" y="494034"/>
                  </a:lnTo>
                  <a:lnTo>
                    <a:pt x="2509299" y="534824"/>
                  </a:lnTo>
                  <a:lnTo>
                    <a:pt x="2528311" y="576857"/>
                  </a:lnTo>
                  <a:lnTo>
                    <a:pt x="2545328" y="620065"/>
                  </a:lnTo>
                  <a:lnTo>
                    <a:pt x="2560286" y="664377"/>
                  </a:lnTo>
                  <a:lnTo>
                    <a:pt x="2573119" y="709724"/>
                  </a:lnTo>
                  <a:lnTo>
                    <a:pt x="2583764" y="756038"/>
                  </a:lnTo>
                  <a:lnTo>
                    <a:pt x="2592156" y="803248"/>
                  </a:lnTo>
                  <a:lnTo>
                    <a:pt x="2598230" y="851285"/>
                  </a:lnTo>
                  <a:lnTo>
                    <a:pt x="2601921" y="900079"/>
                  </a:lnTo>
                  <a:lnTo>
                    <a:pt x="2603166" y="949562"/>
                  </a:lnTo>
                  <a:lnTo>
                    <a:pt x="2603166" y="4308538"/>
                  </a:lnTo>
                  <a:lnTo>
                    <a:pt x="2649479" y="4308538"/>
                  </a:lnTo>
                  <a:lnTo>
                    <a:pt x="2649479" y="949562"/>
                  </a:lnTo>
                  <a:lnTo>
                    <a:pt x="2648249" y="899206"/>
                  </a:lnTo>
                  <a:lnTo>
                    <a:pt x="2644598" y="849526"/>
                  </a:lnTo>
                  <a:lnTo>
                    <a:pt x="2638590" y="800588"/>
                  </a:lnTo>
                  <a:lnTo>
                    <a:pt x="2630286" y="752458"/>
                  </a:lnTo>
                  <a:lnTo>
                    <a:pt x="2619747" y="705203"/>
                  </a:lnTo>
                  <a:lnTo>
                    <a:pt x="2607035" y="658887"/>
                  </a:lnTo>
                  <a:lnTo>
                    <a:pt x="2592211" y="613578"/>
                  </a:lnTo>
                  <a:lnTo>
                    <a:pt x="2575338" y="569341"/>
                  </a:lnTo>
                  <a:lnTo>
                    <a:pt x="2556478" y="526243"/>
                  </a:lnTo>
                  <a:lnTo>
                    <a:pt x="2535691" y="484350"/>
                  </a:lnTo>
                  <a:lnTo>
                    <a:pt x="2513040" y="443728"/>
                  </a:lnTo>
                  <a:lnTo>
                    <a:pt x="2488586" y="404443"/>
                  </a:lnTo>
                  <a:lnTo>
                    <a:pt x="2462391" y="366561"/>
                  </a:lnTo>
                  <a:lnTo>
                    <a:pt x="2434517" y="330148"/>
                  </a:lnTo>
                  <a:lnTo>
                    <a:pt x="2405026" y="295270"/>
                  </a:lnTo>
                  <a:lnTo>
                    <a:pt x="2373978" y="261995"/>
                  </a:lnTo>
                  <a:lnTo>
                    <a:pt x="2341436" y="230386"/>
                  </a:lnTo>
                  <a:lnTo>
                    <a:pt x="2307462" y="200512"/>
                  </a:lnTo>
                  <a:lnTo>
                    <a:pt x="2272117" y="172437"/>
                  </a:lnTo>
                  <a:lnTo>
                    <a:pt x="2235463" y="146228"/>
                  </a:lnTo>
                  <a:lnTo>
                    <a:pt x="2197562" y="121952"/>
                  </a:lnTo>
                  <a:lnTo>
                    <a:pt x="2158474" y="99674"/>
                  </a:lnTo>
                  <a:lnTo>
                    <a:pt x="2118263" y="79460"/>
                  </a:lnTo>
                  <a:lnTo>
                    <a:pt x="2076990" y="61376"/>
                  </a:lnTo>
                  <a:lnTo>
                    <a:pt x="2036878" y="46302"/>
                  </a:lnTo>
                  <a:close/>
                </a:path>
                <a:path w="2649855" h="4309109" extrusionOk="0">
                  <a:moveTo>
                    <a:pt x="1763516" y="0"/>
                  </a:moveTo>
                  <a:lnTo>
                    <a:pt x="1709685" y="1731"/>
                  </a:lnTo>
                  <a:lnTo>
                    <a:pt x="1656696" y="6860"/>
                  </a:lnTo>
                  <a:lnTo>
                    <a:pt x="1604642" y="15287"/>
                  </a:lnTo>
                  <a:lnTo>
                    <a:pt x="1553616" y="26912"/>
                  </a:lnTo>
                  <a:lnTo>
                    <a:pt x="1503710" y="41637"/>
                  </a:lnTo>
                  <a:lnTo>
                    <a:pt x="1455018" y="59361"/>
                  </a:lnTo>
                  <a:lnTo>
                    <a:pt x="1407632" y="79985"/>
                  </a:lnTo>
                  <a:lnTo>
                    <a:pt x="1361644" y="103410"/>
                  </a:lnTo>
                  <a:lnTo>
                    <a:pt x="1361644" y="156623"/>
                  </a:lnTo>
                  <a:lnTo>
                    <a:pt x="1407235" y="131692"/>
                  </a:lnTo>
                  <a:lnTo>
                    <a:pt x="1454363" y="109718"/>
                  </a:lnTo>
                  <a:lnTo>
                    <a:pt x="1502924" y="90813"/>
                  </a:lnTo>
                  <a:lnTo>
                    <a:pt x="1552811" y="75091"/>
                  </a:lnTo>
                  <a:lnTo>
                    <a:pt x="1603919" y="62666"/>
                  </a:lnTo>
                  <a:lnTo>
                    <a:pt x="1656143" y="53650"/>
                  </a:lnTo>
                  <a:lnTo>
                    <a:pt x="1709378" y="48158"/>
                  </a:lnTo>
                  <a:lnTo>
                    <a:pt x="1763516" y="46302"/>
                  </a:lnTo>
                  <a:lnTo>
                    <a:pt x="2036878" y="46302"/>
                  </a:lnTo>
                  <a:lnTo>
                    <a:pt x="2034716" y="45489"/>
                  </a:lnTo>
                  <a:lnTo>
                    <a:pt x="1991503" y="31865"/>
                  </a:lnTo>
                  <a:lnTo>
                    <a:pt x="1947413" y="20570"/>
                  </a:lnTo>
                  <a:lnTo>
                    <a:pt x="1902508" y="11669"/>
                  </a:lnTo>
                  <a:lnTo>
                    <a:pt x="1856849" y="5230"/>
                  </a:lnTo>
                  <a:lnTo>
                    <a:pt x="1810498" y="1318"/>
                  </a:lnTo>
                  <a:lnTo>
                    <a:pt x="1763516" y="0"/>
                  </a:lnTo>
                  <a:close/>
                </a:path>
                <a:path w="2649855" h="4309109" extrusionOk="0">
                  <a:moveTo>
                    <a:pt x="1315342" y="130676"/>
                  </a:moveTo>
                  <a:lnTo>
                    <a:pt x="1276728" y="156493"/>
                  </a:lnTo>
                  <a:lnTo>
                    <a:pt x="1239469" y="184337"/>
                  </a:lnTo>
                  <a:lnTo>
                    <a:pt x="1203631" y="214137"/>
                  </a:lnTo>
                  <a:lnTo>
                    <a:pt x="1169282" y="245820"/>
                  </a:lnTo>
                  <a:lnTo>
                    <a:pt x="1136490" y="279312"/>
                  </a:lnTo>
                  <a:lnTo>
                    <a:pt x="1105322" y="314543"/>
                  </a:lnTo>
                  <a:lnTo>
                    <a:pt x="1075847" y="351438"/>
                  </a:lnTo>
                  <a:lnTo>
                    <a:pt x="1048132" y="389926"/>
                  </a:lnTo>
                  <a:lnTo>
                    <a:pt x="1022245" y="429933"/>
                  </a:lnTo>
                  <a:lnTo>
                    <a:pt x="998253" y="471388"/>
                  </a:lnTo>
                  <a:lnTo>
                    <a:pt x="976225" y="514218"/>
                  </a:lnTo>
                  <a:lnTo>
                    <a:pt x="956228" y="558349"/>
                  </a:lnTo>
                  <a:lnTo>
                    <a:pt x="938330" y="603710"/>
                  </a:lnTo>
                  <a:lnTo>
                    <a:pt x="922598" y="650228"/>
                  </a:lnTo>
                  <a:lnTo>
                    <a:pt x="909101" y="697830"/>
                  </a:lnTo>
                  <a:lnTo>
                    <a:pt x="897906" y="746443"/>
                  </a:lnTo>
                  <a:lnTo>
                    <a:pt x="889081" y="795996"/>
                  </a:lnTo>
                  <a:lnTo>
                    <a:pt x="882693" y="846415"/>
                  </a:lnTo>
                  <a:lnTo>
                    <a:pt x="878811" y="897628"/>
                  </a:lnTo>
                  <a:lnTo>
                    <a:pt x="877502" y="949562"/>
                  </a:lnTo>
                  <a:lnTo>
                    <a:pt x="877502" y="1765475"/>
                  </a:lnTo>
                  <a:lnTo>
                    <a:pt x="876110" y="1810389"/>
                  </a:lnTo>
                  <a:lnTo>
                    <a:pt x="871985" y="1854654"/>
                  </a:lnTo>
                  <a:lnTo>
                    <a:pt x="865200" y="1898203"/>
                  </a:lnTo>
                  <a:lnTo>
                    <a:pt x="855832" y="1940969"/>
                  </a:lnTo>
                  <a:lnTo>
                    <a:pt x="843953" y="1982884"/>
                  </a:lnTo>
                  <a:lnTo>
                    <a:pt x="829640" y="2023881"/>
                  </a:lnTo>
                  <a:lnTo>
                    <a:pt x="812966" y="2063892"/>
                  </a:lnTo>
                  <a:lnTo>
                    <a:pt x="794006" y="2102849"/>
                  </a:lnTo>
                  <a:lnTo>
                    <a:pt x="772836" y="2140686"/>
                  </a:lnTo>
                  <a:lnTo>
                    <a:pt x="749528" y="2177335"/>
                  </a:lnTo>
                  <a:lnTo>
                    <a:pt x="724159" y="2212728"/>
                  </a:lnTo>
                  <a:lnTo>
                    <a:pt x="696802" y="2246798"/>
                  </a:lnTo>
                  <a:lnTo>
                    <a:pt x="667533" y="2279477"/>
                  </a:lnTo>
                  <a:lnTo>
                    <a:pt x="636425" y="2310699"/>
                  </a:lnTo>
                  <a:lnTo>
                    <a:pt x="603555" y="2340395"/>
                  </a:lnTo>
                  <a:lnTo>
                    <a:pt x="568995" y="2368498"/>
                  </a:lnTo>
                  <a:lnTo>
                    <a:pt x="532821" y="2394940"/>
                  </a:lnTo>
                  <a:lnTo>
                    <a:pt x="495108" y="2419655"/>
                  </a:lnTo>
                  <a:lnTo>
                    <a:pt x="455930" y="2442575"/>
                  </a:lnTo>
                  <a:lnTo>
                    <a:pt x="415362" y="2463632"/>
                  </a:lnTo>
                  <a:lnTo>
                    <a:pt x="373478" y="2482759"/>
                  </a:lnTo>
                  <a:lnTo>
                    <a:pt x="330353" y="2499888"/>
                  </a:lnTo>
                  <a:lnTo>
                    <a:pt x="286062" y="2514952"/>
                  </a:lnTo>
                  <a:lnTo>
                    <a:pt x="240678" y="2527884"/>
                  </a:lnTo>
                  <a:lnTo>
                    <a:pt x="194278" y="2538616"/>
                  </a:lnTo>
                  <a:lnTo>
                    <a:pt x="146936" y="2547080"/>
                  </a:lnTo>
                  <a:lnTo>
                    <a:pt x="98725" y="2553209"/>
                  </a:lnTo>
                  <a:lnTo>
                    <a:pt x="49722" y="2556936"/>
                  </a:lnTo>
                  <a:lnTo>
                    <a:pt x="0" y="2558194"/>
                  </a:lnTo>
                  <a:lnTo>
                    <a:pt x="0" y="2604517"/>
                  </a:lnTo>
                  <a:lnTo>
                    <a:pt x="50614" y="2603273"/>
                  </a:lnTo>
                  <a:lnTo>
                    <a:pt x="100524" y="2599584"/>
                  </a:lnTo>
                  <a:lnTo>
                    <a:pt x="149658" y="2593515"/>
                  </a:lnTo>
                  <a:lnTo>
                    <a:pt x="197946" y="2585130"/>
                  </a:lnTo>
                  <a:lnTo>
                    <a:pt x="245316" y="2574493"/>
                  </a:lnTo>
                  <a:lnTo>
                    <a:pt x="291698" y="2561670"/>
                  </a:lnTo>
                  <a:lnTo>
                    <a:pt x="337021" y="2546724"/>
                  </a:lnTo>
                  <a:lnTo>
                    <a:pt x="381213" y="2529719"/>
                  </a:lnTo>
                  <a:lnTo>
                    <a:pt x="424204" y="2510722"/>
                  </a:lnTo>
                  <a:lnTo>
                    <a:pt x="465923" y="2489795"/>
                  </a:lnTo>
                  <a:lnTo>
                    <a:pt x="506298" y="2467004"/>
                  </a:lnTo>
                  <a:lnTo>
                    <a:pt x="545260" y="2442413"/>
                  </a:lnTo>
                  <a:lnTo>
                    <a:pt x="582736" y="2416086"/>
                  </a:lnTo>
                  <a:lnTo>
                    <a:pt x="618655" y="2388088"/>
                  </a:lnTo>
                  <a:lnTo>
                    <a:pt x="652948" y="2358484"/>
                  </a:lnTo>
                  <a:lnTo>
                    <a:pt x="685543" y="2327337"/>
                  </a:lnTo>
                  <a:lnTo>
                    <a:pt x="716368" y="2294713"/>
                  </a:lnTo>
                  <a:lnTo>
                    <a:pt x="745354" y="2260676"/>
                  </a:lnTo>
                  <a:lnTo>
                    <a:pt x="772429" y="2225290"/>
                  </a:lnTo>
                  <a:lnTo>
                    <a:pt x="797521" y="2188620"/>
                  </a:lnTo>
                  <a:lnTo>
                    <a:pt x="820561" y="2150730"/>
                  </a:lnTo>
                  <a:lnTo>
                    <a:pt x="841476" y="2111685"/>
                  </a:lnTo>
                  <a:lnTo>
                    <a:pt x="860197" y="2071549"/>
                  </a:lnTo>
                  <a:lnTo>
                    <a:pt x="876652" y="2030387"/>
                  </a:lnTo>
                  <a:lnTo>
                    <a:pt x="890770" y="1988263"/>
                  </a:lnTo>
                  <a:lnTo>
                    <a:pt x="902481" y="1945242"/>
                  </a:lnTo>
                  <a:lnTo>
                    <a:pt x="911712" y="1901388"/>
                  </a:lnTo>
                  <a:lnTo>
                    <a:pt x="918394" y="1856766"/>
                  </a:lnTo>
                  <a:lnTo>
                    <a:pt x="922455" y="1811440"/>
                  </a:lnTo>
                  <a:lnTo>
                    <a:pt x="923825" y="1765475"/>
                  </a:lnTo>
                  <a:lnTo>
                    <a:pt x="923825" y="949562"/>
                  </a:lnTo>
                  <a:lnTo>
                    <a:pt x="925260" y="896448"/>
                  </a:lnTo>
                  <a:lnTo>
                    <a:pt x="929511" y="844133"/>
                  </a:lnTo>
                  <a:lnTo>
                    <a:pt x="936499" y="792704"/>
                  </a:lnTo>
                  <a:lnTo>
                    <a:pt x="946143" y="742246"/>
                  </a:lnTo>
                  <a:lnTo>
                    <a:pt x="958364" y="692845"/>
                  </a:lnTo>
                  <a:lnTo>
                    <a:pt x="973082" y="644588"/>
                  </a:lnTo>
                  <a:lnTo>
                    <a:pt x="990216" y="597560"/>
                  </a:lnTo>
                  <a:lnTo>
                    <a:pt x="1009688" y="551848"/>
                  </a:lnTo>
                  <a:lnTo>
                    <a:pt x="1031416" y="507538"/>
                  </a:lnTo>
                  <a:lnTo>
                    <a:pt x="1055321" y="464715"/>
                  </a:lnTo>
                  <a:lnTo>
                    <a:pt x="1081323" y="423465"/>
                  </a:lnTo>
                  <a:lnTo>
                    <a:pt x="1109342" y="383875"/>
                  </a:lnTo>
                  <a:lnTo>
                    <a:pt x="1139299" y="346031"/>
                  </a:lnTo>
                  <a:lnTo>
                    <a:pt x="1171113" y="310018"/>
                  </a:lnTo>
                  <a:lnTo>
                    <a:pt x="1204704" y="275923"/>
                  </a:lnTo>
                  <a:lnTo>
                    <a:pt x="1239992" y="243832"/>
                  </a:lnTo>
                  <a:lnTo>
                    <a:pt x="1276898" y="213830"/>
                  </a:lnTo>
                  <a:lnTo>
                    <a:pt x="1315342" y="186004"/>
                  </a:lnTo>
                  <a:lnTo>
                    <a:pt x="1315342" y="130676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108;p1"/>
            <p:cNvSpPr/>
            <p:nvPr/>
          </p:nvSpPr>
          <p:spPr>
            <a:xfrm>
              <a:off x="13947795" y="5714721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93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09;p1"/>
            <p:cNvSpPr/>
            <p:nvPr/>
          </p:nvSpPr>
          <p:spPr>
            <a:xfrm>
              <a:off x="13947795" y="802737"/>
              <a:ext cx="2506980" cy="4854575"/>
            </a:xfrm>
            <a:custGeom>
              <a:avLst/>
              <a:gdLst/>
              <a:ahLst/>
              <a:cxnLst/>
              <a:rect l="l" t="t" r="r" b="b"/>
              <a:pathLst>
                <a:path w="2506980" h="4854575" extrusionOk="0">
                  <a:moveTo>
                    <a:pt x="23193" y="4807730"/>
                  </a:moveTo>
                  <a:lnTo>
                    <a:pt x="0" y="4807730"/>
                  </a:lnTo>
                  <a:lnTo>
                    <a:pt x="0" y="4854085"/>
                  </a:lnTo>
                  <a:lnTo>
                    <a:pt x="23193" y="4854085"/>
                  </a:lnTo>
                  <a:lnTo>
                    <a:pt x="23193" y="4807730"/>
                  </a:lnTo>
                  <a:close/>
                </a:path>
                <a:path w="2506980" h="4854575" extrusionOk="0">
                  <a:moveTo>
                    <a:pt x="23193" y="4715042"/>
                  </a:moveTo>
                  <a:lnTo>
                    <a:pt x="0" y="4715042"/>
                  </a:lnTo>
                  <a:lnTo>
                    <a:pt x="0" y="4761396"/>
                  </a:lnTo>
                  <a:lnTo>
                    <a:pt x="23193" y="4761396"/>
                  </a:lnTo>
                  <a:lnTo>
                    <a:pt x="23193" y="4715042"/>
                  </a:lnTo>
                  <a:close/>
                </a:path>
                <a:path w="2506980" h="4854575" extrusionOk="0">
                  <a:moveTo>
                    <a:pt x="23193" y="4622364"/>
                  </a:moveTo>
                  <a:lnTo>
                    <a:pt x="0" y="4622364"/>
                  </a:lnTo>
                  <a:lnTo>
                    <a:pt x="0" y="4668687"/>
                  </a:lnTo>
                  <a:lnTo>
                    <a:pt x="23193" y="4668687"/>
                  </a:lnTo>
                  <a:lnTo>
                    <a:pt x="23193" y="4622364"/>
                  </a:lnTo>
                  <a:close/>
                </a:path>
                <a:path w="2506980" h="4854575" extrusionOk="0">
                  <a:moveTo>
                    <a:pt x="23193" y="4529665"/>
                  </a:moveTo>
                  <a:lnTo>
                    <a:pt x="0" y="4529665"/>
                  </a:lnTo>
                  <a:lnTo>
                    <a:pt x="0" y="4575999"/>
                  </a:lnTo>
                  <a:lnTo>
                    <a:pt x="23193" y="4575999"/>
                  </a:lnTo>
                  <a:lnTo>
                    <a:pt x="23193" y="4529665"/>
                  </a:lnTo>
                  <a:close/>
                </a:path>
                <a:path w="2506980" h="4854575" extrusionOk="0">
                  <a:moveTo>
                    <a:pt x="23193" y="4436987"/>
                  </a:moveTo>
                  <a:lnTo>
                    <a:pt x="0" y="4436987"/>
                  </a:lnTo>
                  <a:lnTo>
                    <a:pt x="0" y="4483311"/>
                  </a:lnTo>
                  <a:lnTo>
                    <a:pt x="23193" y="4483311"/>
                  </a:lnTo>
                  <a:lnTo>
                    <a:pt x="23193" y="4436987"/>
                  </a:lnTo>
                  <a:close/>
                </a:path>
                <a:path w="2506980" h="4854575" extrusionOk="0">
                  <a:moveTo>
                    <a:pt x="2460815" y="4412245"/>
                  </a:moveTo>
                  <a:lnTo>
                    <a:pt x="2492720" y="4439190"/>
                  </a:lnTo>
                  <a:lnTo>
                    <a:pt x="2504478" y="4440212"/>
                  </a:lnTo>
                  <a:lnTo>
                    <a:pt x="2506363" y="4417145"/>
                  </a:lnTo>
                  <a:lnTo>
                    <a:pt x="2494873" y="4416138"/>
                  </a:lnTo>
                  <a:lnTo>
                    <a:pt x="2483471" y="4414985"/>
                  </a:lnTo>
                  <a:lnTo>
                    <a:pt x="2472128" y="4413688"/>
                  </a:lnTo>
                  <a:lnTo>
                    <a:pt x="2460815" y="4412245"/>
                  </a:lnTo>
                  <a:close/>
                </a:path>
                <a:path w="2506980" h="4854575" extrusionOk="0">
                  <a:moveTo>
                    <a:pt x="2371079" y="4395271"/>
                  </a:moveTo>
                  <a:lnTo>
                    <a:pt x="2399868" y="4425444"/>
                  </a:lnTo>
                  <a:lnTo>
                    <a:pt x="2411392" y="4427710"/>
                  </a:lnTo>
                  <a:lnTo>
                    <a:pt x="2415685" y="4404947"/>
                  </a:lnTo>
                  <a:lnTo>
                    <a:pt x="2404460" y="4402738"/>
                  </a:lnTo>
                  <a:lnTo>
                    <a:pt x="2393264" y="4400396"/>
                  </a:lnTo>
                  <a:lnTo>
                    <a:pt x="2382128" y="4397910"/>
                  </a:lnTo>
                  <a:lnTo>
                    <a:pt x="2371079" y="4395271"/>
                  </a:lnTo>
                  <a:close/>
                </a:path>
                <a:path w="2506980" h="4854575" extrusionOk="0">
                  <a:moveTo>
                    <a:pt x="2283647" y="4368927"/>
                  </a:moveTo>
                  <a:lnTo>
                    <a:pt x="2309087" y="4401945"/>
                  </a:lnTo>
                  <a:lnTo>
                    <a:pt x="2320295" y="4405407"/>
                  </a:lnTo>
                  <a:lnTo>
                    <a:pt x="2326892" y="4383240"/>
                  </a:lnTo>
                  <a:lnTo>
                    <a:pt x="2315997" y="4379866"/>
                  </a:lnTo>
                  <a:lnTo>
                    <a:pt x="2305152" y="4376354"/>
                  </a:lnTo>
                  <a:lnTo>
                    <a:pt x="2294365" y="4372708"/>
                  </a:lnTo>
                  <a:lnTo>
                    <a:pt x="2283647" y="4368927"/>
                  </a:lnTo>
                  <a:close/>
                </a:path>
                <a:path w="2506980" h="4854575" extrusionOk="0">
                  <a:moveTo>
                    <a:pt x="23193" y="4344310"/>
                  </a:moveTo>
                  <a:lnTo>
                    <a:pt x="0" y="4344310"/>
                  </a:lnTo>
                  <a:lnTo>
                    <a:pt x="0" y="4390633"/>
                  </a:lnTo>
                  <a:lnTo>
                    <a:pt x="23193" y="4390633"/>
                  </a:lnTo>
                  <a:lnTo>
                    <a:pt x="23193" y="4344310"/>
                  </a:lnTo>
                  <a:close/>
                </a:path>
                <a:path w="2506980" h="4854575" extrusionOk="0">
                  <a:moveTo>
                    <a:pt x="2199461" y="4333514"/>
                  </a:moveTo>
                  <a:lnTo>
                    <a:pt x="2221332" y="4369081"/>
                  </a:lnTo>
                  <a:lnTo>
                    <a:pt x="2232130" y="4373701"/>
                  </a:lnTo>
                  <a:lnTo>
                    <a:pt x="2241135" y="4352330"/>
                  </a:lnTo>
                  <a:lnTo>
                    <a:pt x="2230589" y="4347828"/>
                  </a:lnTo>
                  <a:lnTo>
                    <a:pt x="2220141" y="4343193"/>
                  </a:lnTo>
                  <a:lnTo>
                    <a:pt x="2209772" y="4338423"/>
                  </a:lnTo>
                  <a:lnTo>
                    <a:pt x="2199461" y="4333514"/>
                  </a:lnTo>
                  <a:close/>
                </a:path>
                <a:path w="2506980" h="4854575" extrusionOk="0">
                  <a:moveTo>
                    <a:pt x="2119464" y="4289526"/>
                  </a:moveTo>
                  <a:lnTo>
                    <a:pt x="2107318" y="4309243"/>
                  </a:lnTo>
                  <a:lnTo>
                    <a:pt x="2117316" y="4315354"/>
                  </a:lnTo>
                  <a:lnTo>
                    <a:pt x="2127382" y="4321330"/>
                  </a:lnTo>
                  <a:lnTo>
                    <a:pt x="2137547" y="4327179"/>
                  </a:lnTo>
                  <a:lnTo>
                    <a:pt x="2147840" y="4332907"/>
                  </a:lnTo>
                  <a:lnTo>
                    <a:pt x="2158939" y="4312604"/>
                  </a:lnTo>
                  <a:lnTo>
                    <a:pt x="2148943" y="4307029"/>
                  </a:lnTo>
                  <a:lnTo>
                    <a:pt x="2139044" y="4301328"/>
                  </a:lnTo>
                  <a:lnTo>
                    <a:pt x="2129225" y="4295495"/>
                  </a:lnTo>
                  <a:lnTo>
                    <a:pt x="2119464" y="4289526"/>
                  </a:lnTo>
                  <a:close/>
                </a:path>
                <a:path w="2506980" h="4854575" extrusionOk="0">
                  <a:moveTo>
                    <a:pt x="23193" y="4251632"/>
                  </a:moveTo>
                  <a:lnTo>
                    <a:pt x="0" y="4251632"/>
                  </a:lnTo>
                  <a:lnTo>
                    <a:pt x="0" y="4297924"/>
                  </a:lnTo>
                  <a:lnTo>
                    <a:pt x="23193" y="4297924"/>
                  </a:lnTo>
                  <a:lnTo>
                    <a:pt x="23193" y="4251632"/>
                  </a:lnTo>
                  <a:close/>
                </a:path>
                <a:path w="2506980" h="4854575" extrusionOk="0">
                  <a:moveTo>
                    <a:pt x="2044388" y="4237486"/>
                  </a:moveTo>
                  <a:lnTo>
                    <a:pt x="2030147" y="4255810"/>
                  </a:lnTo>
                  <a:lnTo>
                    <a:pt x="2039471" y="4262912"/>
                  </a:lnTo>
                  <a:lnTo>
                    <a:pt x="2048903" y="4269904"/>
                  </a:lnTo>
                  <a:lnTo>
                    <a:pt x="2058433" y="4276778"/>
                  </a:lnTo>
                  <a:lnTo>
                    <a:pt x="2068052" y="4283526"/>
                  </a:lnTo>
                  <a:lnTo>
                    <a:pt x="2081245" y="4264490"/>
                  </a:lnTo>
                  <a:lnTo>
                    <a:pt x="2071878" y="4257913"/>
                  </a:lnTo>
                  <a:lnTo>
                    <a:pt x="2062620" y="4251220"/>
                  </a:lnTo>
                  <a:lnTo>
                    <a:pt x="2053460" y="4244410"/>
                  </a:lnTo>
                  <a:lnTo>
                    <a:pt x="2044388" y="4237486"/>
                  </a:lnTo>
                  <a:close/>
                </a:path>
                <a:path w="2506980" h="4854575" extrusionOk="0">
                  <a:moveTo>
                    <a:pt x="1974861" y="4177980"/>
                  </a:moveTo>
                  <a:lnTo>
                    <a:pt x="1958945" y="4194785"/>
                  </a:lnTo>
                  <a:lnTo>
                    <a:pt x="1967485" y="4202816"/>
                  </a:lnTo>
                  <a:lnTo>
                    <a:pt x="1976144" y="4210731"/>
                  </a:lnTo>
                  <a:lnTo>
                    <a:pt x="1984919" y="4218535"/>
                  </a:lnTo>
                  <a:lnTo>
                    <a:pt x="1993813" y="4226229"/>
                  </a:lnTo>
                  <a:lnTo>
                    <a:pt x="2008891" y="4208596"/>
                  </a:lnTo>
                  <a:lnTo>
                    <a:pt x="2000231" y="4201106"/>
                  </a:lnTo>
                  <a:lnTo>
                    <a:pt x="1991680" y="4193508"/>
                  </a:lnTo>
                  <a:lnTo>
                    <a:pt x="1983226" y="4185800"/>
                  </a:lnTo>
                  <a:lnTo>
                    <a:pt x="1974861" y="4177980"/>
                  </a:lnTo>
                  <a:close/>
                </a:path>
                <a:path w="2506980" h="4854575" extrusionOk="0">
                  <a:moveTo>
                    <a:pt x="23193" y="4158912"/>
                  </a:moveTo>
                  <a:lnTo>
                    <a:pt x="0" y="4158912"/>
                  </a:lnTo>
                  <a:lnTo>
                    <a:pt x="0" y="4205225"/>
                  </a:lnTo>
                  <a:lnTo>
                    <a:pt x="23193" y="4205225"/>
                  </a:lnTo>
                  <a:lnTo>
                    <a:pt x="23193" y="4158912"/>
                  </a:lnTo>
                  <a:close/>
                </a:path>
                <a:path w="2506980" h="4854575" extrusionOk="0">
                  <a:moveTo>
                    <a:pt x="1911721" y="4111699"/>
                  </a:moveTo>
                  <a:lnTo>
                    <a:pt x="1894235" y="4126850"/>
                  </a:lnTo>
                  <a:lnTo>
                    <a:pt x="1901926" y="4135692"/>
                  </a:lnTo>
                  <a:lnTo>
                    <a:pt x="1909745" y="4144427"/>
                  </a:lnTo>
                  <a:lnTo>
                    <a:pt x="1917662" y="4153062"/>
                  </a:lnTo>
                  <a:lnTo>
                    <a:pt x="1925648" y="4161603"/>
                  </a:lnTo>
                  <a:lnTo>
                    <a:pt x="1942506" y="4145646"/>
                  </a:lnTo>
                  <a:lnTo>
                    <a:pt x="1934633" y="4137302"/>
                  </a:lnTo>
                  <a:lnTo>
                    <a:pt x="1926878" y="4128861"/>
                  </a:lnTo>
                  <a:lnTo>
                    <a:pt x="1919241" y="4120325"/>
                  </a:lnTo>
                  <a:lnTo>
                    <a:pt x="1911721" y="4111699"/>
                  </a:lnTo>
                  <a:close/>
                </a:path>
                <a:path w="2506980" h="4854575" extrusionOk="0">
                  <a:moveTo>
                    <a:pt x="23193" y="4066224"/>
                  </a:moveTo>
                  <a:lnTo>
                    <a:pt x="0" y="4066224"/>
                  </a:lnTo>
                  <a:lnTo>
                    <a:pt x="0" y="4112558"/>
                  </a:lnTo>
                  <a:lnTo>
                    <a:pt x="23193" y="4112558"/>
                  </a:lnTo>
                  <a:lnTo>
                    <a:pt x="23193" y="4066224"/>
                  </a:lnTo>
                  <a:close/>
                </a:path>
                <a:path w="2506980" h="4854575" extrusionOk="0">
                  <a:moveTo>
                    <a:pt x="1855493" y="4039460"/>
                  </a:moveTo>
                  <a:lnTo>
                    <a:pt x="1836540" y="4052716"/>
                  </a:lnTo>
                  <a:lnTo>
                    <a:pt x="1843353" y="4062302"/>
                  </a:lnTo>
                  <a:lnTo>
                    <a:pt x="1850283" y="4071798"/>
                  </a:lnTo>
                  <a:lnTo>
                    <a:pt x="1857332" y="4081198"/>
                  </a:lnTo>
                  <a:lnTo>
                    <a:pt x="1864498" y="4090495"/>
                  </a:lnTo>
                  <a:lnTo>
                    <a:pt x="1882717" y="4076286"/>
                  </a:lnTo>
                  <a:lnTo>
                    <a:pt x="1875769" y="4067210"/>
                  </a:lnTo>
                  <a:lnTo>
                    <a:pt x="1868909" y="4058046"/>
                  </a:lnTo>
                  <a:lnTo>
                    <a:pt x="1862147" y="4048795"/>
                  </a:lnTo>
                  <a:lnTo>
                    <a:pt x="1855493" y="4039460"/>
                  </a:lnTo>
                  <a:close/>
                </a:path>
                <a:path w="2506980" h="4854575" extrusionOk="0">
                  <a:moveTo>
                    <a:pt x="23193" y="3973557"/>
                  </a:moveTo>
                  <a:lnTo>
                    <a:pt x="0" y="3973557"/>
                  </a:lnTo>
                  <a:lnTo>
                    <a:pt x="0" y="4019859"/>
                  </a:lnTo>
                  <a:lnTo>
                    <a:pt x="23193" y="4019859"/>
                  </a:lnTo>
                  <a:lnTo>
                    <a:pt x="23193" y="3973557"/>
                  </a:lnTo>
                  <a:close/>
                </a:path>
                <a:path w="2506980" h="4854575" extrusionOk="0">
                  <a:moveTo>
                    <a:pt x="1806803" y="3961892"/>
                  </a:moveTo>
                  <a:lnTo>
                    <a:pt x="1786594" y="3973221"/>
                  </a:lnTo>
                  <a:lnTo>
                    <a:pt x="1792402" y="3983435"/>
                  </a:lnTo>
                  <a:lnTo>
                    <a:pt x="1798348" y="3993565"/>
                  </a:lnTo>
                  <a:lnTo>
                    <a:pt x="1804411" y="4003615"/>
                  </a:lnTo>
                  <a:lnTo>
                    <a:pt x="1810573" y="4013587"/>
                  </a:lnTo>
                  <a:lnTo>
                    <a:pt x="1830153" y="4001273"/>
                  </a:lnTo>
                  <a:lnTo>
                    <a:pt x="1824149" y="3991552"/>
                  </a:lnTo>
                  <a:lnTo>
                    <a:pt x="1818243" y="3981743"/>
                  </a:lnTo>
                  <a:lnTo>
                    <a:pt x="1812454" y="3971855"/>
                  </a:lnTo>
                  <a:lnTo>
                    <a:pt x="1806803" y="3961892"/>
                  </a:lnTo>
                  <a:close/>
                </a:path>
                <a:path w="2506980" h="4854575" extrusionOk="0">
                  <a:moveTo>
                    <a:pt x="1765967" y="3879832"/>
                  </a:moveTo>
                  <a:lnTo>
                    <a:pt x="1744711" y="3889088"/>
                  </a:lnTo>
                  <a:lnTo>
                    <a:pt x="1749498" y="3899848"/>
                  </a:lnTo>
                  <a:lnTo>
                    <a:pt x="1754423" y="3910532"/>
                  </a:lnTo>
                  <a:lnTo>
                    <a:pt x="1759563" y="3921338"/>
                  </a:lnTo>
                  <a:lnTo>
                    <a:pt x="1764605" y="3931663"/>
                  </a:lnTo>
                  <a:lnTo>
                    <a:pt x="1785338" y="3921338"/>
                  </a:lnTo>
                  <a:lnTo>
                    <a:pt x="1780309" y="3911067"/>
                  </a:lnTo>
                  <a:lnTo>
                    <a:pt x="1775417" y="3900722"/>
                  </a:lnTo>
                  <a:lnTo>
                    <a:pt x="1770643" y="3890309"/>
                  </a:lnTo>
                  <a:lnTo>
                    <a:pt x="1765967" y="3879832"/>
                  </a:lnTo>
                  <a:close/>
                </a:path>
                <a:path w="2506980" h="4854575" extrusionOk="0">
                  <a:moveTo>
                    <a:pt x="23193" y="3880847"/>
                  </a:moveTo>
                  <a:lnTo>
                    <a:pt x="0" y="3880847"/>
                  </a:lnTo>
                  <a:lnTo>
                    <a:pt x="0" y="3927191"/>
                  </a:lnTo>
                  <a:lnTo>
                    <a:pt x="23193" y="3927191"/>
                  </a:lnTo>
                  <a:lnTo>
                    <a:pt x="23193" y="3880847"/>
                  </a:lnTo>
                  <a:close/>
                </a:path>
                <a:path w="2506980" h="4854575" extrusionOk="0">
                  <a:moveTo>
                    <a:pt x="1733507" y="3794169"/>
                  </a:moveTo>
                  <a:lnTo>
                    <a:pt x="1711518" y="3801310"/>
                  </a:lnTo>
                  <a:lnTo>
                    <a:pt x="1715191" y="3812469"/>
                  </a:lnTo>
                  <a:lnTo>
                    <a:pt x="1718992" y="3823562"/>
                  </a:lnTo>
                  <a:lnTo>
                    <a:pt x="1722930" y="3834587"/>
                  </a:lnTo>
                  <a:lnTo>
                    <a:pt x="1727015" y="3845539"/>
                  </a:lnTo>
                  <a:lnTo>
                    <a:pt x="1748690" y="3837341"/>
                  </a:lnTo>
                  <a:lnTo>
                    <a:pt x="1744683" y="3826642"/>
                  </a:lnTo>
                  <a:lnTo>
                    <a:pt x="1740823" y="3815877"/>
                  </a:lnTo>
                  <a:lnTo>
                    <a:pt x="1737101" y="3805051"/>
                  </a:lnTo>
                  <a:lnTo>
                    <a:pt x="1733507" y="3794169"/>
                  </a:lnTo>
                  <a:close/>
                </a:path>
                <a:path w="2506980" h="4854575" extrusionOk="0">
                  <a:moveTo>
                    <a:pt x="23193" y="3788180"/>
                  </a:moveTo>
                  <a:lnTo>
                    <a:pt x="0" y="3788180"/>
                  </a:lnTo>
                  <a:lnTo>
                    <a:pt x="0" y="3834503"/>
                  </a:lnTo>
                  <a:lnTo>
                    <a:pt x="23193" y="3834503"/>
                  </a:lnTo>
                  <a:lnTo>
                    <a:pt x="23193" y="3788180"/>
                  </a:lnTo>
                  <a:close/>
                </a:path>
                <a:path w="2506980" h="4854575" extrusionOk="0">
                  <a:moveTo>
                    <a:pt x="1709738" y="3705858"/>
                  </a:moveTo>
                  <a:lnTo>
                    <a:pt x="1687016" y="3710769"/>
                  </a:lnTo>
                  <a:lnTo>
                    <a:pt x="1689604" y="3722252"/>
                  </a:lnTo>
                  <a:lnTo>
                    <a:pt x="1692330" y="3733675"/>
                  </a:lnTo>
                  <a:lnTo>
                    <a:pt x="1695174" y="3745037"/>
                  </a:lnTo>
                  <a:lnTo>
                    <a:pt x="1698115" y="3756338"/>
                  </a:lnTo>
                  <a:lnTo>
                    <a:pt x="1720523" y="3750317"/>
                  </a:lnTo>
                  <a:lnTo>
                    <a:pt x="1717616" y="3739277"/>
                  </a:lnTo>
                  <a:lnTo>
                    <a:pt x="1714856" y="3728190"/>
                  </a:lnTo>
                  <a:lnTo>
                    <a:pt x="1712233" y="3717051"/>
                  </a:lnTo>
                  <a:lnTo>
                    <a:pt x="1709738" y="3705858"/>
                  </a:lnTo>
                  <a:close/>
                </a:path>
                <a:path w="2506980" h="4854575" extrusionOk="0">
                  <a:moveTo>
                    <a:pt x="23193" y="3695471"/>
                  </a:moveTo>
                  <a:lnTo>
                    <a:pt x="0" y="3695471"/>
                  </a:lnTo>
                  <a:lnTo>
                    <a:pt x="0" y="3741804"/>
                  </a:lnTo>
                  <a:lnTo>
                    <a:pt x="23193" y="3741804"/>
                  </a:lnTo>
                  <a:lnTo>
                    <a:pt x="23193" y="3695471"/>
                  </a:lnTo>
                  <a:close/>
                </a:path>
                <a:path w="2506980" h="4854575" extrusionOk="0">
                  <a:moveTo>
                    <a:pt x="1694660" y="3615620"/>
                  </a:moveTo>
                  <a:lnTo>
                    <a:pt x="1671624" y="3618279"/>
                  </a:lnTo>
                  <a:lnTo>
                    <a:pt x="1673096" y="3629959"/>
                  </a:lnTo>
                  <a:lnTo>
                    <a:pt x="1674687" y="3641595"/>
                  </a:lnTo>
                  <a:lnTo>
                    <a:pt x="1676395" y="3653189"/>
                  </a:lnTo>
                  <a:lnTo>
                    <a:pt x="1678221" y="3664739"/>
                  </a:lnTo>
                  <a:lnTo>
                    <a:pt x="1701047" y="3660875"/>
                  </a:lnTo>
                  <a:lnTo>
                    <a:pt x="1699283" y="3649631"/>
                  </a:lnTo>
                  <a:lnTo>
                    <a:pt x="1697618" y="3638342"/>
                  </a:lnTo>
                  <a:lnTo>
                    <a:pt x="1696070" y="3627005"/>
                  </a:lnTo>
                  <a:lnTo>
                    <a:pt x="1694660" y="3615620"/>
                  </a:lnTo>
                  <a:close/>
                </a:path>
                <a:path w="2506980" h="4854575" extrusionOk="0">
                  <a:moveTo>
                    <a:pt x="23193" y="3602803"/>
                  </a:moveTo>
                  <a:lnTo>
                    <a:pt x="0" y="3602803"/>
                  </a:lnTo>
                  <a:lnTo>
                    <a:pt x="0" y="3649127"/>
                  </a:lnTo>
                  <a:lnTo>
                    <a:pt x="23193" y="3649127"/>
                  </a:lnTo>
                  <a:lnTo>
                    <a:pt x="23193" y="3602803"/>
                  </a:lnTo>
                  <a:close/>
                </a:path>
                <a:path w="2506980" h="4854575" extrusionOk="0">
                  <a:moveTo>
                    <a:pt x="1688377" y="3524303"/>
                  </a:moveTo>
                  <a:lnTo>
                    <a:pt x="1665237" y="3524753"/>
                  </a:lnTo>
                  <a:lnTo>
                    <a:pt x="1665549" y="3536529"/>
                  </a:lnTo>
                  <a:lnTo>
                    <a:pt x="1666009" y="3548263"/>
                  </a:lnTo>
                  <a:lnTo>
                    <a:pt x="1666606" y="3559954"/>
                  </a:lnTo>
                  <a:lnTo>
                    <a:pt x="1667331" y="3571600"/>
                  </a:lnTo>
                  <a:lnTo>
                    <a:pt x="1690472" y="3570009"/>
                  </a:lnTo>
                  <a:lnTo>
                    <a:pt x="1689747" y="3558640"/>
                  </a:lnTo>
                  <a:lnTo>
                    <a:pt x="1689150" y="3547230"/>
                  </a:lnTo>
                  <a:lnTo>
                    <a:pt x="1688690" y="3535784"/>
                  </a:lnTo>
                  <a:lnTo>
                    <a:pt x="1688377" y="3524303"/>
                  </a:lnTo>
                  <a:close/>
                </a:path>
                <a:path w="2506980" h="4854575" extrusionOk="0">
                  <a:moveTo>
                    <a:pt x="23193" y="3510084"/>
                  </a:moveTo>
                  <a:lnTo>
                    <a:pt x="0" y="3510084"/>
                  </a:lnTo>
                  <a:lnTo>
                    <a:pt x="0" y="3556449"/>
                  </a:lnTo>
                  <a:lnTo>
                    <a:pt x="23193" y="3556449"/>
                  </a:lnTo>
                  <a:lnTo>
                    <a:pt x="23193" y="3510084"/>
                  </a:lnTo>
                  <a:close/>
                </a:path>
                <a:path w="2506980" h="4854575" extrusionOk="0">
                  <a:moveTo>
                    <a:pt x="1688273" y="3431845"/>
                  </a:moveTo>
                  <a:lnTo>
                    <a:pt x="1665101" y="3431845"/>
                  </a:lnTo>
                  <a:lnTo>
                    <a:pt x="1665101" y="3478179"/>
                  </a:lnTo>
                  <a:lnTo>
                    <a:pt x="1688273" y="3478179"/>
                  </a:lnTo>
                  <a:lnTo>
                    <a:pt x="1688273" y="3431845"/>
                  </a:lnTo>
                  <a:close/>
                </a:path>
                <a:path w="2506980" h="4854575" extrusionOk="0">
                  <a:moveTo>
                    <a:pt x="23193" y="3417385"/>
                  </a:moveTo>
                  <a:lnTo>
                    <a:pt x="0" y="3417385"/>
                  </a:lnTo>
                  <a:lnTo>
                    <a:pt x="0" y="3463761"/>
                  </a:lnTo>
                  <a:lnTo>
                    <a:pt x="23193" y="3463761"/>
                  </a:lnTo>
                  <a:lnTo>
                    <a:pt x="23193" y="3417385"/>
                  </a:lnTo>
                  <a:close/>
                </a:path>
                <a:path w="2506980" h="4854575" extrusionOk="0">
                  <a:moveTo>
                    <a:pt x="1688273" y="3339167"/>
                  </a:moveTo>
                  <a:lnTo>
                    <a:pt x="1665101" y="3339167"/>
                  </a:lnTo>
                  <a:lnTo>
                    <a:pt x="1665101" y="3385501"/>
                  </a:lnTo>
                  <a:lnTo>
                    <a:pt x="1688273" y="3385501"/>
                  </a:lnTo>
                  <a:lnTo>
                    <a:pt x="1688273" y="3339167"/>
                  </a:lnTo>
                  <a:close/>
                </a:path>
                <a:path w="2506980" h="4854575" extrusionOk="0">
                  <a:moveTo>
                    <a:pt x="23193" y="3324707"/>
                  </a:moveTo>
                  <a:lnTo>
                    <a:pt x="0" y="3324707"/>
                  </a:lnTo>
                  <a:lnTo>
                    <a:pt x="0" y="3371062"/>
                  </a:lnTo>
                  <a:lnTo>
                    <a:pt x="23193" y="3371062"/>
                  </a:lnTo>
                  <a:lnTo>
                    <a:pt x="23193" y="3324707"/>
                  </a:lnTo>
                  <a:close/>
                </a:path>
                <a:path w="2506980" h="4854575" extrusionOk="0">
                  <a:moveTo>
                    <a:pt x="1688273" y="3246479"/>
                  </a:moveTo>
                  <a:lnTo>
                    <a:pt x="1665101" y="3246479"/>
                  </a:lnTo>
                  <a:lnTo>
                    <a:pt x="1665101" y="3292813"/>
                  </a:lnTo>
                  <a:lnTo>
                    <a:pt x="1688273" y="3292813"/>
                  </a:lnTo>
                  <a:lnTo>
                    <a:pt x="1688273" y="3246479"/>
                  </a:lnTo>
                  <a:close/>
                </a:path>
                <a:path w="2506980" h="4854575" extrusionOk="0">
                  <a:moveTo>
                    <a:pt x="23193" y="3232019"/>
                  </a:moveTo>
                  <a:lnTo>
                    <a:pt x="0" y="3232019"/>
                  </a:lnTo>
                  <a:lnTo>
                    <a:pt x="0" y="3278384"/>
                  </a:lnTo>
                  <a:lnTo>
                    <a:pt x="23193" y="3278384"/>
                  </a:lnTo>
                  <a:lnTo>
                    <a:pt x="23193" y="3232019"/>
                  </a:lnTo>
                  <a:close/>
                </a:path>
                <a:path w="2506980" h="4854575" extrusionOk="0">
                  <a:moveTo>
                    <a:pt x="1688273" y="3153801"/>
                  </a:moveTo>
                  <a:lnTo>
                    <a:pt x="1665101" y="3153801"/>
                  </a:lnTo>
                  <a:lnTo>
                    <a:pt x="1665101" y="3200135"/>
                  </a:lnTo>
                  <a:lnTo>
                    <a:pt x="1688273" y="3200135"/>
                  </a:lnTo>
                  <a:lnTo>
                    <a:pt x="1688273" y="3153801"/>
                  </a:lnTo>
                  <a:close/>
                </a:path>
                <a:path w="2506980" h="4854575" extrusionOk="0">
                  <a:moveTo>
                    <a:pt x="23193" y="3139341"/>
                  </a:moveTo>
                  <a:lnTo>
                    <a:pt x="0" y="3139341"/>
                  </a:lnTo>
                  <a:lnTo>
                    <a:pt x="0" y="3185717"/>
                  </a:lnTo>
                  <a:lnTo>
                    <a:pt x="23193" y="3185717"/>
                  </a:lnTo>
                  <a:lnTo>
                    <a:pt x="23193" y="3139341"/>
                  </a:lnTo>
                  <a:close/>
                </a:path>
                <a:path w="2506980" h="4854575" extrusionOk="0">
                  <a:moveTo>
                    <a:pt x="1688273" y="3061082"/>
                  </a:moveTo>
                  <a:lnTo>
                    <a:pt x="1665101" y="3061082"/>
                  </a:lnTo>
                  <a:lnTo>
                    <a:pt x="1665101" y="3107447"/>
                  </a:lnTo>
                  <a:lnTo>
                    <a:pt x="1688273" y="3107447"/>
                  </a:lnTo>
                  <a:lnTo>
                    <a:pt x="1688273" y="3061082"/>
                  </a:lnTo>
                  <a:close/>
                </a:path>
                <a:path w="2506980" h="4854575" extrusionOk="0">
                  <a:moveTo>
                    <a:pt x="23193" y="3046642"/>
                  </a:moveTo>
                  <a:lnTo>
                    <a:pt x="0" y="3046642"/>
                  </a:lnTo>
                  <a:lnTo>
                    <a:pt x="0" y="3092986"/>
                  </a:lnTo>
                  <a:lnTo>
                    <a:pt x="23193" y="3092986"/>
                  </a:lnTo>
                  <a:lnTo>
                    <a:pt x="23193" y="3046642"/>
                  </a:lnTo>
                  <a:close/>
                </a:path>
                <a:path w="2506980" h="4854575" extrusionOk="0">
                  <a:moveTo>
                    <a:pt x="1688273" y="2968404"/>
                  </a:moveTo>
                  <a:lnTo>
                    <a:pt x="1665101" y="2968404"/>
                  </a:lnTo>
                  <a:lnTo>
                    <a:pt x="1665101" y="3014748"/>
                  </a:lnTo>
                  <a:lnTo>
                    <a:pt x="1688273" y="3014748"/>
                  </a:lnTo>
                  <a:lnTo>
                    <a:pt x="1688273" y="2968404"/>
                  </a:lnTo>
                  <a:close/>
                </a:path>
                <a:path w="2506980" h="4854575" extrusionOk="0">
                  <a:moveTo>
                    <a:pt x="23193" y="2953985"/>
                  </a:moveTo>
                  <a:lnTo>
                    <a:pt x="0" y="2953985"/>
                  </a:lnTo>
                  <a:lnTo>
                    <a:pt x="0" y="3000330"/>
                  </a:lnTo>
                  <a:lnTo>
                    <a:pt x="23193" y="3000330"/>
                  </a:lnTo>
                  <a:lnTo>
                    <a:pt x="23193" y="2953985"/>
                  </a:lnTo>
                  <a:close/>
                </a:path>
                <a:path w="2506980" h="4854575" extrusionOk="0">
                  <a:moveTo>
                    <a:pt x="1688273" y="2875737"/>
                  </a:moveTo>
                  <a:lnTo>
                    <a:pt x="1665101" y="2875737"/>
                  </a:lnTo>
                  <a:lnTo>
                    <a:pt x="1665101" y="2922081"/>
                  </a:lnTo>
                  <a:lnTo>
                    <a:pt x="1688273" y="2922081"/>
                  </a:lnTo>
                  <a:lnTo>
                    <a:pt x="1688273" y="2875737"/>
                  </a:lnTo>
                  <a:close/>
                </a:path>
                <a:path w="2506980" h="4854575" extrusionOk="0">
                  <a:moveTo>
                    <a:pt x="23193" y="2861287"/>
                  </a:moveTo>
                  <a:lnTo>
                    <a:pt x="0" y="2861287"/>
                  </a:lnTo>
                  <a:lnTo>
                    <a:pt x="0" y="2907631"/>
                  </a:lnTo>
                  <a:lnTo>
                    <a:pt x="23193" y="2907631"/>
                  </a:lnTo>
                  <a:lnTo>
                    <a:pt x="23193" y="2861287"/>
                  </a:lnTo>
                  <a:close/>
                </a:path>
                <a:path w="2506980" h="4854575" extrusionOk="0">
                  <a:moveTo>
                    <a:pt x="1688273" y="2783038"/>
                  </a:moveTo>
                  <a:lnTo>
                    <a:pt x="1665101" y="2783038"/>
                  </a:lnTo>
                  <a:lnTo>
                    <a:pt x="1665101" y="2829382"/>
                  </a:lnTo>
                  <a:lnTo>
                    <a:pt x="1688273" y="2829382"/>
                  </a:lnTo>
                  <a:lnTo>
                    <a:pt x="1688273" y="2783038"/>
                  </a:lnTo>
                  <a:close/>
                </a:path>
                <a:path w="2506980" h="4854575" extrusionOk="0">
                  <a:moveTo>
                    <a:pt x="23193" y="2768598"/>
                  </a:moveTo>
                  <a:lnTo>
                    <a:pt x="0" y="2768598"/>
                  </a:lnTo>
                  <a:lnTo>
                    <a:pt x="0" y="2814932"/>
                  </a:lnTo>
                  <a:lnTo>
                    <a:pt x="23193" y="2814932"/>
                  </a:lnTo>
                  <a:lnTo>
                    <a:pt x="23193" y="2768598"/>
                  </a:lnTo>
                  <a:close/>
                </a:path>
                <a:path w="2506980" h="4854575" extrusionOk="0">
                  <a:moveTo>
                    <a:pt x="1688273" y="2690350"/>
                  </a:moveTo>
                  <a:lnTo>
                    <a:pt x="1665101" y="2690350"/>
                  </a:lnTo>
                  <a:lnTo>
                    <a:pt x="1665101" y="2736673"/>
                  </a:lnTo>
                  <a:lnTo>
                    <a:pt x="1688273" y="2736673"/>
                  </a:lnTo>
                  <a:lnTo>
                    <a:pt x="1688273" y="2690350"/>
                  </a:lnTo>
                  <a:close/>
                </a:path>
                <a:path w="2506980" h="4854575" extrusionOk="0">
                  <a:moveTo>
                    <a:pt x="23193" y="2675910"/>
                  </a:moveTo>
                  <a:lnTo>
                    <a:pt x="0" y="2675910"/>
                  </a:lnTo>
                  <a:lnTo>
                    <a:pt x="0" y="2722233"/>
                  </a:lnTo>
                  <a:lnTo>
                    <a:pt x="23193" y="2722233"/>
                  </a:lnTo>
                  <a:lnTo>
                    <a:pt x="23193" y="2675910"/>
                  </a:lnTo>
                  <a:close/>
                </a:path>
                <a:path w="2506980" h="4854575" extrusionOk="0">
                  <a:moveTo>
                    <a:pt x="1688273" y="2597651"/>
                  </a:moveTo>
                  <a:lnTo>
                    <a:pt x="1665101" y="2597651"/>
                  </a:lnTo>
                  <a:lnTo>
                    <a:pt x="1665101" y="2643984"/>
                  </a:lnTo>
                  <a:lnTo>
                    <a:pt x="1688273" y="2643984"/>
                  </a:lnTo>
                  <a:lnTo>
                    <a:pt x="1688273" y="2597651"/>
                  </a:lnTo>
                  <a:close/>
                </a:path>
                <a:path w="2506980" h="4854575" extrusionOk="0">
                  <a:moveTo>
                    <a:pt x="23193" y="2583211"/>
                  </a:moveTo>
                  <a:lnTo>
                    <a:pt x="0" y="2583211"/>
                  </a:lnTo>
                  <a:lnTo>
                    <a:pt x="0" y="2629545"/>
                  </a:lnTo>
                  <a:lnTo>
                    <a:pt x="23193" y="2629545"/>
                  </a:lnTo>
                  <a:lnTo>
                    <a:pt x="23193" y="2583211"/>
                  </a:lnTo>
                  <a:close/>
                </a:path>
                <a:path w="2506980" h="4854575" extrusionOk="0">
                  <a:moveTo>
                    <a:pt x="1688273" y="2504983"/>
                  </a:moveTo>
                  <a:lnTo>
                    <a:pt x="1665101" y="2504983"/>
                  </a:lnTo>
                  <a:lnTo>
                    <a:pt x="1665101" y="2551307"/>
                  </a:lnTo>
                  <a:lnTo>
                    <a:pt x="1688273" y="2551307"/>
                  </a:lnTo>
                  <a:lnTo>
                    <a:pt x="1688273" y="2504983"/>
                  </a:lnTo>
                  <a:close/>
                </a:path>
                <a:path w="2506980" h="4854575" extrusionOk="0">
                  <a:moveTo>
                    <a:pt x="23193" y="2490544"/>
                  </a:moveTo>
                  <a:lnTo>
                    <a:pt x="0" y="2490544"/>
                  </a:lnTo>
                  <a:lnTo>
                    <a:pt x="0" y="2536867"/>
                  </a:lnTo>
                  <a:lnTo>
                    <a:pt x="23193" y="2536867"/>
                  </a:lnTo>
                  <a:lnTo>
                    <a:pt x="23193" y="2490544"/>
                  </a:lnTo>
                  <a:close/>
                </a:path>
                <a:path w="2506980" h="4854575" extrusionOk="0">
                  <a:moveTo>
                    <a:pt x="1688273" y="2412285"/>
                  </a:moveTo>
                  <a:lnTo>
                    <a:pt x="1665101" y="2412285"/>
                  </a:lnTo>
                  <a:lnTo>
                    <a:pt x="1665101" y="2458618"/>
                  </a:lnTo>
                  <a:lnTo>
                    <a:pt x="1688273" y="2458618"/>
                  </a:lnTo>
                  <a:lnTo>
                    <a:pt x="1688273" y="2412285"/>
                  </a:lnTo>
                  <a:close/>
                </a:path>
                <a:path w="2506980" h="4854575" extrusionOk="0">
                  <a:moveTo>
                    <a:pt x="23193" y="2397814"/>
                  </a:moveTo>
                  <a:lnTo>
                    <a:pt x="0" y="2397814"/>
                  </a:lnTo>
                  <a:lnTo>
                    <a:pt x="0" y="2444179"/>
                  </a:lnTo>
                  <a:lnTo>
                    <a:pt x="23193" y="2444179"/>
                  </a:lnTo>
                  <a:lnTo>
                    <a:pt x="23193" y="2397814"/>
                  </a:lnTo>
                  <a:close/>
                </a:path>
                <a:path w="2506980" h="4854575" extrusionOk="0">
                  <a:moveTo>
                    <a:pt x="1688273" y="2319575"/>
                  </a:moveTo>
                  <a:lnTo>
                    <a:pt x="1665101" y="2319575"/>
                  </a:lnTo>
                  <a:lnTo>
                    <a:pt x="1665101" y="2365930"/>
                  </a:lnTo>
                  <a:lnTo>
                    <a:pt x="1688273" y="2365930"/>
                  </a:lnTo>
                  <a:lnTo>
                    <a:pt x="1688273" y="2319575"/>
                  </a:lnTo>
                  <a:close/>
                </a:path>
                <a:path w="2506980" h="4854575" extrusionOk="0">
                  <a:moveTo>
                    <a:pt x="23193" y="2305168"/>
                  </a:moveTo>
                  <a:lnTo>
                    <a:pt x="0" y="2305168"/>
                  </a:lnTo>
                  <a:lnTo>
                    <a:pt x="0" y="2351501"/>
                  </a:lnTo>
                  <a:lnTo>
                    <a:pt x="23193" y="2351501"/>
                  </a:lnTo>
                  <a:lnTo>
                    <a:pt x="23193" y="2305168"/>
                  </a:lnTo>
                  <a:close/>
                </a:path>
                <a:path w="2506980" h="4854575" extrusionOk="0">
                  <a:moveTo>
                    <a:pt x="1688273" y="2226898"/>
                  </a:moveTo>
                  <a:lnTo>
                    <a:pt x="1665101" y="2226898"/>
                  </a:lnTo>
                  <a:lnTo>
                    <a:pt x="1665101" y="2273242"/>
                  </a:lnTo>
                  <a:lnTo>
                    <a:pt x="1688273" y="2273242"/>
                  </a:lnTo>
                  <a:lnTo>
                    <a:pt x="1688273" y="2226898"/>
                  </a:lnTo>
                  <a:close/>
                </a:path>
                <a:path w="2506980" h="4854575" extrusionOk="0">
                  <a:moveTo>
                    <a:pt x="23193" y="2212469"/>
                  </a:moveTo>
                  <a:lnTo>
                    <a:pt x="0" y="2212469"/>
                  </a:lnTo>
                  <a:lnTo>
                    <a:pt x="0" y="2258813"/>
                  </a:lnTo>
                  <a:lnTo>
                    <a:pt x="23193" y="2258813"/>
                  </a:lnTo>
                  <a:lnTo>
                    <a:pt x="23193" y="2212469"/>
                  </a:lnTo>
                  <a:close/>
                </a:path>
                <a:path w="2506980" h="4854575" extrusionOk="0">
                  <a:moveTo>
                    <a:pt x="1688273" y="2134220"/>
                  </a:moveTo>
                  <a:lnTo>
                    <a:pt x="1665101" y="2134220"/>
                  </a:lnTo>
                  <a:lnTo>
                    <a:pt x="1665101" y="2180554"/>
                  </a:lnTo>
                  <a:lnTo>
                    <a:pt x="1688273" y="2180554"/>
                  </a:lnTo>
                  <a:lnTo>
                    <a:pt x="1688273" y="2134220"/>
                  </a:lnTo>
                  <a:close/>
                </a:path>
                <a:path w="2506980" h="4854575" extrusionOk="0">
                  <a:moveTo>
                    <a:pt x="23193" y="2119770"/>
                  </a:moveTo>
                  <a:lnTo>
                    <a:pt x="0" y="2119770"/>
                  </a:lnTo>
                  <a:lnTo>
                    <a:pt x="0" y="2166114"/>
                  </a:lnTo>
                  <a:lnTo>
                    <a:pt x="23193" y="2166114"/>
                  </a:lnTo>
                  <a:lnTo>
                    <a:pt x="23193" y="2119770"/>
                  </a:lnTo>
                  <a:close/>
                </a:path>
                <a:path w="2506980" h="4854575" extrusionOk="0">
                  <a:moveTo>
                    <a:pt x="1688273" y="2041521"/>
                  </a:moveTo>
                  <a:lnTo>
                    <a:pt x="1665101" y="2041521"/>
                  </a:lnTo>
                  <a:lnTo>
                    <a:pt x="1665101" y="2087876"/>
                  </a:lnTo>
                  <a:lnTo>
                    <a:pt x="1688273" y="2087876"/>
                  </a:lnTo>
                  <a:lnTo>
                    <a:pt x="1688273" y="2041521"/>
                  </a:lnTo>
                  <a:close/>
                </a:path>
                <a:path w="2506980" h="4854575" extrusionOk="0">
                  <a:moveTo>
                    <a:pt x="23193" y="2027092"/>
                  </a:moveTo>
                  <a:lnTo>
                    <a:pt x="0" y="2027092"/>
                  </a:lnTo>
                  <a:lnTo>
                    <a:pt x="0" y="2073405"/>
                  </a:lnTo>
                  <a:lnTo>
                    <a:pt x="23193" y="2073405"/>
                  </a:lnTo>
                  <a:lnTo>
                    <a:pt x="23193" y="2027092"/>
                  </a:lnTo>
                  <a:close/>
                </a:path>
                <a:path w="2506980" h="4854575" extrusionOk="0">
                  <a:moveTo>
                    <a:pt x="1688273" y="1948833"/>
                  </a:moveTo>
                  <a:lnTo>
                    <a:pt x="1665101" y="1948833"/>
                  </a:lnTo>
                  <a:lnTo>
                    <a:pt x="1665101" y="1995198"/>
                  </a:lnTo>
                  <a:lnTo>
                    <a:pt x="1688273" y="1995198"/>
                  </a:lnTo>
                  <a:lnTo>
                    <a:pt x="1688273" y="1948833"/>
                  </a:lnTo>
                  <a:close/>
                </a:path>
                <a:path w="2506980" h="4854575" extrusionOk="0">
                  <a:moveTo>
                    <a:pt x="23193" y="1934393"/>
                  </a:moveTo>
                  <a:lnTo>
                    <a:pt x="0" y="1934393"/>
                  </a:lnTo>
                  <a:lnTo>
                    <a:pt x="0" y="1980738"/>
                  </a:lnTo>
                  <a:lnTo>
                    <a:pt x="23193" y="1980738"/>
                  </a:lnTo>
                  <a:lnTo>
                    <a:pt x="23193" y="1934393"/>
                  </a:lnTo>
                  <a:close/>
                </a:path>
                <a:path w="2506980" h="4854575" extrusionOk="0">
                  <a:moveTo>
                    <a:pt x="1688273" y="1856155"/>
                  </a:moveTo>
                  <a:lnTo>
                    <a:pt x="1665101" y="1856155"/>
                  </a:lnTo>
                  <a:lnTo>
                    <a:pt x="1665101" y="1902499"/>
                  </a:lnTo>
                  <a:lnTo>
                    <a:pt x="1688273" y="1902499"/>
                  </a:lnTo>
                  <a:lnTo>
                    <a:pt x="1688273" y="1856155"/>
                  </a:lnTo>
                  <a:close/>
                </a:path>
                <a:path w="2506980" h="4854575" extrusionOk="0">
                  <a:moveTo>
                    <a:pt x="23193" y="1841716"/>
                  </a:moveTo>
                  <a:lnTo>
                    <a:pt x="0" y="1841716"/>
                  </a:lnTo>
                  <a:lnTo>
                    <a:pt x="0" y="1888060"/>
                  </a:lnTo>
                  <a:lnTo>
                    <a:pt x="23193" y="1888060"/>
                  </a:lnTo>
                  <a:lnTo>
                    <a:pt x="23193" y="1841716"/>
                  </a:lnTo>
                  <a:close/>
                </a:path>
                <a:path w="2506980" h="4854575" extrusionOk="0">
                  <a:moveTo>
                    <a:pt x="1688273" y="1763467"/>
                  </a:moveTo>
                  <a:lnTo>
                    <a:pt x="1665101" y="1763467"/>
                  </a:lnTo>
                  <a:lnTo>
                    <a:pt x="1665101" y="1809811"/>
                  </a:lnTo>
                  <a:lnTo>
                    <a:pt x="1688273" y="1809811"/>
                  </a:lnTo>
                  <a:lnTo>
                    <a:pt x="1688273" y="1763467"/>
                  </a:lnTo>
                  <a:close/>
                </a:path>
                <a:path w="2506980" h="4854575" extrusionOk="0">
                  <a:moveTo>
                    <a:pt x="23193" y="1749017"/>
                  </a:moveTo>
                  <a:lnTo>
                    <a:pt x="0" y="1749017"/>
                  </a:lnTo>
                  <a:lnTo>
                    <a:pt x="0" y="1795361"/>
                  </a:lnTo>
                  <a:lnTo>
                    <a:pt x="23193" y="1795361"/>
                  </a:lnTo>
                  <a:lnTo>
                    <a:pt x="23193" y="1749017"/>
                  </a:lnTo>
                  <a:close/>
                </a:path>
                <a:path w="2506980" h="4854575" extrusionOk="0">
                  <a:moveTo>
                    <a:pt x="1688273" y="1670778"/>
                  </a:moveTo>
                  <a:lnTo>
                    <a:pt x="1665101" y="1670778"/>
                  </a:lnTo>
                  <a:lnTo>
                    <a:pt x="1665101" y="1717112"/>
                  </a:lnTo>
                  <a:lnTo>
                    <a:pt x="1688273" y="1717112"/>
                  </a:lnTo>
                  <a:lnTo>
                    <a:pt x="1688273" y="1670778"/>
                  </a:lnTo>
                  <a:close/>
                </a:path>
                <a:path w="2506980" h="4854575" extrusionOk="0">
                  <a:moveTo>
                    <a:pt x="23193" y="1656339"/>
                  </a:moveTo>
                  <a:lnTo>
                    <a:pt x="0" y="1656339"/>
                  </a:lnTo>
                  <a:lnTo>
                    <a:pt x="0" y="1702673"/>
                  </a:lnTo>
                  <a:lnTo>
                    <a:pt x="23193" y="1702673"/>
                  </a:lnTo>
                  <a:lnTo>
                    <a:pt x="23193" y="1656339"/>
                  </a:lnTo>
                  <a:close/>
                </a:path>
                <a:path w="2506980" h="4854575" extrusionOk="0">
                  <a:moveTo>
                    <a:pt x="1688273" y="1578111"/>
                  </a:moveTo>
                  <a:lnTo>
                    <a:pt x="1665101" y="1578111"/>
                  </a:lnTo>
                  <a:lnTo>
                    <a:pt x="1665101" y="1624424"/>
                  </a:lnTo>
                  <a:lnTo>
                    <a:pt x="1688273" y="1624424"/>
                  </a:lnTo>
                  <a:lnTo>
                    <a:pt x="1688273" y="1578111"/>
                  </a:lnTo>
                  <a:close/>
                </a:path>
                <a:path w="2506980" h="4854575" extrusionOk="0">
                  <a:moveTo>
                    <a:pt x="23193" y="1563640"/>
                  </a:moveTo>
                  <a:lnTo>
                    <a:pt x="0" y="1563640"/>
                  </a:lnTo>
                  <a:lnTo>
                    <a:pt x="0" y="1609974"/>
                  </a:lnTo>
                  <a:lnTo>
                    <a:pt x="23193" y="1609974"/>
                  </a:lnTo>
                  <a:lnTo>
                    <a:pt x="23193" y="1563640"/>
                  </a:lnTo>
                  <a:close/>
                </a:path>
                <a:path w="2506980" h="4854575" extrusionOk="0">
                  <a:moveTo>
                    <a:pt x="1688273" y="1485391"/>
                  </a:moveTo>
                  <a:lnTo>
                    <a:pt x="1665101" y="1485391"/>
                  </a:lnTo>
                  <a:lnTo>
                    <a:pt x="1665101" y="1531725"/>
                  </a:lnTo>
                  <a:lnTo>
                    <a:pt x="1688273" y="1531725"/>
                  </a:lnTo>
                  <a:lnTo>
                    <a:pt x="1688273" y="1485391"/>
                  </a:lnTo>
                  <a:close/>
                </a:path>
                <a:path w="2506980" h="4854575" extrusionOk="0">
                  <a:moveTo>
                    <a:pt x="23193" y="1470963"/>
                  </a:moveTo>
                  <a:lnTo>
                    <a:pt x="0" y="1470963"/>
                  </a:lnTo>
                  <a:lnTo>
                    <a:pt x="0" y="1517296"/>
                  </a:lnTo>
                  <a:lnTo>
                    <a:pt x="23193" y="1517296"/>
                  </a:lnTo>
                  <a:lnTo>
                    <a:pt x="23193" y="1470963"/>
                  </a:lnTo>
                  <a:close/>
                </a:path>
                <a:path w="2506980" h="4854575" extrusionOk="0">
                  <a:moveTo>
                    <a:pt x="1688273" y="1392714"/>
                  </a:moveTo>
                  <a:lnTo>
                    <a:pt x="1665101" y="1392714"/>
                  </a:lnTo>
                  <a:lnTo>
                    <a:pt x="1665101" y="1439047"/>
                  </a:lnTo>
                  <a:lnTo>
                    <a:pt x="1688273" y="1439047"/>
                  </a:lnTo>
                  <a:lnTo>
                    <a:pt x="1688273" y="1392714"/>
                  </a:lnTo>
                  <a:close/>
                </a:path>
                <a:path w="2506980" h="4854575" extrusionOk="0">
                  <a:moveTo>
                    <a:pt x="23193" y="1378253"/>
                  </a:moveTo>
                  <a:lnTo>
                    <a:pt x="0" y="1378253"/>
                  </a:lnTo>
                  <a:lnTo>
                    <a:pt x="0" y="1424608"/>
                  </a:lnTo>
                  <a:lnTo>
                    <a:pt x="23193" y="1424608"/>
                  </a:lnTo>
                  <a:lnTo>
                    <a:pt x="23193" y="1378253"/>
                  </a:lnTo>
                  <a:close/>
                </a:path>
                <a:path w="2506980" h="4854575" extrusionOk="0">
                  <a:moveTo>
                    <a:pt x="1688273" y="1300025"/>
                  </a:moveTo>
                  <a:lnTo>
                    <a:pt x="1665101" y="1300025"/>
                  </a:lnTo>
                  <a:lnTo>
                    <a:pt x="1665101" y="1346369"/>
                  </a:lnTo>
                  <a:lnTo>
                    <a:pt x="1688273" y="1346369"/>
                  </a:lnTo>
                  <a:lnTo>
                    <a:pt x="1688273" y="1300025"/>
                  </a:lnTo>
                  <a:close/>
                </a:path>
                <a:path w="2506980" h="4854575" extrusionOk="0">
                  <a:moveTo>
                    <a:pt x="23193" y="1285565"/>
                  </a:moveTo>
                  <a:lnTo>
                    <a:pt x="0" y="1285565"/>
                  </a:lnTo>
                  <a:lnTo>
                    <a:pt x="0" y="1331920"/>
                  </a:lnTo>
                  <a:lnTo>
                    <a:pt x="23193" y="1331920"/>
                  </a:lnTo>
                  <a:lnTo>
                    <a:pt x="23193" y="1285565"/>
                  </a:lnTo>
                  <a:close/>
                </a:path>
                <a:path w="2506980" h="4854575" extrusionOk="0">
                  <a:moveTo>
                    <a:pt x="1688273" y="1207285"/>
                  </a:moveTo>
                  <a:lnTo>
                    <a:pt x="1665101" y="1207285"/>
                  </a:lnTo>
                  <a:lnTo>
                    <a:pt x="1665101" y="1253639"/>
                  </a:lnTo>
                  <a:lnTo>
                    <a:pt x="1688273" y="1253639"/>
                  </a:lnTo>
                  <a:lnTo>
                    <a:pt x="1688273" y="1207285"/>
                  </a:lnTo>
                  <a:close/>
                </a:path>
                <a:path w="2506980" h="4854575" extrusionOk="0">
                  <a:moveTo>
                    <a:pt x="23193" y="1192845"/>
                  </a:moveTo>
                  <a:lnTo>
                    <a:pt x="0" y="1192845"/>
                  </a:lnTo>
                  <a:lnTo>
                    <a:pt x="0" y="1239190"/>
                  </a:lnTo>
                  <a:lnTo>
                    <a:pt x="23193" y="1239190"/>
                  </a:lnTo>
                  <a:lnTo>
                    <a:pt x="23193" y="1192845"/>
                  </a:lnTo>
                  <a:close/>
                </a:path>
                <a:path w="2506980" h="4854575" extrusionOk="0">
                  <a:moveTo>
                    <a:pt x="1688273" y="1114617"/>
                  </a:moveTo>
                  <a:lnTo>
                    <a:pt x="1665101" y="1114617"/>
                  </a:lnTo>
                  <a:lnTo>
                    <a:pt x="1665101" y="1160972"/>
                  </a:lnTo>
                  <a:lnTo>
                    <a:pt x="1688273" y="1160972"/>
                  </a:lnTo>
                  <a:lnTo>
                    <a:pt x="1688273" y="1114617"/>
                  </a:lnTo>
                  <a:close/>
                </a:path>
                <a:path w="2506980" h="4854575" extrusionOk="0">
                  <a:moveTo>
                    <a:pt x="23193" y="1100168"/>
                  </a:moveTo>
                  <a:lnTo>
                    <a:pt x="0" y="1100168"/>
                  </a:lnTo>
                  <a:lnTo>
                    <a:pt x="0" y="1146522"/>
                  </a:lnTo>
                  <a:lnTo>
                    <a:pt x="23193" y="1146522"/>
                  </a:lnTo>
                  <a:lnTo>
                    <a:pt x="23193" y="1100168"/>
                  </a:lnTo>
                  <a:close/>
                </a:path>
                <a:path w="2506980" h="4854575" extrusionOk="0">
                  <a:moveTo>
                    <a:pt x="1688273" y="1021971"/>
                  </a:moveTo>
                  <a:lnTo>
                    <a:pt x="1665101" y="1021971"/>
                  </a:lnTo>
                  <a:lnTo>
                    <a:pt x="1665101" y="1068305"/>
                  </a:lnTo>
                  <a:lnTo>
                    <a:pt x="1688273" y="1068305"/>
                  </a:lnTo>
                  <a:lnTo>
                    <a:pt x="1688273" y="1021971"/>
                  </a:lnTo>
                  <a:close/>
                </a:path>
                <a:path w="2506980" h="4854575" extrusionOk="0">
                  <a:moveTo>
                    <a:pt x="23193" y="1007511"/>
                  </a:moveTo>
                  <a:lnTo>
                    <a:pt x="0" y="1007511"/>
                  </a:lnTo>
                  <a:lnTo>
                    <a:pt x="0" y="1053855"/>
                  </a:lnTo>
                  <a:lnTo>
                    <a:pt x="23193" y="1053855"/>
                  </a:lnTo>
                  <a:lnTo>
                    <a:pt x="23193" y="1007511"/>
                  </a:lnTo>
                  <a:close/>
                </a:path>
                <a:path w="2506980" h="4854575" extrusionOk="0">
                  <a:moveTo>
                    <a:pt x="1688273" y="929251"/>
                  </a:moveTo>
                  <a:lnTo>
                    <a:pt x="1665027" y="929356"/>
                  </a:lnTo>
                  <a:lnTo>
                    <a:pt x="1665027" y="975637"/>
                  </a:lnTo>
                  <a:lnTo>
                    <a:pt x="1688273" y="975637"/>
                  </a:lnTo>
                  <a:lnTo>
                    <a:pt x="1688273" y="929251"/>
                  </a:lnTo>
                  <a:close/>
                </a:path>
                <a:path w="2506980" h="4854575" extrusionOk="0">
                  <a:moveTo>
                    <a:pt x="261" y="914592"/>
                  </a:moveTo>
                  <a:lnTo>
                    <a:pt x="52" y="922341"/>
                  </a:lnTo>
                  <a:lnTo>
                    <a:pt x="52" y="961188"/>
                  </a:lnTo>
                  <a:lnTo>
                    <a:pt x="23193" y="961188"/>
                  </a:lnTo>
                  <a:lnTo>
                    <a:pt x="23201" y="922341"/>
                  </a:lnTo>
                  <a:lnTo>
                    <a:pt x="23402" y="915116"/>
                  </a:lnTo>
                  <a:lnTo>
                    <a:pt x="261" y="914592"/>
                  </a:lnTo>
                  <a:close/>
                </a:path>
                <a:path w="2506980" h="4854575" extrusionOk="0">
                  <a:moveTo>
                    <a:pt x="1683351" y="835642"/>
                  </a:moveTo>
                  <a:lnTo>
                    <a:pt x="1660211" y="837945"/>
                  </a:lnTo>
                  <a:lnTo>
                    <a:pt x="1661251" y="849275"/>
                  </a:lnTo>
                  <a:lnTo>
                    <a:pt x="1662174" y="860654"/>
                  </a:lnTo>
                  <a:lnTo>
                    <a:pt x="1662979" y="872092"/>
                  </a:lnTo>
                  <a:lnTo>
                    <a:pt x="1663666" y="883598"/>
                  </a:lnTo>
                  <a:lnTo>
                    <a:pt x="1686807" y="882342"/>
                  </a:lnTo>
                  <a:lnTo>
                    <a:pt x="1686120" y="870598"/>
                  </a:lnTo>
                  <a:lnTo>
                    <a:pt x="1685315" y="858913"/>
                  </a:lnTo>
                  <a:lnTo>
                    <a:pt x="1684392" y="847268"/>
                  </a:lnTo>
                  <a:lnTo>
                    <a:pt x="1683351" y="835642"/>
                  </a:lnTo>
                  <a:close/>
                </a:path>
                <a:path w="2506980" h="4854575" extrusionOk="0">
                  <a:moveTo>
                    <a:pt x="6439" y="821087"/>
                  </a:moveTo>
                  <a:lnTo>
                    <a:pt x="5227" y="832713"/>
                  </a:lnTo>
                  <a:lnTo>
                    <a:pt x="4122" y="844359"/>
                  </a:lnTo>
                  <a:lnTo>
                    <a:pt x="3155" y="856043"/>
                  </a:lnTo>
                  <a:lnTo>
                    <a:pt x="2355" y="867787"/>
                  </a:lnTo>
                  <a:lnTo>
                    <a:pt x="25391" y="869358"/>
                  </a:lnTo>
                  <a:lnTo>
                    <a:pt x="26236" y="857851"/>
                  </a:lnTo>
                  <a:lnTo>
                    <a:pt x="27198" y="846414"/>
                  </a:lnTo>
                  <a:lnTo>
                    <a:pt x="28277" y="835035"/>
                  </a:lnTo>
                  <a:lnTo>
                    <a:pt x="29475" y="823705"/>
                  </a:lnTo>
                  <a:lnTo>
                    <a:pt x="6439" y="821087"/>
                  </a:lnTo>
                  <a:close/>
                </a:path>
                <a:path w="2506980" h="4854575" extrusionOk="0">
                  <a:moveTo>
                    <a:pt x="1669949" y="742870"/>
                  </a:moveTo>
                  <a:lnTo>
                    <a:pt x="1647227" y="747163"/>
                  </a:lnTo>
                  <a:lnTo>
                    <a:pt x="1649288" y="758412"/>
                  </a:lnTo>
                  <a:lnTo>
                    <a:pt x="1651232" y="769701"/>
                  </a:lnTo>
                  <a:lnTo>
                    <a:pt x="1653058" y="781029"/>
                  </a:lnTo>
                  <a:lnTo>
                    <a:pt x="1654766" y="792397"/>
                  </a:lnTo>
                  <a:lnTo>
                    <a:pt x="1677697" y="789151"/>
                  </a:lnTo>
                  <a:lnTo>
                    <a:pt x="1675971" y="777487"/>
                  </a:lnTo>
                  <a:lnTo>
                    <a:pt x="1674098" y="765892"/>
                  </a:lnTo>
                  <a:lnTo>
                    <a:pt x="1672087" y="754356"/>
                  </a:lnTo>
                  <a:lnTo>
                    <a:pt x="1669949" y="742870"/>
                  </a:lnTo>
                  <a:close/>
                </a:path>
                <a:path w="2506980" h="4854575" extrusionOk="0">
                  <a:moveTo>
                    <a:pt x="21098" y="728524"/>
                  </a:moveTo>
                  <a:lnTo>
                    <a:pt x="18803" y="740010"/>
                  </a:lnTo>
                  <a:lnTo>
                    <a:pt x="16635" y="751534"/>
                  </a:lnTo>
                  <a:lnTo>
                    <a:pt x="14605" y="763098"/>
                  </a:lnTo>
                  <a:lnTo>
                    <a:pt x="12722" y="774701"/>
                  </a:lnTo>
                  <a:lnTo>
                    <a:pt x="35653" y="778261"/>
                  </a:lnTo>
                  <a:lnTo>
                    <a:pt x="37459" y="766956"/>
                  </a:lnTo>
                  <a:lnTo>
                    <a:pt x="39422" y="755670"/>
                  </a:lnTo>
                  <a:lnTo>
                    <a:pt x="41543" y="744424"/>
                  </a:lnTo>
                  <a:lnTo>
                    <a:pt x="43820" y="733236"/>
                  </a:lnTo>
                  <a:lnTo>
                    <a:pt x="21098" y="728524"/>
                  </a:lnTo>
                  <a:close/>
                </a:path>
                <a:path w="2506980" h="4854575" extrusionOk="0">
                  <a:moveTo>
                    <a:pt x="1648274" y="651773"/>
                  </a:moveTo>
                  <a:lnTo>
                    <a:pt x="1625971" y="658160"/>
                  </a:lnTo>
                  <a:lnTo>
                    <a:pt x="1629068" y="669115"/>
                  </a:lnTo>
                  <a:lnTo>
                    <a:pt x="1632057" y="680149"/>
                  </a:lnTo>
                  <a:lnTo>
                    <a:pt x="1634909" y="691261"/>
                  </a:lnTo>
                  <a:lnTo>
                    <a:pt x="1637594" y="702452"/>
                  </a:lnTo>
                  <a:lnTo>
                    <a:pt x="1660106" y="697112"/>
                  </a:lnTo>
                  <a:lnTo>
                    <a:pt x="1657359" y="685684"/>
                  </a:lnTo>
                  <a:lnTo>
                    <a:pt x="1654465" y="674325"/>
                  </a:lnTo>
                  <a:lnTo>
                    <a:pt x="1651433" y="663024"/>
                  </a:lnTo>
                  <a:lnTo>
                    <a:pt x="1648274" y="651773"/>
                  </a:lnTo>
                  <a:close/>
                </a:path>
                <a:path w="2506980" h="4854575" extrusionOk="0">
                  <a:moveTo>
                    <a:pt x="44134" y="637742"/>
                  </a:moveTo>
                  <a:lnTo>
                    <a:pt x="40816" y="648931"/>
                  </a:lnTo>
                  <a:lnTo>
                    <a:pt x="37616" y="660189"/>
                  </a:lnTo>
                  <a:lnTo>
                    <a:pt x="34534" y="671506"/>
                  </a:lnTo>
                  <a:lnTo>
                    <a:pt x="31569" y="682871"/>
                  </a:lnTo>
                  <a:lnTo>
                    <a:pt x="53977" y="688630"/>
                  </a:lnTo>
                  <a:lnTo>
                    <a:pt x="56865" y="677456"/>
                  </a:lnTo>
                  <a:lnTo>
                    <a:pt x="59880" y="666380"/>
                  </a:lnTo>
                  <a:lnTo>
                    <a:pt x="63033" y="655382"/>
                  </a:lnTo>
                  <a:lnTo>
                    <a:pt x="66333" y="644443"/>
                  </a:lnTo>
                  <a:lnTo>
                    <a:pt x="44134" y="637742"/>
                  </a:lnTo>
                  <a:close/>
                </a:path>
                <a:path w="2506980" h="4854575" extrusionOk="0">
                  <a:moveTo>
                    <a:pt x="1618118" y="562980"/>
                  </a:moveTo>
                  <a:lnTo>
                    <a:pt x="1596548" y="571461"/>
                  </a:lnTo>
                  <a:lnTo>
                    <a:pt x="1600651" y="582102"/>
                  </a:lnTo>
                  <a:lnTo>
                    <a:pt x="1604637" y="592822"/>
                  </a:lnTo>
                  <a:lnTo>
                    <a:pt x="1608504" y="603620"/>
                  </a:lnTo>
                  <a:lnTo>
                    <a:pt x="1612254" y="614496"/>
                  </a:lnTo>
                  <a:lnTo>
                    <a:pt x="1634243" y="606957"/>
                  </a:lnTo>
                  <a:lnTo>
                    <a:pt x="1630354" y="595889"/>
                  </a:lnTo>
                  <a:lnTo>
                    <a:pt x="1626377" y="584851"/>
                  </a:lnTo>
                  <a:lnTo>
                    <a:pt x="1622301" y="573871"/>
                  </a:lnTo>
                  <a:lnTo>
                    <a:pt x="1618118" y="562980"/>
                  </a:lnTo>
                  <a:close/>
                </a:path>
                <a:path w="2506980" h="4854575" extrusionOk="0">
                  <a:moveTo>
                    <a:pt x="75547" y="549472"/>
                  </a:moveTo>
                  <a:lnTo>
                    <a:pt x="71192" y="560287"/>
                  </a:lnTo>
                  <a:lnTo>
                    <a:pt x="66935" y="571199"/>
                  </a:lnTo>
                  <a:lnTo>
                    <a:pt x="62795" y="582191"/>
                  </a:lnTo>
                  <a:lnTo>
                    <a:pt x="58794" y="593241"/>
                  </a:lnTo>
                  <a:lnTo>
                    <a:pt x="80678" y="600989"/>
                  </a:lnTo>
                  <a:lnTo>
                    <a:pt x="84540" y="590189"/>
                  </a:lnTo>
                  <a:lnTo>
                    <a:pt x="88570" y="579458"/>
                  </a:lnTo>
                  <a:lnTo>
                    <a:pt x="92737" y="568786"/>
                  </a:lnTo>
                  <a:lnTo>
                    <a:pt x="97012" y="558163"/>
                  </a:lnTo>
                  <a:lnTo>
                    <a:pt x="75547" y="549472"/>
                  </a:lnTo>
                  <a:close/>
                </a:path>
                <a:path w="2506980" h="4854575" extrusionOk="0">
                  <a:moveTo>
                    <a:pt x="1579690" y="477433"/>
                  </a:moveTo>
                  <a:lnTo>
                    <a:pt x="1559062" y="488008"/>
                  </a:lnTo>
                  <a:lnTo>
                    <a:pt x="1564171" y="498194"/>
                  </a:lnTo>
                  <a:lnTo>
                    <a:pt x="1569153" y="508479"/>
                  </a:lnTo>
                  <a:lnTo>
                    <a:pt x="1574037" y="518842"/>
                  </a:lnTo>
                  <a:lnTo>
                    <a:pt x="1578852" y="529263"/>
                  </a:lnTo>
                  <a:lnTo>
                    <a:pt x="1599898" y="519735"/>
                  </a:lnTo>
                  <a:lnTo>
                    <a:pt x="1595047" y="509076"/>
                  </a:lnTo>
                  <a:lnTo>
                    <a:pt x="1590069" y="498466"/>
                  </a:lnTo>
                  <a:lnTo>
                    <a:pt x="1584953" y="487915"/>
                  </a:lnTo>
                  <a:lnTo>
                    <a:pt x="1579690" y="477433"/>
                  </a:lnTo>
                  <a:close/>
                </a:path>
                <a:path w="2506980" h="4854575" extrusionOk="0">
                  <a:moveTo>
                    <a:pt x="115232" y="464449"/>
                  </a:moveTo>
                  <a:lnTo>
                    <a:pt x="109855" y="474853"/>
                  </a:lnTo>
                  <a:lnTo>
                    <a:pt x="104547" y="485387"/>
                  </a:lnTo>
                  <a:lnTo>
                    <a:pt x="99417" y="495856"/>
                  </a:lnTo>
                  <a:lnTo>
                    <a:pt x="94395" y="506437"/>
                  </a:lnTo>
                  <a:lnTo>
                    <a:pt x="115336" y="516280"/>
                  </a:lnTo>
                  <a:lnTo>
                    <a:pt x="120264" y="505891"/>
                  </a:lnTo>
                  <a:lnTo>
                    <a:pt x="125310" y="495600"/>
                  </a:lnTo>
                  <a:lnTo>
                    <a:pt x="130506" y="485325"/>
                  </a:lnTo>
                  <a:lnTo>
                    <a:pt x="135755" y="475234"/>
                  </a:lnTo>
                  <a:lnTo>
                    <a:pt x="115232" y="464449"/>
                  </a:lnTo>
                  <a:close/>
                </a:path>
                <a:path w="2506980" h="4854575" extrusionOk="0">
                  <a:moveTo>
                    <a:pt x="1533199" y="396074"/>
                  </a:moveTo>
                  <a:lnTo>
                    <a:pt x="1513723" y="408534"/>
                  </a:lnTo>
                  <a:lnTo>
                    <a:pt x="1519791" y="418172"/>
                  </a:lnTo>
                  <a:lnTo>
                    <a:pt x="1525751" y="427918"/>
                  </a:lnTo>
                  <a:lnTo>
                    <a:pt x="1531614" y="437763"/>
                  </a:lnTo>
                  <a:lnTo>
                    <a:pt x="1537387" y="447695"/>
                  </a:lnTo>
                  <a:lnTo>
                    <a:pt x="1557491" y="436177"/>
                  </a:lnTo>
                  <a:lnTo>
                    <a:pt x="1551605" y="426009"/>
                  </a:lnTo>
                  <a:lnTo>
                    <a:pt x="1545581" y="415929"/>
                  </a:lnTo>
                  <a:lnTo>
                    <a:pt x="1539439" y="405948"/>
                  </a:lnTo>
                  <a:lnTo>
                    <a:pt x="1533199" y="396074"/>
                  </a:lnTo>
                  <a:close/>
                </a:path>
                <a:path w="2506980" h="4854575" extrusionOk="0">
                  <a:moveTo>
                    <a:pt x="162979" y="383823"/>
                  </a:moveTo>
                  <a:lnTo>
                    <a:pt x="156596" y="393602"/>
                  </a:lnTo>
                  <a:lnTo>
                    <a:pt x="150322" y="403469"/>
                  </a:lnTo>
                  <a:lnTo>
                    <a:pt x="144146" y="413434"/>
                  </a:lnTo>
                  <a:lnTo>
                    <a:pt x="138058" y="423508"/>
                  </a:lnTo>
                  <a:lnTo>
                    <a:pt x="158058" y="435340"/>
                  </a:lnTo>
                  <a:lnTo>
                    <a:pt x="163928" y="425500"/>
                  </a:lnTo>
                  <a:lnTo>
                    <a:pt x="169916" y="415759"/>
                  </a:lnTo>
                  <a:lnTo>
                    <a:pt x="176022" y="406096"/>
                  </a:lnTo>
                  <a:lnTo>
                    <a:pt x="182245" y="396493"/>
                  </a:lnTo>
                  <a:lnTo>
                    <a:pt x="162979" y="383823"/>
                  </a:lnTo>
                  <a:close/>
                </a:path>
                <a:path w="2506980" h="4854575" extrusionOk="0">
                  <a:moveTo>
                    <a:pt x="1478855" y="319532"/>
                  </a:moveTo>
                  <a:lnTo>
                    <a:pt x="1460740" y="333877"/>
                  </a:lnTo>
                  <a:lnTo>
                    <a:pt x="1467751" y="342887"/>
                  </a:lnTo>
                  <a:lnTo>
                    <a:pt x="1474654" y="352004"/>
                  </a:lnTo>
                  <a:lnTo>
                    <a:pt x="1481458" y="361221"/>
                  </a:lnTo>
                  <a:lnTo>
                    <a:pt x="1488174" y="370525"/>
                  </a:lnTo>
                  <a:lnTo>
                    <a:pt x="1507022" y="357122"/>
                  </a:lnTo>
                  <a:lnTo>
                    <a:pt x="1500147" y="347582"/>
                  </a:lnTo>
                  <a:lnTo>
                    <a:pt x="1493174" y="338131"/>
                  </a:lnTo>
                  <a:lnTo>
                    <a:pt x="1486083" y="328777"/>
                  </a:lnTo>
                  <a:lnTo>
                    <a:pt x="1478855" y="319532"/>
                  </a:lnTo>
                  <a:close/>
                </a:path>
                <a:path w="2506980" h="4854575" extrusionOk="0">
                  <a:moveTo>
                    <a:pt x="218475" y="308118"/>
                  </a:moveTo>
                  <a:lnTo>
                    <a:pt x="211150" y="317269"/>
                  </a:lnTo>
                  <a:lnTo>
                    <a:pt x="203933" y="326508"/>
                  </a:lnTo>
                  <a:lnTo>
                    <a:pt x="196815" y="335845"/>
                  </a:lnTo>
                  <a:lnTo>
                    <a:pt x="189784" y="345290"/>
                  </a:lnTo>
                  <a:lnTo>
                    <a:pt x="208422" y="359007"/>
                  </a:lnTo>
                  <a:lnTo>
                    <a:pt x="215296" y="349797"/>
                  </a:lnTo>
                  <a:lnTo>
                    <a:pt x="222257" y="340696"/>
                  </a:lnTo>
                  <a:lnTo>
                    <a:pt x="229317" y="331693"/>
                  </a:lnTo>
                  <a:lnTo>
                    <a:pt x="236484" y="322778"/>
                  </a:lnTo>
                  <a:lnTo>
                    <a:pt x="218475" y="308118"/>
                  </a:lnTo>
                  <a:close/>
                </a:path>
                <a:path w="2506980" h="4854575" extrusionOk="0">
                  <a:moveTo>
                    <a:pt x="1416972" y="249063"/>
                  </a:moveTo>
                  <a:lnTo>
                    <a:pt x="1400428" y="265188"/>
                  </a:lnTo>
                  <a:lnTo>
                    <a:pt x="1408363" y="273414"/>
                  </a:lnTo>
                  <a:lnTo>
                    <a:pt x="1416161" y="281758"/>
                  </a:lnTo>
                  <a:lnTo>
                    <a:pt x="1423840" y="290220"/>
                  </a:lnTo>
                  <a:lnTo>
                    <a:pt x="1431422" y="298799"/>
                  </a:lnTo>
                  <a:lnTo>
                    <a:pt x="1448908" y="283512"/>
                  </a:lnTo>
                  <a:lnTo>
                    <a:pt x="1441091" y="274698"/>
                  </a:lnTo>
                  <a:lnTo>
                    <a:pt x="1433176" y="266012"/>
                  </a:lnTo>
                  <a:lnTo>
                    <a:pt x="1425143" y="257464"/>
                  </a:lnTo>
                  <a:lnTo>
                    <a:pt x="1416972" y="249063"/>
                  </a:lnTo>
                  <a:close/>
                </a:path>
                <a:path w="2506980" h="4854575" extrusionOk="0">
                  <a:moveTo>
                    <a:pt x="281614" y="238592"/>
                  </a:moveTo>
                  <a:lnTo>
                    <a:pt x="273286" y="246898"/>
                  </a:lnTo>
                  <a:lnTo>
                    <a:pt x="265096" y="255332"/>
                  </a:lnTo>
                  <a:lnTo>
                    <a:pt x="257024" y="263903"/>
                  </a:lnTo>
                  <a:lnTo>
                    <a:pt x="249050" y="272622"/>
                  </a:lnTo>
                  <a:lnTo>
                    <a:pt x="266222" y="288119"/>
                  </a:lnTo>
                  <a:lnTo>
                    <a:pt x="274021" y="279678"/>
                  </a:lnTo>
                  <a:lnTo>
                    <a:pt x="281889" y="271326"/>
                  </a:lnTo>
                  <a:lnTo>
                    <a:pt x="289855" y="263072"/>
                  </a:lnTo>
                  <a:lnTo>
                    <a:pt x="297949" y="254926"/>
                  </a:lnTo>
                  <a:lnTo>
                    <a:pt x="281614" y="238592"/>
                  </a:lnTo>
                  <a:close/>
                </a:path>
                <a:path w="2506980" h="4854575" extrusionOk="0">
                  <a:moveTo>
                    <a:pt x="1348178" y="185400"/>
                  </a:moveTo>
                  <a:lnTo>
                    <a:pt x="1333414" y="203305"/>
                  </a:lnTo>
                  <a:lnTo>
                    <a:pt x="1342153" y="210607"/>
                  </a:lnTo>
                  <a:lnTo>
                    <a:pt x="1350783" y="218056"/>
                  </a:lnTo>
                  <a:lnTo>
                    <a:pt x="1359315" y="225642"/>
                  </a:lnTo>
                  <a:lnTo>
                    <a:pt x="1367759" y="233356"/>
                  </a:lnTo>
                  <a:lnTo>
                    <a:pt x="1383465" y="216289"/>
                  </a:lnTo>
                  <a:lnTo>
                    <a:pt x="1374786" y="208414"/>
                  </a:lnTo>
                  <a:lnTo>
                    <a:pt x="1366018" y="200648"/>
                  </a:lnTo>
                  <a:lnTo>
                    <a:pt x="1357152" y="192980"/>
                  </a:lnTo>
                  <a:lnTo>
                    <a:pt x="1348178" y="185400"/>
                  </a:lnTo>
                  <a:close/>
                </a:path>
                <a:path w="2506980" h="4854575" extrusionOk="0">
                  <a:moveTo>
                    <a:pt x="351769" y="175871"/>
                  </a:moveTo>
                  <a:lnTo>
                    <a:pt x="342638" y="183310"/>
                  </a:lnTo>
                  <a:lnTo>
                    <a:pt x="333615" y="190858"/>
                  </a:lnTo>
                  <a:lnTo>
                    <a:pt x="324690" y="198503"/>
                  </a:lnTo>
                  <a:lnTo>
                    <a:pt x="315854" y="206237"/>
                  </a:lnTo>
                  <a:lnTo>
                    <a:pt x="331246" y="223514"/>
                  </a:lnTo>
                  <a:lnTo>
                    <a:pt x="339847" y="215955"/>
                  </a:lnTo>
                  <a:lnTo>
                    <a:pt x="348536" y="208514"/>
                  </a:lnTo>
                  <a:lnTo>
                    <a:pt x="357323" y="201191"/>
                  </a:lnTo>
                  <a:lnTo>
                    <a:pt x="366219" y="193986"/>
                  </a:lnTo>
                  <a:lnTo>
                    <a:pt x="351769" y="175871"/>
                  </a:lnTo>
                  <a:close/>
                </a:path>
                <a:path w="2506980" h="4854575" extrusionOk="0">
                  <a:moveTo>
                    <a:pt x="1272788" y="129695"/>
                  </a:moveTo>
                  <a:lnTo>
                    <a:pt x="1260118" y="149066"/>
                  </a:lnTo>
                  <a:lnTo>
                    <a:pt x="1269581" y="155363"/>
                  </a:lnTo>
                  <a:lnTo>
                    <a:pt x="1278966" y="161827"/>
                  </a:lnTo>
                  <a:lnTo>
                    <a:pt x="1288272" y="168429"/>
                  </a:lnTo>
                  <a:lnTo>
                    <a:pt x="1297499" y="175138"/>
                  </a:lnTo>
                  <a:lnTo>
                    <a:pt x="1311321" y="156605"/>
                  </a:lnTo>
                  <a:lnTo>
                    <a:pt x="1301840" y="149632"/>
                  </a:lnTo>
                  <a:lnTo>
                    <a:pt x="1292251" y="142835"/>
                  </a:lnTo>
                  <a:lnTo>
                    <a:pt x="1282564" y="136196"/>
                  </a:lnTo>
                  <a:lnTo>
                    <a:pt x="1272788" y="129695"/>
                  </a:lnTo>
                  <a:close/>
                </a:path>
                <a:path w="2506980" h="4854575" extrusionOk="0">
                  <a:moveTo>
                    <a:pt x="428311" y="121423"/>
                  </a:moveTo>
                  <a:lnTo>
                    <a:pt x="418395" y="127766"/>
                  </a:lnTo>
                  <a:lnTo>
                    <a:pt x="408587" y="134236"/>
                  </a:lnTo>
                  <a:lnTo>
                    <a:pt x="398876" y="140844"/>
                  </a:lnTo>
                  <a:lnTo>
                    <a:pt x="389255" y="147600"/>
                  </a:lnTo>
                  <a:lnTo>
                    <a:pt x="402657" y="166447"/>
                  </a:lnTo>
                  <a:lnTo>
                    <a:pt x="412042" y="159910"/>
                  </a:lnTo>
                  <a:lnTo>
                    <a:pt x="421505" y="153490"/>
                  </a:lnTo>
                  <a:lnTo>
                    <a:pt x="431047" y="147187"/>
                  </a:lnTo>
                  <a:lnTo>
                    <a:pt x="440667" y="141003"/>
                  </a:lnTo>
                  <a:lnTo>
                    <a:pt x="428311" y="121423"/>
                  </a:lnTo>
                  <a:close/>
                </a:path>
                <a:path w="2506980" h="4854575" extrusionOk="0">
                  <a:moveTo>
                    <a:pt x="1191534" y="82785"/>
                  </a:moveTo>
                  <a:lnTo>
                    <a:pt x="1181063" y="103517"/>
                  </a:lnTo>
                  <a:lnTo>
                    <a:pt x="1191233" y="108699"/>
                  </a:lnTo>
                  <a:lnTo>
                    <a:pt x="1201324" y="114027"/>
                  </a:lnTo>
                  <a:lnTo>
                    <a:pt x="1211337" y="119494"/>
                  </a:lnTo>
                  <a:lnTo>
                    <a:pt x="1221271" y="125087"/>
                  </a:lnTo>
                  <a:lnTo>
                    <a:pt x="1232894" y="105088"/>
                  </a:lnTo>
                  <a:lnTo>
                    <a:pt x="1222647" y="99277"/>
                  </a:lnTo>
                  <a:lnTo>
                    <a:pt x="1212332" y="93622"/>
                  </a:lnTo>
                  <a:lnTo>
                    <a:pt x="1201957" y="88125"/>
                  </a:lnTo>
                  <a:lnTo>
                    <a:pt x="1191534" y="82785"/>
                  </a:lnTo>
                  <a:close/>
                </a:path>
                <a:path w="2506980" h="4854575" extrusionOk="0">
                  <a:moveTo>
                    <a:pt x="510612" y="75979"/>
                  </a:moveTo>
                  <a:lnTo>
                    <a:pt x="500050" y="81146"/>
                  </a:lnTo>
                  <a:lnTo>
                    <a:pt x="489566" y="86450"/>
                  </a:lnTo>
                  <a:lnTo>
                    <a:pt x="479160" y="91911"/>
                  </a:lnTo>
                  <a:lnTo>
                    <a:pt x="468833" y="97549"/>
                  </a:lnTo>
                  <a:lnTo>
                    <a:pt x="479933" y="117758"/>
                  </a:lnTo>
                  <a:lnTo>
                    <a:pt x="490006" y="112323"/>
                  </a:lnTo>
                  <a:lnTo>
                    <a:pt x="500128" y="107025"/>
                  </a:lnTo>
                  <a:lnTo>
                    <a:pt x="510310" y="101884"/>
                  </a:lnTo>
                  <a:lnTo>
                    <a:pt x="520560" y="96921"/>
                  </a:lnTo>
                  <a:lnTo>
                    <a:pt x="510612" y="75979"/>
                  </a:lnTo>
                  <a:close/>
                </a:path>
                <a:path w="2506980" h="4854575" extrusionOk="0">
                  <a:moveTo>
                    <a:pt x="1105149" y="45613"/>
                  </a:moveTo>
                  <a:lnTo>
                    <a:pt x="1097296" y="67393"/>
                  </a:lnTo>
                  <a:lnTo>
                    <a:pt x="1108016" y="71381"/>
                  </a:lnTo>
                  <a:lnTo>
                    <a:pt x="1118657" y="75508"/>
                  </a:lnTo>
                  <a:lnTo>
                    <a:pt x="1129219" y="79791"/>
                  </a:lnTo>
                  <a:lnTo>
                    <a:pt x="1139703" y="84251"/>
                  </a:lnTo>
                  <a:lnTo>
                    <a:pt x="1148917" y="62890"/>
                  </a:lnTo>
                  <a:lnTo>
                    <a:pt x="1138059" y="58335"/>
                  </a:lnTo>
                  <a:lnTo>
                    <a:pt x="1127151" y="53938"/>
                  </a:lnTo>
                  <a:lnTo>
                    <a:pt x="1116184" y="49697"/>
                  </a:lnTo>
                  <a:lnTo>
                    <a:pt x="1105149" y="45613"/>
                  </a:lnTo>
                  <a:close/>
                </a:path>
                <a:path w="2506980" h="4854575" extrusionOk="0">
                  <a:moveTo>
                    <a:pt x="597521" y="40587"/>
                  </a:moveTo>
                  <a:lnTo>
                    <a:pt x="586423" y="44435"/>
                  </a:lnTo>
                  <a:lnTo>
                    <a:pt x="575414" y="48440"/>
                  </a:lnTo>
                  <a:lnTo>
                    <a:pt x="564464" y="52603"/>
                  </a:lnTo>
                  <a:lnTo>
                    <a:pt x="553543" y="56922"/>
                  </a:lnTo>
                  <a:lnTo>
                    <a:pt x="562234" y="78387"/>
                  </a:lnTo>
                  <a:lnTo>
                    <a:pt x="572855" y="74207"/>
                  </a:lnTo>
                  <a:lnTo>
                    <a:pt x="583516" y="70154"/>
                  </a:lnTo>
                  <a:lnTo>
                    <a:pt x="594216" y="66239"/>
                  </a:lnTo>
                  <a:lnTo>
                    <a:pt x="604955" y="62471"/>
                  </a:lnTo>
                  <a:lnTo>
                    <a:pt x="597521" y="40587"/>
                  </a:lnTo>
                  <a:close/>
                </a:path>
                <a:path w="2506980" h="4854575" extrusionOk="0">
                  <a:moveTo>
                    <a:pt x="1014890" y="19122"/>
                  </a:moveTo>
                  <a:lnTo>
                    <a:pt x="1009655" y="41739"/>
                  </a:lnTo>
                  <a:lnTo>
                    <a:pt x="1020785" y="44349"/>
                  </a:lnTo>
                  <a:lnTo>
                    <a:pt x="1031866" y="47145"/>
                  </a:lnTo>
                  <a:lnTo>
                    <a:pt x="1042888" y="50117"/>
                  </a:lnTo>
                  <a:lnTo>
                    <a:pt x="1053842" y="53257"/>
                  </a:lnTo>
                  <a:lnTo>
                    <a:pt x="1060438" y="31059"/>
                  </a:lnTo>
                  <a:lnTo>
                    <a:pt x="1049110" y="27780"/>
                  </a:lnTo>
                  <a:lnTo>
                    <a:pt x="1037743" y="24698"/>
                  </a:lnTo>
                  <a:lnTo>
                    <a:pt x="1026336" y="21812"/>
                  </a:lnTo>
                  <a:lnTo>
                    <a:pt x="1014890" y="19122"/>
                  </a:lnTo>
                  <a:close/>
                </a:path>
                <a:path w="2506980" h="4854575" extrusionOk="0">
                  <a:moveTo>
                    <a:pt x="688198" y="15876"/>
                  </a:moveTo>
                  <a:lnTo>
                    <a:pt x="676631" y="18389"/>
                  </a:lnTo>
                  <a:lnTo>
                    <a:pt x="665162" y="21059"/>
                  </a:lnTo>
                  <a:lnTo>
                    <a:pt x="653772" y="23886"/>
                  </a:lnTo>
                  <a:lnTo>
                    <a:pt x="642441" y="26870"/>
                  </a:lnTo>
                  <a:lnTo>
                    <a:pt x="648514" y="49173"/>
                  </a:lnTo>
                  <a:lnTo>
                    <a:pt x="659529" y="46269"/>
                  </a:lnTo>
                  <a:lnTo>
                    <a:pt x="670594" y="43532"/>
                  </a:lnTo>
                  <a:lnTo>
                    <a:pt x="681718" y="40972"/>
                  </a:lnTo>
                  <a:lnTo>
                    <a:pt x="692910" y="38598"/>
                  </a:lnTo>
                  <a:lnTo>
                    <a:pt x="688198" y="15876"/>
                  </a:lnTo>
                  <a:close/>
                </a:path>
                <a:path w="2506980" h="4854575" extrusionOk="0">
                  <a:moveTo>
                    <a:pt x="922118" y="3939"/>
                  </a:moveTo>
                  <a:lnTo>
                    <a:pt x="919710" y="26870"/>
                  </a:lnTo>
                  <a:lnTo>
                    <a:pt x="931077" y="28129"/>
                  </a:lnTo>
                  <a:lnTo>
                    <a:pt x="942405" y="29554"/>
                  </a:lnTo>
                  <a:lnTo>
                    <a:pt x="953694" y="31155"/>
                  </a:lnTo>
                  <a:lnTo>
                    <a:pt x="964944" y="32944"/>
                  </a:lnTo>
                  <a:lnTo>
                    <a:pt x="968713" y="10117"/>
                  </a:lnTo>
                  <a:lnTo>
                    <a:pt x="957133" y="8312"/>
                  </a:lnTo>
                  <a:lnTo>
                    <a:pt x="945494" y="6675"/>
                  </a:lnTo>
                  <a:lnTo>
                    <a:pt x="933816" y="5214"/>
                  </a:lnTo>
                  <a:lnTo>
                    <a:pt x="922118" y="3939"/>
                  </a:lnTo>
                  <a:close/>
                </a:path>
                <a:path w="2506980" h="4854575" extrusionOk="0">
                  <a:moveTo>
                    <a:pt x="781180" y="2473"/>
                  </a:moveTo>
                  <a:lnTo>
                    <a:pt x="769436" y="3558"/>
                  </a:lnTo>
                  <a:lnTo>
                    <a:pt x="757751" y="4790"/>
                  </a:lnTo>
                  <a:lnTo>
                    <a:pt x="746106" y="6199"/>
                  </a:lnTo>
                  <a:lnTo>
                    <a:pt x="734480" y="7813"/>
                  </a:lnTo>
                  <a:lnTo>
                    <a:pt x="737830" y="30745"/>
                  </a:lnTo>
                  <a:lnTo>
                    <a:pt x="749080" y="29192"/>
                  </a:lnTo>
                  <a:lnTo>
                    <a:pt x="760369" y="27826"/>
                  </a:lnTo>
                  <a:lnTo>
                    <a:pt x="771697" y="26636"/>
                  </a:lnTo>
                  <a:lnTo>
                    <a:pt x="783065" y="25614"/>
                  </a:lnTo>
                  <a:lnTo>
                    <a:pt x="781180" y="2473"/>
                  </a:lnTo>
                  <a:close/>
                </a:path>
                <a:path w="2506980" h="4854575" extrusionOk="0">
                  <a:moveTo>
                    <a:pt x="874292" y="23101"/>
                  </a:moveTo>
                  <a:lnTo>
                    <a:pt x="838142" y="23101"/>
                  </a:lnTo>
                  <a:lnTo>
                    <a:pt x="850707" y="23140"/>
                  </a:lnTo>
                  <a:lnTo>
                    <a:pt x="858560" y="23258"/>
                  </a:lnTo>
                  <a:lnTo>
                    <a:pt x="874266" y="23729"/>
                  </a:lnTo>
                  <a:lnTo>
                    <a:pt x="874292" y="23101"/>
                  </a:lnTo>
                  <a:close/>
                </a:path>
                <a:path w="2506980" h="4854575" extrusionOk="0">
                  <a:moveTo>
                    <a:pt x="851929" y="0"/>
                  </a:moveTo>
                  <a:lnTo>
                    <a:pt x="828194" y="65"/>
                  </a:lnTo>
                  <a:lnTo>
                    <a:pt x="828718" y="23206"/>
                  </a:lnTo>
                  <a:lnTo>
                    <a:pt x="833325" y="23206"/>
                  </a:lnTo>
                  <a:lnTo>
                    <a:pt x="838142" y="23101"/>
                  </a:lnTo>
                  <a:lnTo>
                    <a:pt x="874292" y="23101"/>
                  </a:lnTo>
                  <a:lnTo>
                    <a:pt x="875208" y="588"/>
                  </a:lnTo>
                  <a:lnTo>
                    <a:pt x="867435" y="314"/>
                  </a:lnTo>
                  <a:lnTo>
                    <a:pt x="859672" y="117"/>
                  </a:lnTo>
                  <a:lnTo>
                    <a:pt x="851929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1"/>
            <p:cNvSpPr/>
            <p:nvPr/>
          </p:nvSpPr>
          <p:spPr>
            <a:xfrm>
              <a:off x="16501666" y="5222427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638" y="0"/>
                  </a:moveTo>
                  <a:lnTo>
                    <a:pt x="0" y="23161"/>
                  </a:lnTo>
                  <a:lnTo>
                    <a:pt x="7832" y="23381"/>
                  </a:lnTo>
                  <a:lnTo>
                    <a:pt x="15643" y="23486"/>
                  </a:lnTo>
                  <a:lnTo>
                    <a:pt x="23486" y="23486"/>
                  </a:lnTo>
                  <a:lnTo>
                    <a:pt x="23486" y="324"/>
                  </a:lnTo>
                  <a:lnTo>
                    <a:pt x="8240" y="230"/>
                  </a:lnTo>
                  <a:lnTo>
                    <a:pt x="638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1;p1"/>
            <p:cNvSpPr/>
            <p:nvPr/>
          </p:nvSpPr>
          <p:spPr>
            <a:xfrm>
              <a:off x="12452751" y="5726296"/>
              <a:ext cx="1530350" cy="5761990"/>
            </a:xfrm>
            <a:custGeom>
              <a:avLst/>
              <a:gdLst/>
              <a:ahLst/>
              <a:cxnLst/>
              <a:rect l="l" t="t" r="r" b="b"/>
              <a:pathLst>
                <a:path w="1530350" h="5761990" extrusionOk="0">
                  <a:moveTo>
                    <a:pt x="46281" y="2265847"/>
                  </a:moveTo>
                  <a:lnTo>
                    <a:pt x="0" y="2265847"/>
                  </a:lnTo>
                  <a:lnTo>
                    <a:pt x="0" y="4811874"/>
                  </a:lnTo>
                  <a:lnTo>
                    <a:pt x="1213" y="4865679"/>
                  </a:lnTo>
                  <a:lnTo>
                    <a:pt x="4809" y="4918708"/>
                  </a:lnTo>
                  <a:lnTo>
                    <a:pt x="10722" y="4970877"/>
                  </a:lnTo>
                  <a:lnTo>
                    <a:pt x="18889" y="5022108"/>
                  </a:lnTo>
                  <a:lnTo>
                    <a:pt x="29243" y="5072319"/>
                  </a:lnTo>
                  <a:lnTo>
                    <a:pt x="41720" y="5121430"/>
                  </a:lnTo>
                  <a:lnTo>
                    <a:pt x="56254" y="5169359"/>
                  </a:lnTo>
                  <a:lnTo>
                    <a:pt x="72781" y="5216026"/>
                  </a:lnTo>
                  <a:lnTo>
                    <a:pt x="91235" y="5261351"/>
                  </a:lnTo>
                  <a:lnTo>
                    <a:pt x="111552" y="5305252"/>
                  </a:lnTo>
                  <a:lnTo>
                    <a:pt x="133665" y="5347648"/>
                  </a:lnTo>
                  <a:lnTo>
                    <a:pt x="157511" y="5388459"/>
                  </a:lnTo>
                  <a:lnTo>
                    <a:pt x="183024" y="5427605"/>
                  </a:lnTo>
                  <a:lnTo>
                    <a:pt x="210139" y="5465003"/>
                  </a:lnTo>
                  <a:lnTo>
                    <a:pt x="238791" y="5500574"/>
                  </a:lnTo>
                  <a:lnTo>
                    <a:pt x="268914" y="5534237"/>
                  </a:lnTo>
                  <a:lnTo>
                    <a:pt x="300445" y="5565911"/>
                  </a:lnTo>
                  <a:lnTo>
                    <a:pt x="333317" y="5595516"/>
                  </a:lnTo>
                  <a:lnTo>
                    <a:pt x="367466" y="5622969"/>
                  </a:lnTo>
                  <a:lnTo>
                    <a:pt x="402827" y="5648192"/>
                  </a:lnTo>
                  <a:lnTo>
                    <a:pt x="439334" y="5671102"/>
                  </a:lnTo>
                  <a:lnTo>
                    <a:pt x="476922" y="5691619"/>
                  </a:lnTo>
                  <a:lnTo>
                    <a:pt x="515527" y="5709663"/>
                  </a:lnTo>
                  <a:lnTo>
                    <a:pt x="555083" y="5725153"/>
                  </a:lnTo>
                  <a:lnTo>
                    <a:pt x="595525" y="5738007"/>
                  </a:lnTo>
                  <a:lnTo>
                    <a:pt x="636789" y="5748146"/>
                  </a:lnTo>
                  <a:lnTo>
                    <a:pt x="678809" y="5755487"/>
                  </a:lnTo>
                  <a:lnTo>
                    <a:pt x="721519" y="5759952"/>
                  </a:lnTo>
                  <a:lnTo>
                    <a:pt x="764856" y="5761458"/>
                  </a:lnTo>
                  <a:lnTo>
                    <a:pt x="808195" y="5759952"/>
                  </a:lnTo>
                  <a:lnTo>
                    <a:pt x="850908" y="5755487"/>
                  </a:lnTo>
                  <a:lnTo>
                    <a:pt x="892930" y="5748146"/>
                  </a:lnTo>
                  <a:lnTo>
                    <a:pt x="934196" y="5738007"/>
                  </a:lnTo>
                  <a:lnTo>
                    <a:pt x="974642" y="5725153"/>
                  </a:lnTo>
                  <a:lnTo>
                    <a:pt x="1000228" y="5715134"/>
                  </a:lnTo>
                  <a:lnTo>
                    <a:pt x="764856" y="5715134"/>
                  </a:lnTo>
                  <a:lnTo>
                    <a:pt x="722699" y="5713598"/>
                  </a:lnTo>
                  <a:lnTo>
                    <a:pt x="681175" y="5709046"/>
                  </a:lnTo>
                  <a:lnTo>
                    <a:pt x="640352" y="5701565"/>
                  </a:lnTo>
                  <a:lnTo>
                    <a:pt x="600298" y="5691238"/>
                  </a:lnTo>
                  <a:lnTo>
                    <a:pt x="561081" y="5678152"/>
                  </a:lnTo>
                  <a:lnTo>
                    <a:pt x="522768" y="5662391"/>
                  </a:lnTo>
                  <a:lnTo>
                    <a:pt x="485428" y="5644042"/>
                  </a:lnTo>
                  <a:lnTo>
                    <a:pt x="449129" y="5623190"/>
                  </a:lnTo>
                  <a:lnTo>
                    <a:pt x="413938" y="5599919"/>
                  </a:lnTo>
                  <a:lnTo>
                    <a:pt x="379924" y="5574316"/>
                  </a:lnTo>
                  <a:lnTo>
                    <a:pt x="347154" y="5546466"/>
                  </a:lnTo>
                  <a:lnTo>
                    <a:pt x="315697" y="5516453"/>
                  </a:lnTo>
                  <a:lnTo>
                    <a:pt x="285619" y="5484364"/>
                  </a:lnTo>
                  <a:lnTo>
                    <a:pt x="256990" y="5450284"/>
                  </a:lnTo>
                  <a:lnTo>
                    <a:pt x="229877" y="5414298"/>
                  </a:lnTo>
                  <a:lnTo>
                    <a:pt x="204348" y="5376491"/>
                  </a:lnTo>
                  <a:lnTo>
                    <a:pt x="180471" y="5336949"/>
                  </a:lnTo>
                  <a:lnTo>
                    <a:pt x="158314" y="5295757"/>
                  </a:lnTo>
                  <a:lnTo>
                    <a:pt x="137945" y="5253000"/>
                  </a:lnTo>
                  <a:lnTo>
                    <a:pt x="119431" y="5208765"/>
                  </a:lnTo>
                  <a:lnTo>
                    <a:pt x="102841" y="5163135"/>
                  </a:lnTo>
                  <a:lnTo>
                    <a:pt x="88243" y="5116198"/>
                  </a:lnTo>
                  <a:lnTo>
                    <a:pt x="75704" y="5068037"/>
                  </a:lnTo>
                  <a:lnTo>
                    <a:pt x="65293" y="5018738"/>
                  </a:lnTo>
                  <a:lnTo>
                    <a:pt x="57077" y="4968387"/>
                  </a:lnTo>
                  <a:lnTo>
                    <a:pt x="51124" y="4917069"/>
                  </a:lnTo>
                  <a:lnTo>
                    <a:pt x="47503" y="4864870"/>
                  </a:lnTo>
                  <a:lnTo>
                    <a:pt x="46281" y="4811874"/>
                  </a:lnTo>
                  <a:lnTo>
                    <a:pt x="46281" y="2265847"/>
                  </a:lnTo>
                  <a:close/>
                </a:path>
                <a:path w="1530350" h="5761990" extrusionOk="0">
                  <a:moveTo>
                    <a:pt x="1529785" y="1884015"/>
                  </a:moveTo>
                  <a:lnTo>
                    <a:pt x="1518362" y="1891096"/>
                  </a:lnTo>
                  <a:lnTo>
                    <a:pt x="1506827" y="1898007"/>
                  </a:lnTo>
                  <a:lnTo>
                    <a:pt x="1495187" y="1904742"/>
                  </a:lnTo>
                  <a:lnTo>
                    <a:pt x="1483452" y="1911292"/>
                  </a:lnTo>
                  <a:lnTo>
                    <a:pt x="1483452" y="4811874"/>
                  </a:lnTo>
                  <a:lnTo>
                    <a:pt x="1482230" y="4864870"/>
                  </a:lnTo>
                  <a:lnTo>
                    <a:pt x="1478608" y="4917069"/>
                  </a:lnTo>
                  <a:lnTo>
                    <a:pt x="1472656" y="4968387"/>
                  </a:lnTo>
                  <a:lnTo>
                    <a:pt x="1464440" y="5018738"/>
                  </a:lnTo>
                  <a:lnTo>
                    <a:pt x="1454029" y="5068037"/>
                  </a:lnTo>
                  <a:lnTo>
                    <a:pt x="1441490" y="5116198"/>
                  </a:lnTo>
                  <a:lnTo>
                    <a:pt x="1426892" y="5163135"/>
                  </a:lnTo>
                  <a:lnTo>
                    <a:pt x="1410303" y="5208765"/>
                  </a:lnTo>
                  <a:lnTo>
                    <a:pt x="1391789" y="5253000"/>
                  </a:lnTo>
                  <a:lnTo>
                    <a:pt x="1371420" y="5295757"/>
                  </a:lnTo>
                  <a:lnTo>
                    <a:pt x="1349263" y="5336949"/>
                  </a:lnTo>
                  <a:lnTo>
                    <a:pt x="1325386" y="5376491"/>
                  </a:lnTo>
                  <a:lnTo>
                    <a:pt x="1299857" y="5414298"/>
                  </a:lnTo>
                  <a:lnTo>
                    <a:pt x="1272743" y="5450284"/>
                  </a:lnTo>
                  <a:lnTo>
                    <a:pt x="1244114" y="5484364"/>
                  </a:lnTo>
                  <a:lnTo>
                    <a:pt x="1214036" y="5516453"/>
                  </a:lnTo>
                  <a:lnTo>
                    <a:pt x="1182578" y="5546466"/>
                  </a:lnTo>
                  <a:lnTo>
                    <a:pt x="1149807" y="5574316"/>
                  </a:lnTo>
                  <a:lnTo>
                    <a:pt x="1115792" y="5599919"/>
                  </a:lnTo>
                  <a:lnTo>
                    <a:pt x="1080600" y="5623190"/>
                  </a:lnTo>
                  <a:lnTo>
                    <a:pt x="1044300" y="5644042"/>
                  </a:lnTo>
                  <a:lnTo>
                    <a:pt x="1006958" y="5662391"/>
                  </a:lnTo>
                  <a:lnTo>
                    <a:pt x="968644" y="5678152"/>
                  </a:lnTo>
                  <a:lnTo>
                    <a:pt x="929425" y="5691238"/>
                  </a:lnTo>
                  <a:lnTo>
                    <a:pt x="889368" y="5701565"/>
                  </a:lnTo>
                  <a:lnTo>
                    <a:pt x="848543" y="5709046"/>
                  </a:lnTo>
                  <a:lnTo>
                    <a:pt x="807016" y="5713598"/>
                  </a:lnTo>
                  <a:lnTo>
                    <a:pt x="764856" y="5715134"/>
                  </a:lnTo>
                  <a:lnTo>
                    <a:pt x="1000228" y="5715134"/>
                  </a:lnTo>
                  <a:lnTo>
                    <a:pt x="1052809" y="5691619"/>
                  </a:lnTo>
                  <a:lnTo>
                    <a:pt x="1090401" y="5671102"/>
                  </a:lnTo>
                  <a:lnTo>
                    <a:pt x="1126911" y="5648192"/>
                  </a:lnTo>
                  <a:lnTo>
                    <a:pt x="1162275" y="5622969"/>
                  </a:lnTo>
                  <a:lnTo>
                    <a:pt x="1196427" y="5595516"/>
                  </a:lnTo>
                  <a:lnTo>
                    <a:pt x="1229303" y="5565911"/>
                  </a:lnTo>
                  <a:lnTo>
                    <a:pt x="1260837" y="5534237"/>
                  </a:lnTo>
                  <a:lnTo>
                    <a:pt x="1290964" y="5500574"/>
                  </a:lnTo>
                  <a:lnTo>
                    <a:pt x="1319619" y="5465003"/>
                  </a:lnTo>
                  <a:lnTo>
                    <a:pt x="1346737" y="5427605"/>
                  </a:lnTo>
                  <a:lnTo>
                    <a:pt x="1372253" y="5388459"/>
                  </a:lnTo>
                  <a:lnTo>
                    <a:pt x="1396102" y="5347648"/>
                  </a:lnTo>
                  <a:lnTo>
                    <a:pt x="1418218" y="5305252"/>
                  </a:lnTo>
                  <a:lnTo>
                    <a:pt x="1438537" y="5261351"/>
                  </a:lnTo>
                  <a:lnTo>
                    <a:pt x="1456994" y="5216026"/>
                  </a:lnTo>
                  <a:lnTo>
                    <a:pt x="1473523" y="5169359"/>
                  </a:lnTo>
                  <a:lnTo>
                    <a:pt x="1488059" y="5121430"/>
                  </a:lnTo>
                  <a:lnTo>
                    <a:pt x="1500537" y="5072319"/>
                  </a:lnTo>
                  <a:lnTo>
                    <a:pt x="1510893" y="5022108"/>
                  </a:lnTo>
                  <a:lnTo>
                    <a:pt x="1519061" y="4970877"/>
                  </a:lnTo>
                  <a:lnTo>
                    <a:pt x="1524976" y="4918708"/>
                  </a:lnTo>
                  <a:lnTo>
                    <a:pt x="1528572" y="4865679"/>
                  </a:lnTo>
                  <a:lnTo>
                    <a:pt x="1529785" y="4811874"/>
                  </a:lnTo>
                  <a:lnTo>
                    <a:pt x="1529785" y="1884015"/>
                  </a:lnTo>
                  <a:close/>
                </a:path>
                <a:path w="1530350" h="5761990" extrusionOk="0">
                  <a:moveTo>
                    <a:pt x="1529785" y="0"/>
                  </a:moveTo>
                  <a:lnTo>
                    <a:pt x="1483452" y="0"/>
                  </a:lnTo>
                  <a:lnTo>
                    <a:pt x="1483452" y="1858037"/>
                  </a:lnTo>
                  <a:lnTo>
                    <a:pt x="1495215" y="1850978"/>
                  </a:lnTo>
                  <a:lnTo>
                    <a:pt x="1506854" y="1843730"/>
                  </a:lnTo>
                  <a:lnTo>
                    <a:pt x="1518376" y="1836287"/>
                  </a:lnTo>
                  <a:lnTo>
                    <a:pt x="1529785" y="1828645"/>
                  </a:lnTo>
                  <a:lnTo>
                    <a:pt x="1529785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12;p1"/>
            <p:cNvSpPr/>
            <p:nvPr/>
          </p:nvSpPr>
          <p:spPr>
            <a:xfrm>
              <a:off x="11298703" y="7899492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"/>
            <p:cNvSpPr/>
            <p:nvPr/>
          </p:nvSpPr>
          <p:spPr>
            <a:xfrm>
              <a:off x="11298703" y="6237001"/>
              <a:ext cx="1189355" cy="1684020"/>
            </a:xfrm>
            <a:custGeom>
              <a:avLst/>
              <a:gdLst/>
              <a:ahLst/>
              <a:cxnLst/>
              <a:rect l="l" t="t" r="r" b="b"/>
              <a:pathLst>
                <a:path w="1189354" h="1684020" extrusionOk="0">
                  <a:moveTo>
                    <a:pt x="1188770" y="1636894"/>
                  </a:moveTo>
                  <a:lnTo>
                    <a:pt x="1165608" y="1636894"/>
                  </a:lnTo>
                  <a:lnTo>
                    <a:pt x="1165608" y="1683751"/>
                  </a:lnTo>
                  <a:lnTo>
                    <a:pt x="1188770" y="1683751"/>
                  </a:lnTo>
                  <a:lnTo>
                    <a:pt x="1188770" y="1636894"/>
                  </a:lnTo>
                  <a:close/>
                </a:path>
                <a:path w="1189354" h="1684020" extrusionOk="0">
                  <a:moveTo>
                    <a:pt x="23151" y="1557284"/>
                  </a:moveTo>
                  <a:lnTo>
                    <a:pt x="0" y="1557284"/>
                  </a:lnTo>
                  <a:lnTo>
                    <a:pt x="0" y="1604110"/>
                  </a:lnTo>
                  <a:lnTo>
                    <a:pt x="23151" y="1604110"/>
                  </a:lnTo>
                  <a:lnTo>
                    <a:pt x="23151" y="1557284"/>
                  </a:lnTo>
                  <a:close/>
                </a:path>
                <a:path w="1189354" h="1684020" extrusionOk="0">
                  <a:moveTo>
                    <a:pt x="1188770" y="1543253"/>
                  </a:moveTo>
                  <a:lnTo>
                    <a:pt x="1165608" y="1543253"/>
                  </a:lnTo>
                  <a:lnTo>
                    <a:pt x="1165608" y="1590068"/>
                  </a:lnTo>
                  <a:lnTo>
                    <a:pt x="1188770" y="1590068"/>
                  </a:lnTo>
                  <a:lnTo>
                    <a:pt x="1188770" y="1543253"/>
                  </a:lnTo>
                  <a:close/>
                </a:path>
                <a:path w="1189354" h="1684020" extrusionOk="0">
                  <a:moveTo>
                    <a:pt x="23151" y="1463632"/>
                  </a:moveTo>
                  <a:lnTo>
                    <a:pt x="0" y="1463632"/>
                  </a:lnTo>
                  <a:lnTo>
                    <a:pt x="0" y="1510448"/>
                  </a:lnTo>
                  <a:lnTo>
                    <a:pt x="23151" y="1510448"/>
                  </a:lnTo>
                  <a:lnTo>
                    <a:pt x="23151" y="1463632"/>
                  </a:lnTo>
                  <a:close/>
                </a:path>
                <a:path w="1189354" h="1684020" extrusionOk="0">
                  <a:moveTo>
                    <a:pt x="1188770" y="1449612"/>
                  </a:moveTo>
                  <a:lnTo>
                    <a:pt x="1165608" y="1449612"/>
                  </a:lnTo>
                  <a:lnTo>
                    <a:pt x="1165608" y="1496406"/>
                  </a:lnTo>
                  <a:lnTo>
                    <a:pt x="1188770" y="1496406"/>
                  </a:lnTo>
                  <a:lnTo>
                    <a:pt x="1188770" y="1449612"/>
                  </a:lnTo>
                  <a:close/>
                </a:path>
                <a:path w="1189354" h="1684020" extrusionOk="0">
                  <a:moveTo>
                    <a:pt x="23151" y="1369960"/>
                  </a:moveTo>
                  <a:lnTo>
                    <a:pt x="0" y="1369960"/>
                  </a:lnTo>
                  <a:lnTo>
                    <a:pt x="0" y="1416775"/>
                  </a:lnTo>
                  <a:lnTo>
                    <a:pt x="23151" y="1416775"/>
                  </a:lnTo>
                  <a:lnTo>
                    <a:pt x="23151" y="1369960"/>
                  </a:lnTo>
                  <a:close/>
                </a:path>
                <a:path w="1189354" h="1684020" extrusionOk="0">
                  <a:moveTo>
                    <a:pt x="1188770" y="1355929"/>
                  </a:moveTo>
                  <a:lnTo>
                    <a:pt x="1165608" y="1355929"/>
                  </a:lnTo>
                  <a:lnTo>
                    <a:pt x="1165608" y="1402765"/>
                  </a:lnTo>
                  <a:lnTo>
                    <a:pt x="1188770" y="1402765"/>
                  </a:lnTo>
                  <a:lnTo>
                    <a:pt x="1188770" y="1355929"/>
                  </a:lnTo>
                  <a:close/>
                </a:path>
                <a:path w="1189354" h="1684020" extrusionOk="0">
                  <a:moveTo>
                    <a:pt x="23151" y="1276319"/>
                  </a:moveTo>
                  <a:lnTo>
                    <a:pt x="0" y="1276319"/>
                  </a:lnTo>
                  <a:lnTo>
                    <a:pt x="0" y="1323134"/>
                  </a:lnTo>
                  <a:lnTo>
                    <a:pt x="23151" y="1323134"/>
                  </a:lnTo>
                  <a:lnTo>
                    <a:pt x="23151" y="1276319"/>
                  </a:lnTo>
                  <a:close/>
                </a:path>
                <a:path w="1189354" h="1684020" extrusionOk="0">
                  <a:moveTo>
                    <a:pt x="1188770" y="1262256"/>
                  </a:moveTo>
                  <a:lnTo>
                    <a:pt x="1165608" y="1262256"/>
                  </a:lnTo>
                  <a:lnTo>
                    <a:pt x="1165608" y="1309092"/>
                  </a:lnTo>
                  <a:lnTo>
                    <a:pt x="1188770" y="1309092"/>
                  </a:lnTo>
                  <a:lnTo>
                    <a:pt x="1188770" y="1262256"/>
                  </a:lnTo>
                  <a:close/>
                </a:path>
                <a:path w="1189354" h="1684020" extrusionOk="0">
                  <a:moveTo>
                    <a:pt x="23151" y="1182657"/>
                  </a:moveTo>
                  <a:lnTo>
                    <a:pt x="0" y="1182657"/>
                  </a:lnTo>
                  <a:lnTo>
                    <a:pt x="0" y="1229472"/>
                  </a:lnTo>
                  <a:lnTo>
                    <a:pt x="23151" y="1229472"/>
                  </a:lnTo>
                  <a:lnTo>
                    <a:pt x="23151" y="1182657"/>
                  </a:lnTo>
                  <a:close/>
                </a:path>
                <a:path w="1189354" h="1684020" extrusionOk="0">
                  <a:moveTo>
                    <a:pt x="1188770" y="1168626"/>
                  </a:moveTo>
                  <a:lnTo>
                    <a:pt x="1165608" y="1168626"/>
                  </a:lnTo>
                  <a:lnTo>
                    <a:pt x="1165608" y="1215462"/>
                  </a:lnTo>
                  <a:lnTo>
                    <a:pt x="1188770" y="1215462"/>
                  </a:lnTo>
                  <a:lnTo>
                    <a:pt x="1188770" y="1168626"/>
                  </a:lnTo>
                  <a:close/>
                </a:path>
                <a:path w="1189354" h="1684020" extrusionOk="0">
                  <a:moveTo>
                    <a:pt x="23151" y="1089015"/>
                  </a:moveTo>
                  <a:lnTo>
                    <a:pt x="0" y="1089015"/>
                  </a:lnTo>
                  <a:lnTo>
                    <a:pt x="0" y="1135799"/>
                  </a:lnTo>
                  <a:lnTo>
                    <a:pt x="23151" y="1135799"/>
                  </a:lnTo>
                  <a:lnTo>
                    <a:pt x="23151" y="1089015"/>
                  </a:lnTo>
                  <a:close/>
                </a:path>
                <a:path w="1189354" h="1684020" extrusionOk="0">
                  <a:moveTo>
                    <a:pt x="1188770" y="1074974"/>
                  </a:moveTo>
                  <a:lnTo>
                    <a:pt x="1165608" y="1074974"/>
                  </a:lnTo>
                  <a:lnTo>
                    <a:pt x="1165608" y="1121800"/>
                  </a:lnTo>
                  <a:lnTo>
                    <a:pt x="1188770" y="1121800"/>
                  </a:lnTo>
                  <a:lnTo>
                    <a:pt x="1188770" y="1074974"/>
                  </a:lnTo>
                  <a:close/>
                </a:path>
                <a:path w="1189354" h="1684020" extrusionOk="0">
                  <a:moveTo>
                    <a:pt x="23151" y="995353"/>
                  </a:moveTo>
                  <a:lnTo>
                    <a:pt x="0" y="995353"/>
                  </a:lnTo>
                  <a:lnTo>
                    <a:pt x="0" y="1042169"/>
                  </a:lnTo>
                  <a:lnTo>
                    <a:pt x="23151" y="1042169"/>
                  </a:lnTo>
                  <a:lnTo>
                    <a:pt x="23151" y="995353"/>
                  </a:lnTo>
                  <a:close/>
                </a:path>
                <a:path w="1189354" h="1684020" extrusionOk="0">
                  <a:moveTo>
                    <a:pt x="1188770" y="981312"/>
                  </a:moveTo>
                  <a:lnTo>
                    <a:pt x="1165608" y="981312"/>
                  </a:lnTo>
                  <a:lnTo>
                    <a:pt x="1165608" y="1028127"/>
                  </a:lnTo>
                  <a:lnTo>
                    <a:pt x="1188770" y="1028127"/>
                  </a:lnTo>
                  <a:lnTo>
                    <a:pt x="1188770" y="981312"/>
                  </a:lnTo>
                  <a:close/>
                </a:path>
                <a:path w="1189354" h="1684020" extrusionOk="0">
                  <a:moveTo>
                    <a:pt x="23151" y="901670"/>
                  </a:moveTo>
                  <a:lnTo>
                    <a:pt x="0" y="901670"/>
                  </a:lnTo>
                  <a:lnTo>
                    <a:pt x="0" y="948496"/>
                  </a:lnTo>
                  <a:lnTo>
                    <a:pt x="23151" y="948496"/>
                  </a:lnTo>
                  <a:lnTo>
                    <a:pt x="23151" y="901670"/>
                  </a:lnTo>
                  <a:close/>
                </a:path>
                <a:path w="1189354" h="1684020" extrusionOk="0">
                  <a:moveTo>
                    <a:pt x="1188770" y="887681"/>
                  </a:moveTo>
                  <a:lnTo>
                    <a:pt x="1165608" y="887681"/>
                  </a:lnTo>
                  <a:lnTo>
                    <a:pt x="1165608" y="934486"/>
                  </a:lnTo>
                  <a:lnTo>
                    <a:pt x="1188770" y="934486"/>
                  </a:lnTo>
                  <a:lnTo>
                    <a:pt x="1188770" y="887681"/>
                  </a:lnTo>
                  <a:close/>
                </a:path>
                <a:path w="1189354" h="1684020" extrusionOk="0">
                  <a:moveTo>
                    <a:pt x="23151" y="807987"/>
                  </a:moveTo>
                  <a:lnTo>
                    <a:pt x="0" y="807987"/>
                  </a:lnTo>
                  <a:lnTo>
                    <a:pt x="0" y="854855"/>
                  </a:lnTo>
                  <a:lnTo>
                    <a:pt x="23151" y="854855"/>
                  </a:lnTo>
                  <a:lnTo>
                    <a:pt x="23151" y="807987"/>
                  </a:lnTo>
                  <a:close/>
                </a:path>
                <a:path w="1189354" h="1684020" extrusionOk="0">
                  <a:moveTo>
                    <a:pt x="1188770" y="793998"/>
                  </a:moveTo>
                  <a:lnTo>
                    <a:pt x="1165608" y="793998"/>
                  </a:lnTo>
                  <a:lnTo>
                    <a:pt x="1165608" y="840845"/>
                  </a:lnTo>
                  <a:lnTo>
                    <a:pt x="1188770" y="840845"/>
                  </a:lnTo>
                  <a:lnTo>
                    <a:pt x="1188770" y="793998"/>
                  </a:lnTo>
                  <a:close/>
                </a:path>
                <a:path w="1189354" h="1684020" extrusionOk="0">
                  <a:moveTo>
                    <a:pt x="23151" y="714346"/>
                  </a:moveTo>
                  <a:lnTo>
                    <a:pt x="0" y="714346"/>
                  </a:lnTo>
                  <a:lnTo>
                    <a:pt x="0" y="761193"/>
                  </a:lnTo>
                  <a:lnTo>
                    <a:pt x="23151" y="761193"/>
                  </a:lnTo>
                  <a:lnTo>
                    <a:pt x="23151" y="714346"/>
                  </a:lnTo>
                  <a:close/>
                </a:path>
                <a:path w="1189354" h="1684020" extrusionOk="0">
                  <a:moveTo>
                    <a:pt x="1188770" y="700273"/>
                  </a:moveTo>
                  <a:lnTo>
                    <a:pt x="1165629" y="700409"/>
                  </a:lnTo>
                  <a:lnTo>
                    <a:pt x="1165629" y="747183"/>
                  </a:lnTo>
                  <a:lnTo>
                    <a:pt x="1188770" y="747183"/>
                  </a:lnTo>
                  <a:lnTo>
                    <a:pt x="1188770" y="700273"/>
                  </a:lnTo>
                  <a:close/>
                </a:path>
                <a:path w="1189354" h="1684020" extrusionOk="0">
                  <a:moveTo>
                    <a:pt x="4408" y="619700"/>
                  </a:moveTo>
                  <a:lnTo>
                    <a:pt x="3308" y="631440"/>
                  </a:lnTo>
                  <a:lnTo>
                    <a:pt x="2366" y="643238"/>
                  </a:lnTo>
                  <a:lnTo>
                    <a:pt x="1581" y="655092"/>
                  </a:lnTo>
                  <a:lnTo>
                    <a:pt x="952" y="666997"/>
                  </a:lnTo>
                  <a:lnTo>
                    <a:pt x="24093" y="668075"/>
                  </a:lnTo>
                  <a:lnTo>
                    <a:pt x="24721" y="656493"/>
                  </a:lnTo>
                  <a:lnTo>
                    <a:pt x="25507" y="644960"/>
                  </a:lnTo>
                  <a:lnTo>
                    <a:pt x="26449" y="633471"/>
                  </a:lnTo>
                  <a:lnTo>
                    <a:pt x="27548" y="622024"/>
                  </a:lnTo>
                  <a:lnTo>
                    <a:pt x="4408" y="619700"/>
                  </a:lnTo>
                  <a:close/>
                </a:path>
                <a:path w="1189354" h="1684020" extrusionOk="0">
                  <a:moveTo>
                    <a:pt x="1182801" y="605564"/>
                  </a:moveTo>
                  <a:lnTo>
                    <a:pt x="1159765" y="608308"/>
                  </a:lnTo>
                  <a:lnTo>
                    <a:pt x="1161082" y="619723"/>
                  </a:lnTo>
                  <a:lnTo>
                    <a:pt x="1162213" y="631184"/>
                  </a:lnTo>
                  <a:lnTo>
                    <a:pt x="1163167" y="642696"/>
                  </a:lnTo>
                  <a:lnTo>
                    <a:pt x="1163954" y="654264"/>
                  </a:lnTo>
                  <a:lnTo>
                    <a:pt x="1187094" y="652798"/>
                  </a:lnTo>
                  <a:lnTo>
                    <a:pt x="1186291" y="640898"/>
                  </a:lnTo>
                  <a:lnTo>
                    <a:pt x="1185301" y="629056"/>
                  </a:lnTo>
                  <a:lnTo>
                    <a:pt x="1184135" y="617277"/>
                  </a:lnTo>
                  <a:lnTo>
                    <a:pt x="1182801" y="605564"/>
                  </a:lnTo>
                  <a:close/>
                </a:path>
                <a:path w="1189354" h="1684020" extrusionOk="0">
                  <a:moveTo>
                    <a:pt x="19591" y="525954"/>
                  </a:moveTo>
                  <a:lnTo>
                    <a:pt x="17096" y="537512"/>
                  </a:lnTo>
                  <a:lnTo>
                    <a:pt x="14787" y="549143"/>
                  </a:lnTo>
                  <a:lnTo>
                    <a:pt x="12655" y="560847"/>
                  </a:lnTo>
                  <a:lnTo>
                    <a:pt x="10690" y="572623"/>
                  </a:lnTo>
                  <a:lnTo>
                    <a:pt x="33517" y="576277"/>
                  </a:lnTo>
                  <a:lnTo>
                    <a:pt x="35464" y="564841"/>
                  </a:lnTo>
                  <a:lnTo>
                    <a:pt x="37548" y="553479"/>
                  </a:lnTo>
                  <a:lnTo>
                    <a:pt x="39790" y="542192"/>
                  </a:lnTo>
                  <a:lnTo>
                    <a:pt x="42208" y="530980"/>
                  </a:lnTo>
                  <a:lnTo>
                    <a:pt x="19591" y="525954"/>
                  </a:lnTo>
                  <a:close/>
                </a:path>
                <a:path w="1189354" h="1684020" extrusionOk="0">
                  <a:moveTo>
                    <a:pt x="1166048" y="512101"/>
                  </a:moveTo>
                  <a:lnTo>
                    <a:pt x="1143535" y="517515"/>
                  </a:lnTo>
                  <a:lnTo>
                    <a:pt x="1146127" y="528690"/>
                  </a:lnTo>
                  <a:lnTo>
                    <a:pt x="1148561" y="539943"/>
                  </a:lnTo>
                  <a:lnTo>
                    <a:pt x="1150839" y="551275"/>
                  </a:lnTo>
                  <a:lnTo>
                    <a:pt x="1152959" y="562686"/>
                  </a:lnTo>
                  <a:lnTo>
                    <a:pt x="1175786" y="558571"/>
                  </a:lnTo>
                  <a:lnTo>
                    <a:pt x="1173587" y="546851"/>
                  </a:lnTo>
                  <a:lnTo>
                    <a:pt x="1171231" y="535195"/>
                  </a:lnTo>
                  <a:lnTo>
                    <a:pt x="1168718" y="523609"/>
                  </a:lnTo>
                  <a:lnTo>
                    <a:pt x="1166048" y="512101"/>
                  </a:lnTo>
                  <a:close/>
                </a:path>
                <a:path w="1189354" h="1684020" extrusionOk="0">
                  <a:moveTo>
                    <a:pt x="45663" y="434617"/>
                  </a:moveTo>
                  <a:lnTo>
                    <a:pt x="41771" y="445802"/>
                  </a:lnTo>
                  <a:lnTo>
                    <a:pt x="38085" y="457084"/>
                  </a:lnTo>
                  <a:lnTo>
                    <a:pt x="34575" y="468457"/>
                  </a:lnTo>
                  <a:lnTo>
                    <a:pt x="31213" y="479914"/>
                  </a:lnTo>
                  <a:lnTo>
                    <a:pt x="53516" y="486238"/>
                  </a:lnTo>
                  <a:lnTo>
                    <a:pt x="56797" y="475128"/>
                  </a:lnTo>
                  <a:lnTo>
                    <a:pt x="60204" y="464100"/>
                  </a:lnTo>
                  <a:lnTo>
                    <a:pt x="63750" y="453155"/>
                  </a:lnTo>
                  <a:lnTo>
                    <a:pt x="67442" y="442292"/>
                  </a:lnTo>
                  <a:lnTo>
                    <a:pt x="45663" y="434617"/>
                  </a:lnTo>
                  <a:close/>
                </a:path>
                <a:path w="1189354" h="1684020" extrusionOk="0">
                  <a:moveTo>
                    <a:pt x="1138405" y="421235"/>
                  </a:moveTo>
                  <a:lnTo>
                    <a:pt x="1116730" y="429276"/>
                  </a:lnTo>
                  <a:lnTo>
                    <a:pt x="1120640" y="440072"/>
                  </a:lnTo>
                  <a:lnTo>
                    <a:pt x="1124374" y="450959"/>
                  </a:lnTo>
                  <a:lnTo>
                    <a:pt x="1127950" y="461936"/>
                  </a:lnTo>
                  <a:lnTo>
                    <a:pt x="1131389" y="473003"/>
                  </a:lnTo>
                  <a:lnTo>
                    <a:pt x="1153587" y="466270"/>
                  </a:lnTo>
                  <a:lnTo>
                    <a:pt x="1150037" y="454870"/>
                  </a:lnTo>
                  <a:lnTo>
                    <a:pt x="1146310" y="443568"/>
                  </a:lnTo>
                  <a:lnTo>
                    <a:pt x="1142426" y="432358"/>
                  </a:lnTo>
                  <a:lnTo>
                    <a:pt x="1138405" y="421235"/>
                  </a:lnTo>
                  <a:close/>
                </a:path>
                <a:path w="1189354" h="1684020" extrusionOk="0">
                  <a:moveTo>
                    <a:pt x="82521" y="347069"/>
                  </a:moveTo>
                  <a:lnTo>
                    <a:pt x="77337" y="357691"/>
                  </a:lnTo>
                  <a:lnTo>
                    <a:pt x="72311" y="368438"/>
                  </a:lnTo>
                  <a:lnTo>
                    <a:pt x="67442" y="379299"/>
                  </a:lnTo>
                  <a:lnTo>
                    <a:pt x="62731" y="390262"/>
                  </a:lnTo>
                  <a:lnTo>
                    <a:pt x="83986" y="399267"/>
                  </a:lnTo>
                  <a:lnTo>
                    <a:pt x="88602" y="388644"/>
                  </a:lnTo>
                  <a:lnTo>
                    <a:pt x="93345" y="378122"/>
                  </a:lnTo>
                  <a:lnTo>
                    <a:pt x="98225" y="367704"/>
                  </a:lnTo>
                  <a:lnTo>
                    <a:pt x="103253" y="357394"/>
                  </a:lnTo>
                  <a:lnTo>
                    <a:pt x="82521" y="347069"/>
                  </a:lnTo>
                  <a:close/>
                </a:path>
                <a:path w="1189354" h="1684020" extrusionOk="0">
                  <a:moveTo>
                    <a:pt x="1099872" y="334368"/>
                  </a:moveTo>
                  <a:lnTo>
                    <a:pt x="1079244" y="345080"/>
                  </a:lnTo>
                  <a:lnTo>
                    <a:pt x="1084506" y="355285"/>
                  </a:lnTo>
                  <a:lnTo>
                    <a:pt x="1089610" y="365604"/>
                  </a:lnTo>
                  <a:lnTo>
                    <a:pt x="1094558" y="376036"/>
                  </a:lnTo>
                  <a:lnTo>
                    <a:pt x="1099348" y="386576"/>
                  </a:lnTo>
                  <a:lnTo>
                    <a:pt x="1120499" y="377205"/>
                  </a:lnTo>
                  <a:lnTo>
                    <a:pt x="1115554" y="366305"/>
                  </a:lnTo>
                  <a:lnTo>
                    <a:pt x="1110460" y="355531"/>
                  </a:lnTo>
                  <a:lnTo>
                    <a:pt x="1105230" y="344885"/>
                  </a:lnTo>
                  <a:lnTo>
                    <a:pt x="1099872" y="334368"/>
                  </a:lnTo>
                  <a:close/>
                </a:path>
                <a:path w="1189354" h="1684020" extrusionOk="0">
                  <a:moveTo>
                    <a:pt x="130372" y="264831"/>
                  </a:moveTo>
                  <a:lnTo>
                    <a:pt x="123836" y="274699"/>
                  </a:lnTo>
                  <a:lnTo>
                    <a:pt x="117428" y="284739"/>
                  </a:lnTo>
                  <a:lnTo>
                    <a:pt x="111157" y="294917"/>
                  </a:lnTo>
                  <a:lnTo>
                    <a:pt x="105033" y="305196"/>
                  </a:lnTo>
                  <a:lnTo>
                    <a:pt x="125137" y="316819"/>
                  </a:lnTo>
                  <a:lnTo>
                    <a:pt x="130981" y="306874"/>
                  </a:lnTo>
                  <a:lnTo>
                    <a:pt x="137022" y="297040"/>
                  </a:lnTo>
                  <a:lnTo>
                    <a:pt x="143219" y="287346"/>
                  </a:lnTo>
                  <a:lnTo>
                    <a:pt x="149534" y="277825"/>
                  </a:lnTo>
                  <a:lnTo>
                    <a:pt x="130372" y="264831"/>
                  </a:lnTo>
                  <a:close/>
                </a:path>
                <a:path w="1189354" h="1684020" extrusionOk="0">
                  <a:moveTo>
                    <a:pt x="1050449" y="253135"/>
                  </a:moveTo>
                  <a:lnTo>
                    <a:pt x="1031497" y="266465"/>
                  </a:lnTo>
                  <a:lnTo>
                    <a:pt x="1037986" y="275895"/>
                  </a:lnTo>
                  <a:lnTo>
                    <a:pt x="1044376" y="285482"/>
                  </a:lnTo>
                  <a:lnTo>
                    <a:pt x="1050610" y="295184"/>
                  </a:lnTo>
                  <a:lnTo>
                    <a:pt x="1056627" y="304956"/>
                  </a:lnTo>
                  <a:lnTo>
                    <a:pt x="1076417" y="292935"/>
                  </a:lnTo>
                  <a:lnTo>
                    <a:pt x="1070180" y="282824"/>
                  </a:lnTo>
                  <a:lnTo>
                    <a:pt x="1063747" y="272796"/>
                  </a:lnTo>
                  <a:lnTo>
                    <a:pt x="1057157" y="262886"/>
                  </a:lnTo>
                  <a:lnTo>
                    <a:pt x="1050449" y="253135"/>
                  </a:lnTo>
                  <a:close/>
                </a:path>
                <a:path w="1189354" h="1684020" extrusionOk="0">
                  <a:moveTo>
                    <a:pt x="188905" y="189797"/>
                  </a:moveTo>
                  <a:lnTo>
                    <a:pt x="181035" y="198682"/>
                  </a:lnTo>
                  <a:lnTo>
                    <a:pt x="173303" y="207746"/>
                  </a:lnTo>
                  <a:lnTo>
                    <a:pt x="165728" y="216964"/>
                  </a:lnTo>
                  <a:lnTo>
                    <a:pt x="158330" y="226309"/>
                  </a:lnTo>
                  <a:lnTo>
                    <a:pt x="176549" y="240570"/>
                  </a:lnTo>
                  <a:lnTo>
                    <a:pt x="183710" y="231520"/>
                  </a:lnTo>
                  <a:lnTo>
                    <a:pt x="191038" y="222610"/>
                  </a:lnTo>
                  <a:lnTo>
                    <a:pt x="198504" y="213868"/>
                  </a:lnTo>
                  <a:lnTo>
                    <a:pt x="206077" y="205325"/>
                  </a:lnTo>
                  <a:lnTo>
                    <a:pt x="188905" y="189797"/>
                  </a:lnTo>
                  <a:close/>
                </a:path>
                <a:path w="1189354" h="1684020" extrusionOk="0">
                  <a:moveTo>
                    <a:pt x="990242" y="179305"/>
                  </a:moveTo>
                  <a:lnTo>
                    <a:pt x="973383" y="195179"/>
                  </a:lnTo>
                  <a:lnTo>
                    <a:pt x="981174" y="203569"/>
                  </a:lnTo>
                  <a:lnTo>
                    <a:pt x="988828" y="212159"/>
                  </a:lnTo>
                  <a:lnTo>
                    <a:pt x="996325" y="220907"/>
                  </a:lnTo>
                  <a:lnTo>
                    <a:pt x="1003644" y="229775"/>
                  </a:lnTo>
                  <a:lnTo>
                    <a:pt x="1021654" y="215189"/>
                  </a:lnTo>
                  <a:lnTo>
                    <a:pt x="1014022" y="205974"/>
                  </a:lnTo>
                  <a:lnTo>
                    <a:pt x="1006223" y="196901"/>
                  </a:lnTo>
                  <a:lnTo>
                    <a:pt x="998286" y="188001"/>
                  </a:lnTo>
                  <a:lnTo>
                    <a:pt x="990242" y="179305"/>
                  </a:lnTo>
                  <a:close/>
                </a:path>
                <a:path w="1189354" h="1684020" extrusionOk="0">
                  <a:moveTo>
                    <a:pt x="257803" y="123977"/>
                  </a:moveTo>
                  <a:lnTo>
                    <a:pt x="248661" y="131618"/>
                  </a:lnTo>
                  <a:lnTo>
                    <a:pt x="239636" y="139450"/>
                  </a:lnTo>
                  <a:lnTo>
                    <a:pt x="230769" y="147451"/>
                  </a:lnTo>
                  <a:lnTo>
                    <a:pt x="222097" y="155599"/>
                  </a:lnTo>
                  <a:lnTo>
                    <a:pt x="238118" y="172331"/>
                  </a:lnTo>
                  <a:lnTo>
                    <a:pt x="246473" y="164486"/>
                  </a:lnTo>
                  <a:lnTo>
                    <a:pt x="255015" y="156774"/>
                  </a:lnTo>
                  <a:lnTo>
                    <a:pt x="263695" y="149231"/>
                  </a:lnTo>
                  <a:lnTo>
                    <a:pt x="272462" y="141892"/>
                  </a:lnTo>
                  <a:lnTo>
                    <a:pt x="257803" y="123977"/>
                  </a:lnTo>
                  <a:close/>
                </a:path>
                <a:path w="1189354" h="1684020" extrusionOk="0">
                  <a:moveTo>
                    <a:pt x="919773" y="115066"/>
                  </a:moveTo>
                  <a:lnTo>
                    <a:pt x="905637" y="133348"/>
                  </a:lnTo>
                  <a:lnTo>
                    <a:pt x="914562" y="140450"/>
                  </a:lnTo>
                  <a:lnTo>
                    <a:pt x="923398" y="147767"/>
                  </a:lnTo>
                  <a:lnTo>
                    <a:pt x="932097" y="155279"/>
                  </a:lnTo>
                  <a:lnTo>
                    <a:pt x="940610" y="162970"/>
                  </a:lnTo>
                  <a:lnTo>
                    <a:pt x="956316" y="145871"/>
                  </a:lnTo>
                  <a:lnTo>
                    <a:pt x="947411" y="137875"/>
                  </a:lnTo>
                  <a:lnTo>
                    <a:pt x="938319" y="130060"/>
                  </a:lnTo>
                  <a:lnTo>
                    <a:pt x="929090" y="122450"/>
                  </a:lnTo>
                  <a:lnTo>
                    <a:pt x="919773" y="115066"/>
                  </a:lnTo>
                  <a:close/>
                </a:path>
                <a:path w="1189354" h="1684020" extrusionOk="0">
                  <a:moveTo>
                    <a:pt x="336440" y="69748"/>
                  </a:moveTo>
                  <a:lnTo>
                    <a:pt x="326235" y="75749"/>
                  </a:lnTo>
                  <a:lnTo>
                    <a:pt x="316061" y="82020"/>
                  </a:lnTo>
                  <a:lnTo>
                    <a:pt x="305945" y="88534"/>
                  </a:lnTo>
                  <a:lnTo>
                    <a:pt x="295917" y="95266"/>
                  </a:lnTo>
                  <a:lnTo>
                    <a:pt x="309111" y="114344"/>
                  </a:lnTo>
                  <a:lnTo>
                    <a:pt x="318685" y="107873"/>
                  </a:lnTo>
                  <a:lnTo>
                    <a:pt x="328377" y="101621"/>
                  </a:lnTo>
                  <a:lnTo>
                    <a:pt x="338148" y="95614"/>
                  </a:lnTo>
                  <a:lnTo>
                    <a:pt x="347957" y="89873"/>
                  </a:lnTo>
                  <a:lnTo>
                    <a:pt x="336440" y="69748"/>
                  </a:lnTo>
                  <a:close/>
                </a:path>
                <a:path w="1189354" h="1684020" extrusionOk="0">
                  <a:moveTo>
                    <a:pt x="839984" y="62827"/>
                  </a:moveTo>
                  <a:lnTo>
                    <a:pt x="828990" y="83224"/>
                  </a:lnTo>
                  <a:lnTo>
                    <a:pt x="838880" y="88714"/>
                  </a:lnTo>
                  <a:lnTo>
                    <a:pt x="848741" y="94461"/>
                  </a:lnTo>
                  <a:lnTo>
                    <a:pt x="858542" y="100445"/>
                  </a:lnTo>
                  <a:lnTo>
                    <a:pt x="868256" y="106647"/>
                  </a:lnTo>
                  <a:lnTo>
                    <a:pt x="880926" y="87297"/>
                  </a:lnTo>
                  <a:lnTo>
                    <a:pt x="870862" y="80820"/>
                  </a:lnTo>
                  <a:lnTo>
                    <a:pt x="860651" y="74567"/>
                  </a:lnTo>
                  <a:lnTo>
                    <a:pt x="850342" y="68562"/>
                  </a:lnTo>
                  <a:lnTo>
                    <a:pt x="839984" y="62827"/>
                  </a:lnTo>
                  <a:close/>
                </a:path>
                <a:path w="1189354" h="1684020" extrusionOk="0">
                  <a:moveTo>
                    <a:pt x="423138" y="29665"/>
                  </a:moveTo>
                  <a:lnTo>
                    <a:pt x="411992" y="33804"/>
                  </a:lnTo>
                  <a:lnTo>
                    <a:pt x="400875" y="38210"/>
                  </a:lnTo>
                  <a:lnTo>
                    <a:pt x="389816" y="42882"/>
                  </a:lnTo>
                  <a:lnTo>
                    <a:pt x="378847" y="47822"/>
                  </a:lnTo>
                  <a:lnTo>
                    <a:pt x="388585" y="68795"/>
                  </a:lnTo>
                  <a:lnTo>
                    <a:pt x="399083" y="64099"/>
                  </a:lnTo>
                  <a:lnTo>
                    <a:pt x="409670" y="59646"/>
                  </a:lnTo>
                  <a:lnTo>
                    <a:pt x="420316" y="55449"/>
                  </a:lnTo>
                  <a:lnTo>
                    <a:pt x="430992" y="51518"/>
                  </a:lnTo>
                  <a:lnTo>
                    <a:pt x="423138" y="29665"/>
                  </a:lnTo>
                  <a:close/>
                </a:path>
                <a:path w="1189354" h="1684020" extrusionOk="0">
                  <a:moveTo>
                    <a:pt x="752238" y="25100"/>
                  </a:moveTo>
                  <a:lnTo>
                    <a:pt x="745013" y="47141"/>
                  </a:lnTo>
                  <a:lnTo>
                    <a:pt x="755828" y="50793"/>
                  </a:lnTo>
                  <a:lnTo>
                    <a:pt x="766583" y="54707"/>
                  </a:lnTo>
                  <a:lnTo>
                    <a:pt x="777261" y="58871"/>
                  </a:lnTo>
                  <a:lnTo>
                    <a:pt x="787839" y="63277"/>
                  </a:lnTo>
                  <a:lnTo>
                    <a:pt x="796949" y="42011"/>
                  </a:lnTo>
                  <a:lnTo>
                    <a:pt x="785943" y="37420"/>
                  </a:lnTo>
                  <a:lnTo>
                    <a:pt x="774790" y="33057"/>
                  </a:lnTo>
                  <a:lnTo>
                    <a:pt x="763539" y="28942"/>
                  </a:lnTo>
                  <a:lnTo>
                    <a:pt x="752238" y="25100"/>
                  </a:lnTo>
                  <a:close/>
                </a:path>
                <a:path w="1189354" h="1684020" extrusionOk="0">
                  <a:moveTo>
                    <a:pt x="515806" y="6096"/>
                  </a:moveTo>
                  <a:lnTo>
                    <a:pt x="504088" y="8055"/>
                  </a:lnTo>
                  <a:lnTo>
                    <a:pt x="492351" y="10326"/>
                  </a:lnTo>
                  <a:lnTo>
                    <a:pt x="480614" y="12895"/>
                  </a:lnTo>
                  <a:lnTo>
                    <a:pt x="468896" y="15750"/>
                  </a:lnTo>
                  <a:lnTo>
                    <a:pt x="474655" y="38168"/>
                  </a:lnTo>
                  <a:lnTo>
                    <a:pt x="485779" y="35458"/>
                  </a:lnTo>
                  <a:lnTo>
                    <a:pt x="496971" y="33019"/>
                  </a:lnTo>
                  <a:lnTo>
                    <a:pt x="508183" y="30859"/>
                  </a:lnTo>
                  <a:lnTo>
                    <a:pt x="519366" y="28985"/>
                  </a:lnTo>
                  <a:lnTo>
                    <a:pt x="515806" y="6096"/>
                  </a:lnTo>
                  <a:close/>
                </a:path>
                <a:path w="1189354" h="1684020" extrusionOk="0">
                  <a:moveTo>
                    <a:pt x="658943" y="4064"/>
                  </a:moveTo>
                  <a:lnTo>
                    <a:pt x="656011" y="27048"/>
                  </a:lnTo>
                  <a:lnTo>
                    <a:pt x="667257" y="28625"/>
                  </a:lnTo>
                  <a:lnTo>
                    <a:pt x="678523" y="30476"/>
                  </a:lnTo>
                  <a:lnTo>
                    <a:pt x="689789" y="32592"/>
                  </a:lnTo>
                  <a:lnTo>
                    <a:pt x="701036" y="34964"/>
                  </a:lnTo>
                  <a:lnTo>
                    <a:pt x="706062" y="12399"/>
                  </a:lnTo>
                  <a:lnTo>
                    <a:pt x="694326" y="9882"/>
                  </a:lnTo>
                  <a:lnTo>
                    <a:pt x="682542" y="7647"/>
                  </a:lnTo>
                  <a:lnTo>
                    <a:pt x="670737" y="5704"/>
                  </a:lnTo>
                  <a:lnTo>
                    <a:pt x="658943" y="4064"/>
                  </a:lnTo>
                  <a:close/>
                </a:path>
                <a:path w="1189354" h="1684020" extrusionOk="0">
                  <a:moveTo>
                    <a:pt x="586329" y="0"/>
                  </a:moveTo>
                  <a:lnTo>
                    <a:pt x="578644" y="182"/>
                  </a:lnTo>
                  <a:lnTo>
                    <a:pt x="570979" y="486"/>
                  </a:lnTo>
                  <a:lnTo>
                    <a:pt x="563344" y="912"/>
                  </a:lnTo>
                  <a:lnTo>
                    <a:pt x="564705" y="24011"/>
                  </a:lnTo>
                  <a:lnTo>
                    <a:pt x="572165" y="23626"/>
                  </a:lnTo>
                  <a:lnTo>
                    <a:pt x="579626" y="23352"/>
                  </a:lnTo>
                  <a:lnTo>
                    <a:pt x="587086" y="23187"/>
                  </a:lnTo>
                  <a:lnTo>
                    <a:pt x="610469" y="23187"/>
                  </a:lnTo>
                  <a:lnTo>
                    <a:pt x="611196" y="232"/>
                  </a:lnTo>
                  <a:lnTo>
                    <a:pt x="605541" y="43"/>
                  </a:lnTo>
                  <a:lnTo>
                    <a:pt x="586329" y="0"/>
                  </a:lnTo>
                  <a:close/>
                </a:path>
                <a:path w="1189354" h="1684020" extrusionOk="0">
                  <a:moveTo>
                    <a:pt x="610469" y="23187"/>
                  </a:moveTo>
                  <a:lnTo>
                    <a:pt x="587086" y="23187"/>
                  </a:lnTo>
                  <a:lnTo>
                    <a:pt x="605122" y="23215"/>
                  </a:lnTo>
                  <a:lnTo>
                    <a:pt x="610463" y="23383"/>
                  </a:lnTo>
                  <a:lnTo>
                    <a:pt x="610469" y="23187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114;p1"/>
            <p:cNvSpPr/>
            <p:nvPr/>
          </p:nvSpPr>
          <p:spPr>
            <a:xfrm>
              <a:off x="12464311" y="7980563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393A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115;p1"/>
            <p:cNvSpPr/>
            <p:nvPr/>
          </p:nvSpPr>
          <p:spPr>
            <a:xfrm>
              <a:off x="9346406" y="7911068"/>
              <a:ext cx="1987550" cy="2175510"/>
            </a:xfrm>
            <a:custGeom>
              <a:avLst/>
              <a:gdLst/>
              <a:ahLst/>
              <a:cxnLst/>
              <a:rect l="l" t="t" r="r" b="b"/>
              <a:pathLst>
                <a:path w="1987550" h="2175509" extrusionOk="0">
                  <a:moveTo>
                    <a:pt x="1987080" y="0"/>
                  </a:moveTo>
                  <a:lnTo>
                    <a:pt x="1940768" y="0"/>
                  </a:lnTo>
                  <a:lnTo>
                    <a:pt x="1940768" y="1225679"/>
                  </a:lnTo>
                  <a:lnTo>
                    <a:pt x="1939513" y="1273577"/>
                  </a:lnTo>
                  <a:lnTo>
                    <a:pt x="1935792" y="1320832"/>
                  </a:lnTo>
                  <a:lnTo>
                    <a:pt x="1929667" y="1367381"/>
                  </a:lnTo>
                  <a:lnTo>
                    <a:pt x="1921200" y="1413162"/>
                  </a:lnTo>
                  <a:lnTo>
                    <a:pt x="1910455" y="1458111"/>
                  </a:lnTo>
                  <a:lnTo>
                    <a:pt x="1897495" y="1502166"/>
                  </a:lnTo>
                  <a:lnTo>
                    <a:pt x="1882383" y="1545264"/>
                  </a:lnTo>
                  <a:lnTo>
                    <a:pt x="1865181" y="1587342"/>
                  </a:lnTo>
                  <a:lnTo>
                    <a:pt x="1845953" y="1628336"/>
                  </a:lnTo>
                  <a:lnTo>
                    <a:pt x="1824760" y="1668184"/>
                  </a:lnTo>
                  <a:lnTo>
                    <a:pt x="1801667" y="1706824"/>
                  </a:lnTo>
                  <a:lnTo>
                    <a:pt x="1776737" y="1744192"/>
                  </a:lnTo>
                  <a:lnTo>
                    <a:pt x="1750031" y="1780225"/>
                  </a:lnTo>
                  <a:lnTo>
                    <a:pt x="1721613" y="1814861"/>
                  </a:lnTo>
                  <a:lnTo>
                    <a:pt x="1691546" y="1848036"/>
                  </a:lnTo>
                  <a:lnTo>
                    <a:pt x="1659892" y="1879688"/>
                  </a:lnTo>
                  <a:lnTo>
                    <a:pt x="1626715" y="1909754"/>
                  </a:lnTo>
                  <a:lnTo>
                    <a:pt x="1592078" y="1938171"/>
                  </a:lnTo>
                  <a:lnTo>
                    <a:pt x="1556043" y="1964875"/>
                  </a:lnTo>
                  <a:lnTo>
                    <a:pt x="1518673" y="1989805"/>
                  </a:lnTo>
                  <a:lnTo>
                    <a:pt x="1480032" y="2012897"/>
                  </a:lnTo>
                  <a:lnTo>
                    <a:pt x="1440181" y="2034088"/>
                  </a:lnTo>
                  <a:lnTo>
                    <a:pt x="1399185" y="2053315"/>
                  </a:lnTo>
                  <a:lnTo>
                    <a:pt x="1357106" y="2070516"/>
                  </a:lnTo>
                  <a:lnTo>
                    <a:pt x="1314006" y="2085628"/>
                  </a:lnTo>
                  <a:lnTo>
                    <a:pt x="1269949" y="2098587"/>
                  </a:lnTo>
                  <a:lnTo>
                    <a:pt x="1224998" y="2109331"/>
                  </a:lnTo>
                  <a:lnTo>
                    <a:pt x="1179215" y="2117797"/>
                  </a:lnTo>
                  <a:lnTo>
                    <a:pt x="1132664" y="2123923"/>
                  </a:lnTo>
                  <a:lnTo>
                    <a:pt x="1085407" y="2127644"/>
                  </a:lnTo>
                  <a:lnTo>
                    <a:pt x="1037507" y="2128898"/>
                  </a:lnTo>
                  <a:lnTo>
                    <a:pt x="0" y="2128898"/>
                  </a:lnTo>
                  <a:lnTo>
                    <a:pt x="0" y="2175232"/>
                  </a:lnTo>
                  <a:lnTo>
                    <a:pt x="1037507" y="2175232"/>
                  </a:lnTo>
                  <a:lnTo>
                    <a:pt x="1086300" y="2173994"/>
                  </a:lnTo>
                  <a:lnTo>
                    <a:pt x="1134461" y="2170320"/>
                  </a:lnTo>
                  <a:lnTo>
                    <a:pt x="1181929" y="2164270"/>
                  </a:lnTo>
                  <a:lnTo>
                    <a:pt x="1228645" y="2155905"/>
                  </a:lnTo>
                  <a:lnTo>
                    <a:pt x="1274548" y="2145285"/>
                  </a:lnTo>
                  <a:lnTo>
                    <a:pt x="1319578" y="2132469"/>
                  </a:lnTo>
                  <a:lnTo>
                    <a:pt x="1363675" y="2117518"/>
                  </a:lnTo>
                  <a:lnTo>
                    <a:pt x="1406779" y="2100492"/>
                  </a:lnTo>
                  <a:lnTo>
                    <a:pt x="1448830" y="2081451"/>
                  </a:lnTo>
                  <a:lnTo>
                    <a:pt x="1489768" y="2060455"/>
                  </a:lnTo>
                  <a:lnTo>
                    <a:pt x="1529532" y="2037565"/>
                  </a:lnTo>
                  <a:lnTo>
                    <a:pt x="1568063" y="2012840"/>
                  </a:lnTo>
                  <a:lnTo>
                    <a:pt x="1605301" y="1986340"/>
                  </a:lnTo>
                  <a:lnTo>
                    <a:pt x="1641185" y="1958126"/>
                  </a:lnTo>
                  <a:lnTo>
                    <a:pt x="1675654" y="1928258"/>
                  </a:lnTo>
                  <a:lnTo>
                    <a:pt x="1708650" y="1896796"/>
                  </a:lnTo>
                  <a:lnTo>
                    <a:pt x="1740112" y="1863801"/>
                  </a:lnTo>
                  <a:lnTo>
                    <a:pt x="1769980" y="1829331"/>
                  </a:lnTo>
                  <a:lnTo>
                    <a:pt x="1798194" y="1793448"/>
                  </a:lnTo>
                  <a:lnTo>
                    <a:pt x="1824693" y="1756211"/>
                  </a:lnTo>
                  <a:lnTo>
                    <a:pt x="1849417" y="1717680"/>
                  </a:lnTo>
                  <a:lnTo>
                    <a:pt x="1872307" y="1677917"/>
                  </a:lnTo>
                  <a:lnTo>
                    <a:pt x="1893303" y="1636980"/>
                  </a:lnTo>
                  <a:lnTo>
                    <a:pt x="1912343" y="1594930"/>
                  </a:lnTo>
                  <a:lnTo>
                    <a:pt x="1929369" y="1551828"/>
                  </a:lnTo>
                  <a:lnTo>
                    <a:pt x="1944319" y="1507733"/>
                  </a:lnTo>
                  <a:lnTo>
                    <a:pt x="1957135" y="1462705"/>
                  </a:lnTo>
                  <a:lnTo>
                    <a:pt x="1967755" y="1416804"/>
                  </a:lnTo>
                  <a:lnTo>
                    <a:pt x="1976120" y="1370091"/>
                  </a:lnTo>
                  <a:lnTo>
                    <a:pt x="1982169" y="1322626"/>
                  </a:lnTo>
                  <a:lnTo>
                    <a:pt x="1985842" y="1274469"/>
                  </a:lnTo>
                  <a:lnTo>
                    <a:pt x="1987080" y="1225679"/>
                  </a:lnTo>
                  <a:lnTo>
                    <a:pt x="1987080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116;p1"/>
            <p:cNvSpPr/>
            <p:nvPr/>
          </p:nvSpPr>
          <p:spPr>
            <a:xfrm>
              <a:off x="16783919" y="8607025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8" y="4704"/>
                  </a:lnTo>
                  <a:lnTo>
                    <a:pt x="141436" y="18197"/>
                  </a:lnTo>
                  <a:lnTo>
                    <a:pt x="102098" y="39549"/>
                  </a:lnTo>
                  <a:lnTo>
                    <a:pt x="67825" y="67827"/>
                  </a:lnTo>
                  <a:lnTo>
                    <a:pt x="39547" y="102103"/>
                  </a:lnTo>
                  <a:lnTo>
                    <a:pt x="18197" y="141445"/>
                  </a:lnTo>
                  <a:lnTo>
                    <a:pt x="4704" y="184922"/>
                  </a:lnTo>
                  <a:lnTo>
                    <a:pt x="0" y="231605"/>
                  </a:lnTo>
                  <a:lnTo>
                    <a:pt x="4704" y="278280"/>
                  </a:lnTo>
                  <a:lnTo>
                    <a:pt x="18197" y="321750"/>
                  </a:lnTo>
                  <a:lnTo>
                    <a:pt x="39547" y="361085"/>
                  </a:lnTo>
                  <a:lnTo>
                    <a:pt x="67825" y="395354"/>
                  </a:lnTo>
                  <a:lnTo>
                    <a:pt x="102098" y="423627"/>
                  </a:lnTo>
                  <a:lnTo>
                    <a:pt x="141436" y="444974"/>
                  </a:lnTo>
                  <a:lnTo>
                    <a:pt x="184908" y="458465"/>
                  </a:lnTo>
                  <a:lnTo>
                    <a:pt x="231584" y="463169"/>
                  </a:lnTo>
                  <a:lnTo>
                    <a:pt x="278258" y="458465"/>
                  </a:lnTo>
                  <a:lnTo>
                    <a:pt x="321731" y="444974"/>
                  </a:lnTo>
                  <a:lnTo>
                    <a:pt x="361072" y="423627"/>
                  </a:lnTo>
                  <a:lnTo>
                    <a:pt x="395350" y="395354"/>
                  </a:lnTo>
                  <a:lnTo>
                    <a:pt x="423632" y="361085"/>
                  </a:lnTo>
                  <a:lnTo>
                    <a:pt x="444987" y="321750"/>
                  </a:lnTo>
                  <a:lnTo>
                    <a:pt x="458484" y="278280"/>
                  </a:lnTo>
                  <a:lnTo>
                    <a:pt x="463190" y="231605"/>
                  </a:lnTo>
                  <a:lnTo>
                    <a:pt x="458484" y="184922"/>
                  </a:lnTo>
                  <a:lnTo>
                    <a:pt x="444987" y="141445"/>
                  </a:lnTo>
                  <a:lnTo>
                    <a:pt x="423632" y="102103"/>
                  </a:lnTo>
                  <a:lnTo>
                    <a:pt x="395350" y="67827"/>
                  </a:lnTo>
                  <a:lnTo>
                    <a:pt x="361072" y="39549"/>
                  </a:lnTo>
                  <a:lnTo>
                    <a:pt x="321731" y="18197"/>
                  </a:lnTo>
                  <a:lnTo>
                    <a:pt x="278258" y="4704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117;p1"/>
            <p:cNvSpPr/>
            <p:nvPr/>
          </p:nvSpPr>
          <p:spPr>
            <a:xfrm>
              <a:off x="15066273" y="5884585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5" y="4704"/>
                  </a:lnTo>
                  <a:lnTo>
                    <a:pt x="141432" y="18195"/>
                  </a:lnTo>
                  <a:lnTo>
                    <a:pt x="102093" y="39544"/>
                  </a:lnTo>
                  <a:lnTo>
                    <a:pt x="67821" y="67818"/>
                  </a:lnTo>
                  <a:lnTo>
                    <a:pt x="39545" y="102088"/>
                  </a:lnTo>
                  <a:lnTo>
                    <a:pt x="18195" y="141423"/>
                  </a:lnTo>
                  <a:lnTo>
                    <a:pt x="4704" y="184891"/>
                  </a:lnTo>
                  <a:lnTo>
                    <a:pt x="0" y="231563"/>
                  </a:lnTo>
                  <a:lnTo>
                    <a:pt x="4704" y="278237"/>
                  </a:lnTo>
                  <a:lnTo>
                    <a:pt x="18195" y="321712"/>
                  </a:lnTo>
                  <a:lnTo>
                    <a:pt x="39545" y="361055"/>
                  </a:lnTo>
                  <a:lnTo>
                    <a:pt x="67821" y="395334"/>
                  </a:lnTo>
                  <a:lnTo>
                    <a:pt x="102093" y="423618"/>
                  </a:lnTo>
                  <a:lnTo>
                    <a:pt x="141432" y="444975"/>
                  </a:lnTo>
                  <a:lnTo>
                    <a:pt x="184905" y="458473"/>
                  </a:lnTo>
                  <a:lnTo>
                    <a:pt x="231584" y="463179"/>
                  </a:lnTo>
                  <a:lnTo>
                    <a:pt x="278256" y="458473"/>
                  </a:lnTo>
                  <a:lnTo>
                    <a:pt x="321726" y="444975"/>
                  </a:lnTo>
                  <a:lnTo>
                    <a:pt x="361062" y="423618"/>
                  </a:lnTo>
                  <a:lnTo>
                    <a:pt x="395334" y="395334"/>
                  </a:lnTo>
                  <a:lnTo>
                    <a:pt x="423611" y="361055"/>
                  </a:lnTo>
                  <a:lnTo>
                    <a:pt x="444961" y="321712"/>
                  </a:lnTo>
                  <a:lnTo>
                    <a:pt x="458454" y="278237"/>
                  </a:lnTo>
                  <a:lnTo>
                    <a:pt x="463158" y="231563"/>
                  </a:lnTo>
                  <a:lnTo>
                    <a:pt x="458454" y="184891"/>
                  </a:lnTo>
                  <a:lnTo>
                    <a:pt x="444961" y="141423"/>
                  </a:lnTo>
                  <a:lnTo>
                    <a:pt x="423611" y="102088"/>
                  </a:lnTo>
                  <a:lnTo>
                    <a:pt x="395334" y="67818"/>
                  </a:lnTo>
                  <a:lnTo>
                    <a:pt x="361062" y="39544"/>
                  </a:lnTo>
                  <a:lnTo>
                    <a:pt x="321726" y="18195"/>
                  </a:lnTo>
                  <a:lnTo>
                    <a:pt x="278256" y="4704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393A7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118;p1"/>
            <p:cNvSpPr/>
            <p:nvPr/>
          </p:nvSpPr>
          <p:spPr>
            <a:xfrm>
              <a:off x="2" y="7546314"/>
              <a:ext cx="2192020" cy="2604770"/>
            </a:xfrm>
            <a:custGeom>
              <a:avLst/>
              <a:gdLst/>
              <a:ahLst/>
              <a:cxnLst/>
              <a:rect l="l" t="t" r="r" b="b"/>
              <a:pathLst>
                <a:path w="2192020" h="2604770" extrusionOk="0">
                  <a:moveTo>
                    <a:pt x="0" y="2431601"/>
                  </a:moveTo>
                  <a:lnTo>
                    <a:pt x="0" y="2485987"/>
                  </a:lnTo>
                  <a:lnTo>
                    <a:pt x="43036" y="2509938"/>
                  </a:lnTo>
                  <a:lnTo>
                    <a:pt x="87401" y="2531397"/>
                  </a:lnTo>
                  <a:lnTo>
                    <a:pt x="133016" y="2550277"/>
                  </a:lnTo>
                  <a:lnTo>
                    <a:pt x="179797" y="2566492"/>
                  </a:lnTo>
                  <a:lnTo>
                    <a:pt x="227665" y="2579953"/>
                  </a:lnTo>
                  <a:lnTo>
                    <a:pt x="276538" y="2590574"/>
                  </a:lnTo>
                  <a:lnTo>
                    <a:pt x="326334" y="2598268"/>
                  </a:lnTo>
                  <a:lnTo>
                    <a:pt x="376973" y="2602948"/>
                  </a:lnTo>
                  <a:lnTo>
                    <a:pt x="428374" y="2604528"/>
                  </a:lnTo>
                  <a:lnTo>
                    <a:pt x="482203" y="2602795"/>
                  </a:lnTo>
                  <a:lnTo>
                    <a:pt x="535190" y="2597665"/>
                  </a:lnTo>
                  <a:lnTo>
                    <a:pt x="587243" y="2589237"/>
                  </a:lnTo>
                  <a:lnTo>
                    <a:pt x="638269" y="2577609"/>
                  </a:lnTo>
                  <a:lnTo>
                    <a:pt x="688175" y="2562883"/>
                  </a:lnTo>
                  <a:lnTo>
                    <a:pt x="701056" y="2558194"/>
                  </a:lnTo>
                  <a:lnTo>
                    <a:pt x="428374" y="2558194"/>
                  </a:lnTo>
                  <a:lnTo>
                    <a:pt x="376630" y="2556499"/>
                  </a:lnTo>
                  <a:lnTo>
                    <a:pt x="325709" y="2551480"/>
                  </a:lnTo>
                  <a:lnTo>
                    <a:pt x="275703" y="2543237"/>
                  </a:lnTo>
                  <a:lnTo>
                    <a:pt x="226702" y="2531868"/>
                  </a:lnTo>
                  <a:lnTo>
                    <a:pt x="178799" y="2517472"/>
                  </a:lnTo>
                  <a:lnTo>
                    <a:pt x="132085" y="2500148"/>
                  </a:lnTo>
                  <a:lnTo>
                    <a:pt x="86653" y="2479996"/>
                  </a:lnTo>
                  <a:lnTo>
                    <a:pt x="42594" y="2457114"/>
                  </a:lnTo>
                  <a:lnTo>
                    <a:pt x="0" y="2431601"/>
                  </a:lnTo>
                  <a:close/>
                </a:path>
                <a:path w="2192020" h="2604770" extrusionOk="0">
                  <a:moveTo>
                    <a:pt x="2191818" y="0"/>
                  </a:moveTo>
                  <a:lnTo>
                    <a:pt x="2141209" y="1243"/>
                  </a:lnTo>
                  <a:lnTo>
                    <a:pt x="2091304" y="4932"/>
                  </a:lnTo>
                  <a:lnTo>
                    <a:pt x="2042175" y="11001"/>
                  </a:lnTo>
                  <a:lnTo>
                    <a:pt x="1993891" y="19386"/>
                  </a:lnTo>
                  <a:lnTo>
                    <a:pt x="1946523" y="30023"/>
                  </a:lnTo>
                  <a:lnTo>
                    <a:pt x="1900144" y="42846"/>
                  </a:lnTo>
                  <a:lnTo>
                    <a:pt x="1854823" y="57792"/>
                  </a:lnTo>
                  <a:lnTo>
                    <a:pt x="1810633" y="74796"/>
                  </a:lnTo>
                  <a:lnTo>
                    <a:pt x="1767643" y="93793"/>
                  </a:lnTo>
                  <a:lnTo>
                    <a:pt x="1725925" y="114719"/>
                  </a:lnTo>
                  <a:lnTo>
                    <a:pt x="1685550" y="137510"/>
                  </a:lnTo>
                  <a:lnTo>
                    <a:pt x="1646588" y="162101"/>
                  </a:lnTo>
                  <a:lnTo>
                    <a:pt x="1609112" y="188428"/>
                  </a:lnTo>
                  <a:lnTo>
                    <a:pt x="1573191" y="216426"/>
                  </a:lnTo>
                  <a:lnTo>
                    <a:pt x="1538898" y="246030"/>
                  </a:lnTo>
                  <a:lnTo>
                    <a:pt x="1506302" y="277177"/>
                  </a:lnTo>
                  <a:lnTo>
                    <a:pt x="1475475" y="309801"/>
                  </a:lnTo>
                  <a:lnTo>
                    <a:pt x="1446488" y="343838"/>
                  </a:lnTo>
                  <a:lnTo>
                    <a:pt x="1419412" y="379225"/>
                  </a:lnTo>
                  <a:lnTo>
                    <a:pt x="1394318" y="415895"/>
                  </a:lnTo>
                  <a:lnTo>
                    <a:pt x="1371276" y="453786"/>
                  </a:lnTo>
                  <a:lnTo>
                    <a:pt x="1350359" y="492831"/>
                  </a:lnTo>
                  <a:lnTo>
                    <a:pt x="1331637" y="532968"/>
                  </a:lnTo>
                  <a:lnTo>
                    <a:pt x="1315180" y="574131"/>
                  </a:lnTo>
                  <a:lnTo>
                    <a:pt x="1301061" y="616256"/>
                  </a:lnTo>
                  <a:lnTo>
                    <a:pt x="1289349" y="659278"/>
                  </a:lnTo>
                  <a:lnTo>
                    <a:pt x="1280117" y="703134"/>
                  </a:lnTo>
                  <a:lnTo>
                    <a:pt x="1273434" y="747757"/>
                  </a:lnTo>
                  <a:lnTo>
                    <a:pt x="1269372" y="793085"/>
                  </a:lnTo>
                  <a:lnTo>
                    <a:pt x="1268003" y="839052"/>
                  </a:lnTo>
                  <a:lnTo>
                    <a:pt x="1268003" y="1654965"/>
                  </a:lnTo>
                  <a:lnTo>
                    <a:pt x="1266568" y="1708080"/>
                  </a:lnTo>
                  <a:lnTo>
                    <a:pt x="1262318" y="1760395"/>
                  </a:lnTo>
                  <a:lnTo>
                    <a:pt x="1255332" y="1811824"/>
                  </a:lnTo>
                  <a:lnTo>
                    <a:pt x="1245690" y="1862280"/>
                  </a:lnTo>
                  <a:lnTo>
                    <a:pt x="1233472" y="1911679"/>
                  </a:lnTo>
                  <a:lnTo>
                    <a:pt x="1218757" y="1959933"/>
                  </a:lnTo>
                  <a:lnTo>
                    <a:pt x="1201627" y="2006957"/>
                  </a:lnTo>
                  <a:lnTo>
                    <a:pt x="1182159" y="2052666"/>
                  </a:lnTo>
                  <a:lnTo>
                    <a:pt x="1160435" y="2096972"/>
                  </a:lnTo>
                  <a:lnTo>
                    <a:pt x="1136535" y="2139791"/>
                  </a:lnTo>
                  <a:lnTo>
                    <a:pt x="1110537" y="2181037"/>
                  </a:lnTo>
                  <a:lnTo>
                    <a:pt x="1082522" y="2220623"/>
                  </a:lnTo>
                  <a:lnTo>
                    <a:pt x="1052570" y="2258464"/>
                  </a:lnTo>
                  <a:lnTo>
                    <a:pt x="1020761" y="2294473"/>
                  </a:lnTo>
                  <a:lnTo>
                    <a:pt x="987175" y="2328566"/>
                  </a:lnTo>
                  <a:lnTo>
                    <a:pt x="951890" y="2360655"/>
                  </a:lnTo>
                  <a:lnTo>
                    <a:pt x="914988" y="2390655"/>
                  </a:lnTo>
                  <a:lnTo>
                    <a:pt x="876549" y="2418481"/>
                  </a:lnTo>
                  <a:lnTo>
                    <a:pt x="841990" y="2440806"/>
                  </a:lnTo>
                  <a:lnTo>
                    <a:pt x="784648" y="2472790"/>
                  </a:lnTo>
                  <a:lnTo>
                    <a:pt x="737522" y="2494764"/>
                  </a:lnTo>
                  <a:lnTo>
                    <a:pt x="688962" y="2513671"/>
                  </a:lnTo>
                  <a:lnTo>
                    <a:pt x="639074" y="2529395"/>
                  </a:lnTo>
                  <a:lnTo>
                    <a:pt x="587966" y="2541824"/>
                  </a:lnTo>
                  <a:lnTo>
                    <a:pt x="535742" y="2550842"/>
                  </a:lnTo>
                  <a:lnTo>
                    <a:pt x="482510" y="2556337"/>
                  </a:lnTo>
                  <a:lnTo>
                    <a:pt x="428374" y="2558194"/>
                  </a:lnTo>
                  <a:lnTo>
                    <a:pt x="701056" y="2558194"/>
                  </a:lnTo>
                  <a:lnTo>
                    <a:pt x="736866" y="2545158"/>
                  </a:lnTo>
                  <a:lnTo>
                    <a:pt x="784251" y="2524532"/>
                  </a:lnTo>
                  <a:lnTo>
                    <a:pt x="830236" y="2501107"/>
                  </a:lnTo>
                  <a:lnTo>
                    <a:pt x="865133" y="2480915"/>
                  </a:lnTo>
                  <a:lnTo>
                    <a:pt x="915159" y="2448012"/>
                  </a:lnTo>
                  <a:lnTo>
                    <a:pt x="952414" y="2420167"/>
                  </a:lnTo>
                  <a:lnTo>
                    <a:pt x="988248" y="2390366"/>
                  </a:lnTo>
                  <a:lnTo>
                    <a:pt x="1022593" y="2358684"/>
                  </a:lnTo>
                  <a:lnTo>
                    <a:pt x="1055380" y="2325191"/>
                  </a:lnTo>
                  <a:lnTo>
                    <a:pt x="1086543" y="2289961"/>
                  </a:lnTo>
                  <a:lnTo>
                    <a:pt x="1116014" y="2253067"/>
                  </a:lnTo>
                  <a:lnTo>
                    <a:pt x="1143724" y="2214580"/>
                  </a:lnTo>
                  <a:lnTo>
                    <a:pt x="1169606" y="2174574"/>
                  </a:lnTo>
                  <a:lnTo>
                    <a:pt x="1193593" y="2133120"/>
                  </a:lnTo>
                  <a:lnTo>
                    <a:pt x="1215616" y="2090293"/>
                  </a:lnTo>
                  <a:lnTo>
                    <a:pt x="1235609" y="2046163"/>
                  </a:lnTo>
                  <a:lnTo>
                    <a:pt x="1253503" y="2000804"/>
                  </a:lnTo>
                  <a:lnTo>
                    <a:pt x="1269231" y="1954288"/>
                  </a:lnTo>
                  <a:lnTo>
                    <a:pt x="1282725" y="1906688"/>
                  </a:lnTo>
                  <a:lnTo>
                    <a:pt x="1293917" y="1858077"/>
                  </a:lnTo>
                  <a:lnTo>
                    <a:pt x="1302740" y="1808526"/>
                  </a:lnTo>
                  <a:lnTo>
                    <a:pt x="1309126" y="1758109"/>
                  </a:lnTo>
                  <a:lnTo>
                    <a:pt x="1313007" y="1706897"/>
                  </a:lnTo>
                  <a:lnTo>
                    <a:pt x="1314316" y="1654965"/>
                  </a:lnTo>
                  <a:lnTo>
                    <a:pt x="1314316" y="839052"/>
                  </a:lnTo>
                  <a:lnTo>
                    <a:pt x="1315707" y="794135"/>
                  </a:lnTo>
                  <a:lnTo>
                    <a:pt x="1319833" y="749867"/>
                  </a:lnTo>
                  <a:lnTo>
                    <a:pt x="1326619" y="706315"/>
                  </a:lnTo>
                  <a:lnTo>
                    <a:pt x="1335988" y="663547"/>
                  </a:lnTo>
                  <a:lnTo>
                    <a:pt x="1347868" y="621630"/>
                  </a:lnTo>
                  <a:lnTo>
                    <a:pt x="1362183" y="580631"/>
                  </a:lnTo>
                  <a:lnTo>
                    <a:pt x="1378859" y="540619"/>
                  </a:lnTo>
                  <a:lnTo>
                    <a:pt x="1397821" y="501660"/>
                  </a:lnTo>
                  <a:lnTo>
                    <a:pt x="1418994" y="463822"/>
                  </a:lnTo>
                  <a:lnTo>
                    <a:pt x="1442304" y="427172"/>
                  </a:lnTo>
                  <a:lnTo>
                    <a:pt x="1467675" y="391779"/>
                  </a:lnTo>
                  <a:lnTo>
                    <a:pt x="1495034" y="357708"/>
                  </a:lnTo>
                  <a:lnTo>
                    <a:pt x="1524305" y="325028"/>
                  </a:lnTo>
                  <a:lnTo>
                    <a:pt x="1555414" y="293806"/>
                  </a:lnTo>
                  <a:lnTo>
                    <a:pt x="1588287" y="264110"/>
                  </a:lnTo>
                  <a:lnTo>
                    <a:pt x="1622848" y="236007"/>
                  </a:lnTo>
                  <a:lnTo>
                    <a:pt x="1659023" y="209564"/>
                  </a:lnTo>
                  <a:lnTo>
                    <a:pt x="1696736" y="184849"/>
                  </a:lnTo>
                  <a:lnTo>
                    <a:pt x="1735915" y="161929"/>
                  </a:lnTo>
                  <a:lnTo>
                    <a:pt x="1776483" y="140873"/>
                  </a:lnTo>
                  <a:lnTo>
                    <a:pt x="1818367" y="121746"/>
                  </a:lnTo>
                  <a:lnTo>
                    <a:pt x="1861490" y="104617"/>
                  </a:lnTo>
                  <a:lnTo>
                    <a:pt x="1905780" y="89553"/>
                  </a:lnTo>
                  <a:lnTo>
                    <a:pt x="1951161" y="76622"/>
                  </a:lnTo>
                  <a:lnTo>
                    <a:pt x="1997558" y="65890"/>
                  </a:lnTo>
                  <a:lnTo>
                    <a:pt x="2044897" y="57426"/>
                  </a:lnTo>
                  <a:lnTo>
                    <a:pt x="2093103" y="51297"/>
                  </a:lnTo>
                  <a:lnTo>
                    <a:pt x="2142101" y="47570"/>
                  </a:lnTo>
                  <a:lnTo>
                    <a:pt x="2191818" y="46312"/>
                  </a:lnTo>
                  <a:lnTo>
                    <a:pt x="2191818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119;p1"/>
            <p:cNvSpPr/>
            <p:nvPr/>
          </p:nvSpPr>
          <p:spPr>
            <a:xfrm>
              <a:off x="4746044" y="7089092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120;p1"/>
            <p:cNvSpPr/>
            <p:nvPr/>
          </p:nvSpPr>
          <p:spPr>
            <a:xfrm>
              <a:off x="2262904" y="7147008"/>
              <a:ext cx="2506345" cy="4854575"/>
            </a:xfrm>
            <a:custGeom>
              <a:avLst/>
              <a:gdLst/>
              <a:ahLst/>
              <a:cxnLst/>
              <a:rect l="l" t="t" r="r" b="b"/>
              <a:pathLst>
                <a:path w="2506345" h="4854575" extrusionOk="0">
                  <a:moveTo>
                    <a:pt x="1631992" y="4830376"/>
                  </a:moveTo>
                  <a:lnTo>
                    <a:pt x="1662127" y="4854155"/>
                  </a:lnTo>
                  <a:lnTo>
                    <a:pt x="1672807" y="4854093"/>
                  </a:lnTo>
                  <a:lnTo>
                    <a:pt x="1678095" y="4853967"/>
                  </a:lnTo>
                  <a:lnTo>
                    <a:pt x="1677606" y="4830931"/>
                  </a:lnTo>
                  <a:lnTo>
                    <a:pt x="1655567" y="4830927"/>
                  </a:lnTo>
                  <a:lnTo>
                    <a:pt x="1639841" y="4830632"/>
                  </a:lnTo>
                  <a:lnTo>
                    <a:pt x="1631992" y="4830376"/>
                  </a:lnTo>
                  <a:close/>
                </a:path>
                <a:path w="2506345" h="4854575" extrusionOk="0">
                  <a:moveTo>
                    <a:pt x="1677603" y="4830805"/>
                  </a:moveTo>
                  <a:lnTo>
                    <a:pt x="1672881" y="4830931"/>
                  </a:lnTo>
                  <a:lnTo>
                    <a:pt x="1677606" y="4830931"/>
                  </a:lnTo>
                  <a:close/>
                </a:path>
                <a:path w="2506345" h="4854575" extrusionOk="0">
                  <a:moveTo>
                    <a:pt x="1768469" y="4823329"/>
                  </a:moveTo>
                  <a:lnTo>
                    <a:pt x="1757209" y="4824882"/>
                  </a:lnTo>
                  <a:lnTo>
                    <a:pt x="1745903" y="4826253"/>
                  </a:lnTo>
                  <a:lnTo>
                    <a:pt x="1734548" y="4827455"/>
                  </a:lnTo>
                  <a:lnTo>
                    <a:pt x="1723141" y="4828502"/>
                  </a:lnTo>
                  <a:lnTo>
                    <a:pt x="1725046" y="4851569"/>
                  </a:lnTo>
                  <a:lnTo>
                    <a:pt x="1736798" y="4850512"/>
                  </a:lnTo>
                  <a:lnTo>
                    <a:pt x="1748504" y="4849275"/>
                  </a:lnTo>
                  <a:lnTo>
                    <a:pt x="1760159" y="4847863"/>
                  </a:lnTo>
                  <a:lnTo>
                    <a:pt x="1771757" y="4846281"/>
                  </a:lnTo>
                  <a:lnTo>
                    <a:pt x="1768469" y="4823329"/>
                  </a:lnTo>
                  <a:close/>
                </a:path>
                <a:path w="2506345" h="4854575" extrusionOk="0">
                  <a:moveTo>
                    <a:pt x="1541293" y="4821120"/>
                  </a:moveTo>
                  <a:lnTo>
                    <a:pt x="1572432" y="4848905"/>
                  </a:lnTo>
                  <a:lnTo>
                    <a:pt x="1584161" y="4850187"/>
                  </a:lnTo>
                  <a:lnTo>
                    <a:pt x="1586475" y="4827151"/>
                  </a:lnTo>
                  <a:lnTo>
                    <a:pt x="1575136" y="4825892"/>
                  </a:lnTo>
                  <a:lnTo>
                    <a:pt x="1563829" y="4824469"/>
                  </a:lnTo>
                  <a:lnTo>
                    <a:pt x="1552549" y="4822879"/>
                  </a:lnTo>
                  <a:lnTo>
                    <a:pt x="1541293" y="4821120"/>
                  </a:lnTo>
                  <a:close/>
                </a:path>
                <a:path w="2506345" h="4854575" extrusionOk="0">
                  <a:moveTo>
                    <a:pt x="1857723" y="4804837"/>
                  </a:moveTo>
                  <a:lnTo>
                    <a:pt x="1846722" y="4807756"/>
                  </a:lnTo>
                  <a:lnTo>
                    <a:pt x="1835662" y="4810506"/>
                  </a:lnTo>
                  <a:lnTo>
                    <a:pt x="1824550" y="4813082"/>
                  </a:lnTo>
                  <a:lnTo>
                    <a:pt x="1813389" y="4815476"/>
                  </a:lnTo>
                  <a:lnTo>
                    <a:pt x="1818101" y="4838177"/>
                  </a:lnTo>
                  <a:lnTo>
                    <a:pt x="1829610" y="4835677"/>
                  </a:lnTo>
                  <a:lnTo>
                    <a:pt x="1841065" y="4833016"/>
                  </a:lnTo>
                  <a:lnTo>
                    <a:pt x="1852467" y="4830192"/>
                  </a:lnTo>
                  <a:lnTo>
                    <a:pt x="1863817" y="4827203"/>
                  </a:lnTo>
                  <a:lnTo>
                    <a:pt x="1857723" y="4804837"/>
                  </a:lnTo>
                  <a:close/>
                </a:path>
                <a:path w="2506345" h="4854575" extrusionOk="0">
                  <a:moveTo>
                    <a:pt x="1452374" y="4800817"/>
                  </a:moveTo>
                  <a:lnTo>
                    <a:pt x="1479933" y="4832205"/>
                  </a:lnTo>
                  <a:lnTo>
                    <a:pt x="1491399" y="4834920"/>
                  </a:lnTo>
                  <a:lnTo>
                    <a:pt x="1496561" y="4812377"/>
                  </a:lnTo>
                  <a:lnTo>
                    <a:pt x="1485428" y="4809722"/>
                  </a:lnTo>
                  <a:lnTo>
                    <a:pt x="1474350" y="4806919"/>
                  </a:lnTo>
                  <a:lnTo>
                    <a:pt x="1463331" y="4803954"/>
                  </a:lnTo>
                  <a:lnTo>
                    <a:pt x="1452374" y="4800817"/>
                  </a:lnTo>
                  <a:close/>
                </a:path>
                <a:path w="2506345" h="4854575" extrusionOk="0">
                  <a:moveTo>
                    <a:pt x="1943972" y="4775624"/>
                  </a:moveTo>
                  <a:lnTo>
                    <a:pt x="1933392" y="4779836"/>
                  </a:lnTo>
                  <a:lnTo>
                    <a:pt x="1922750" y="4783897"/>
                  </a:lnTo>
                  <a:lnTo>
                    <a:pt x="1912049" y="4787803"/>
                  </a:lnTo>
                  <a:lnTo>
                    <a:pt x="1901292" y="4791550"/>
                  </a:lnTo>
                  <a:lnTo>
                    <a:pt x="1908674" y="4813507"/>
                  </a:lnTo>
                  <a:lnTo>
                    <a:pt x="1919786" y="4809631"/>
                  </a:lnTo>
                  <a:lnTo>
                    <a:pt x="1930832" y="4805602"/>
                  </a:lnTo>
                  <a:lnTo>
                    <a:pt x="1941809" y="4801415"/>
                  </a:lnTo>
                  <a:lnTo>
                    <a:pt x="1952715" y="4797068"/>
                  </a:lnTo>
                  <a:lnTo>
                    <a:pt x="1943972" y="4775624"/>
                  </a:lnTo>
                  <a:close/>
                </a:path>
                <a:path w="2506345" h="4854575" extrusionOk="0">
                  <a:moveTo>
                    <a:pt x="1366513" y="4769854"/>
                  </a:moveTo>
                  <a:lnTo>
                    <a:pt x="1390044" y="4804348"/>
                  </a:lnTo>
                  <a:lnTo>
                    <a:pt x="1401067" y="4808439"/>
                  </a:lnTo>
                  <a:lnTo>
                    <a:pt x="1408941" y="4786660"/>
                  </a:lnTo>
                  <a:lnTo>
                    <a:pt x="1398252" y="4782694"/>
                  </a:lnTo>
                  <a:lnTo>
                    <a:pt x="1387613" y="4778571"/>
                  </a:lnTo>
                  <a:lnTo>
                    <a:pt x="1377031" y="4774291"/>
                  </a:lnTo>
                  <a:lnTo>
                    <a:pt x="1366513" y="4769854"/>
                  </a:lnTo>
                  <a:close/>
                </a:path>
                <a:path w="2506345" h="4854575" extrusionOk="0">
                  <a:moveTo>
                    <a:pt x="2026252" y="4736285"/>
                  </a:moveTo>
                  <a:lnTo>
                    <a:pt x="2016213" y="4741738"/>
                  </a:lnTo>
                  <a:lnTo>
                    <a:pt x="2006106" y="4747038"/>
                  </a:lnTo>
                  <a:lnTo>
                    <a:pt x="1995928" y="4752181"/>
                  </a:lnTo>
                  <a:lnTo>
                    <a:pt x="1985677" y="4757164"/>
                  </a:lnTo>
                  <a:lnTo>
                    <a:pt x="1995677" y="4778063"/>
                  </a:lnTo>
                  <a:lnTo>
                    <a:pt x="2006229" y="4772929"/>
                  </a:lnTo>
                  <a:lnTo>
                    <a:pt x="2016713" y="4767628"/>
                  </a:lnTo>
                  <a:lnTo>
                    <a:pt x="2027126" y="4762168"/>
                  </a:lnTo>
                  <a:lnTo>
                    <a:pt x="2037466" y="4756556"/>
                  </a:lnTo>
                  <a:lnTo>
                    <a:pt x="2026252" y="4736285"/>
                  </a:lnTo>
                  <a:close/>
                </a:path>
                <a:path w="2506345" h="4854575" extrusionOk="0">
                  <a:moveTo>
                    <a:pt x="1284987" y="4728934"/>
                  </a:moveTo>
                  <a:lnTo>
                    <a:pt x="1273374" y="4748965"/>
                  </a:lnTo>
                  <a:lnTo>
                    <a:pt x="1283613" y="4754783"/>
                  </a:lnTo>
                  <a:lnTo>
                    <a:pt x="1293917" y="4760442"/>
                  </a:lnTo>
                  <a:lnTo>
                    <a:pt x="1304298" y="4765947"/>
                  </a:lnTo>
                  <a:lnTo>
                    <a:pt x="1314766" y="4771299"/>
                  </a:lnTo>
                  <a:lnTo>
                    <a:pt x="1325111" y="4750588"/>
                  </a:lnTo>
                  <a:lnTo>
                    <a:pt x="1314970" y="4745401"/>
                  </a:lnTo>
                  <a:lnTo>
                    <a:pt x="1304903" y="4740063"/>
                  </a:lnTo>
                  <a:lnTo>
                    <a:pt x="1294909" y="4734575"/>
                  </a:lnTo>
                  <a:lnTo>
                    <a:pt x="1284987" y="4728934"/>
                  </a:lnTo>
                  <a:close/>
                </a:path>
                <a:path w="2506345" h="4854575" extrusionOk="0">
                  <a:moveTo>
                    <a:pt x="2103569" y="4687585"/>
                  </a:moveTo>
                  <a:lnTo>
                    <a:pt x="2094185" y="4694165"/>
                  </a:lnTo>
                  <a:lnTo>
                    <a:pt x="2084723" y="4700596"/>
                  </a:lnTo>
                  <a:lnTo>
                    <a:pt x="2075184" y="4706887"/>
                  </a:lnTo>
                  <a:lnTo>
                    <a:pt x="2065570" y="4713050"/>
                  </a:lnTo>
                  <a:lnTo>
                    <a:pt x="2077936" y="4732651"/>
                  </a:lnTo>
                  <a:lnTo>
                    <a:pt x="2087823" y="4726311"/>
                  </a:lnTo>
                  <a:lnTo>
                    <a:pt x="2097629" y="4719834"/>
                  </a:lnTo>
                  <a:lnTo>
                    <a:pt x="2107353" y="4713213"/>
                  </a:lnTo>
                  <a:lnTo>
                    <a:pt x="2116993" y="4706443"/>
                  </a:lnTo>
                  <a:lnTo>
                    <a:pt x="2103569" y="4687585"/>
                  </a:lnTo>
                  <a:close/>
                </a:path>
                <a:path w="2506345" h="4854575" extrusionOk="0">
                  <a:moveTo>
                    <a:pt x="1208727" y="4678894"/>
                  </a:moveTo>
                  <a:lnTo>
                    <a:pt x="1194958" y="4697511"/>
                  </a:lnTo>
                  <a:lnTo>
                    <a:pt x="1204454" y="4704437"/>
                  </a:lnTo>
                  <a:lnTo>
                    <a:pt x="1214027" y="4711221"/>
                  </a:lnTo>
                  <a:lnTo>
                    <a:pt x="1223687" y="4717862"/>
                  </a:lnTo>
                  <a:lnTo>
                    <a:pt x="1233449" y="4724358"/>
                  </a:lnTo>
                  <a:lnTo>
                    <a:pt x="1246140" y="4704998"/>
                  </a:lnTo>
                  <a:lnTo>
                    <a:pt x="1236667" y="4698673"/>
                  </a:lnTo>
                  <a:lnTo>
                    <a:pt x="1227280" y="4692224"/>
                  </a:lnTo>
                  <a:lnTo>
                    <a:pt x="1217970" y="4685636"/>
                  </a:lnTo>
                  <a:lnTo>
                    <a:pt x="1208727" y="4678894"/>
                  </a:lnTo>
                  <a:close/>
                </a:path>
                <a:path w="2506345" h="4854575" extrusionOk="0">
                  <a:moveTo>
                    <a:pt x="2175043" y="4630497"/>
                  </a:moveTo>
                  <a:lnTo>
                    <a:pt x="2166436" y="4638071"/>
                  </a:lnTo>
                  <a:lnTo>
                    <a:pt x="2157737" y="4645522"/>
                  </a:lnTo>
                  <a:lnTo>
                    <a:pt x="2148948" y="4652845"/>
                  </a:lnTo>
                  <a:lnTo>
                    <a:pt x="2140070" y="4660036"/>
                  </a:lnTo>
                  <a:lnTo>
                    <a:pt x="2154552" y="4678119"/>
                  </a:lnTo>
                  <a:lnTo>
                    <a:pt x="2163662" y="4670729"/>
                  </a:lnTo>
                  <a:lnTo>
                    <a:pt x="2172687" y="4663210"/>
                  </a:lnTo>
                  <a:lnTo>
                    <a:pt x="2181619" y="4655559"/>
                  </a:lnTo>
                  <a:lnTo>
                    <a:pt x="2190446" y="4647774"/>
                  </a:lnTo>
                  <a:lnTo>
                    <a:pt x="2175043" y="4630497"/>
                  </a:lnTo>
                  <a:close/>
                </a:path>
                <a:path w="2506345" h="4854575" extrusionOk="0">
                  <a:moveTo>
                    <a:pt x="1138488" y="4620738"/>
                  </a:moveTo>
                  <a:lnTo>
                    <a:pt x="1122740" y="4637722"/>
                  </a:lnTo>
                  <a:lnTo>
                    <a:pt x="1131431" y="4645635"/>
                  </a:lnTo>
                  <a:lnTo>
                    <a:pt x="1140210" y="4653417"/>
                  </a:lnTo>
                  <a:lnTo>
                    <a:pt x="1149072" y="4661071"/>
                  </a:lnTo>
                  <a:lnTo>
                    <a:pt x="1158017" y="4668601"/>
                  </a:lnTo>
                  <a:lnTo>
                    <a:pt x="1172833" y="4650779"/>
                  </a:lnTo>
                  <a:lnTo>
                    <a:pt x="1164087" y="4643442"/>
                  </a:lnTo>
                  <a:lnTo>
                    <a:pt x="1155453" y="4635991"/>
                  </a:lnTo>
                  <a:lnTo>
                    <a:pt x="1146922" y="4628423"/>
                  </a:lnTo>
                  <a:lnTo>
                    <a:pt x="1138488" y="4620738"/>
                  </a:lnTo>
                  <a:close/>
                </a:path>
                <a:path w="2506345" h="4854575" extrusionOk="0">
                  <a:moveTo>
                    <a:pt x="2239973" y="4565955"/>
                  </a:moveTo>
                  <a:lnTo>
                    <a:pt x="2232232" y="4574388"/>
                  </a:lnTo>
                  <a:lnTo>
                    <a:pt x="2224385" y="4582724"/>
                  </a:lnTo>
                  <a:lnTo>
                    <a:pt x="2216431" y="4590957"/>
                  </a:lnTo>
                  <a:lnTo>
                    <a:pt x="2208372" y="4599085"/>
                  </a:lnTo>
                  <a:lnTo>
                    <a:pt x="2224717" y="4615513"/>
                  </a:lnTo>
                  <a:lnTo>
                    <a:pt x="2232961" y="4607176"/>
                  </a:lnTo>
                  <a:lnTo>
                    <a:pt x="2241120" y="4598722"/>
                  </a:lnTo>
                  <a:lnTo>
                    <a:pt x="2249192" y="4590156"/>
                  </a:lnTo>
                  <a:lnTo>
                    <a:pt x="2257177" y="4581483"/>
                  </a:lnTo>
                  <a:lnTo>
                    <a:pt x="2239973" y="4565955"/>
                  </a:lnTo>
                  <a:close/>
                </a:path>
                <a:path w="2506345" h="4854575" extrusionOk="0">
                  <a:moveTo>
                    <a:pt x="1074794" y="4555295"/>
                  </a:moveTo>
                  <a:lnTo>
                    <a:pt x="1057370" y="4570572"/>
                  </a:lnTo>
                  <a:lnTo>
                    <a:pt x="1065188" y="4579358"/>
                  </a:lnTo>
                  <a:lnTo>
                    <a:pt x="1073099" y="4588030"/>
                  </a:lnTo>
                  <a:lnTo>
                    <a:pt x="1081114" y="4596588"/>
                  </a:lnTo>
                  <a:lnTo>
                    <a:pt x="1089244" y="4605032"/>
                  </a:lnTo>
                  <a:lnTo>
                    <a:pt x="1105809" y="4588875"/>
                  </a:lnTo>
                  <a:lnTo>
                    <a:pt x="1097904" y="4580645"/>
                  </a:lnTo>
                  <a:lnTo>
                    <a:pt x="1090101" y="4572305"/>
                  </a:lnTo>
                  <a:lnTo>
                    <a:pt x="1082398" y="4563855"/>
                  </a:lnTo>
                  <a:lnTo>
                    <a:pt x="1074794" y="4555295"/>
                  </a:lnTo>
                  <a:close/>
                </a:path>
                <a:path w="2506345" h="4854575" extrusionOk="0">
                  <a:moveTo>
                    <a:pt x="2297804" y="4495088"/>
                  </a:moveTo>
                  <a:lnTo>
                    <a:pt x="2290967" y="4504277"/>
                  </a:lnTo>
                  <a:lnTo>
                    <a:pt x="2284023" y="4513374"/>
                  </a:lnTo>
                  <a:lnTo>
                    <a:pt x="2276967" y="4522374"/>
                  </a:lnTo>
                  <a:lnTo>
                    <a:pt x="2269794" y="4531275"/>
                  </a:lnTo>
                  <a:lnTo>
                    <a:pt x="2287752" y="4545903"/>
                  </a:lnTo>
                  <a:lnTo>
                    <a:pt x="2295095" y="4536790"/>
                  </a:lnTo>
                  <a:lnTo>
                    <a:pt x="2302329" y="4527565"/>
                  </a:lnTo>
                  <a:lnTo>
                    <a:pt x="2309455" y="4518231"/>
                  </a:lnTo>
                  <a:lnTo>
                    <a:pt x="2316473" y="4508794"/>
                  </a:lnTo>
                  <a:lnTo>
                    <a:pt x="2297804" y="4495088"/>
                  </a:lnTo>
                  <a:close/>
                </a:path>
                <a:path w="2506345" h="4854575" extrusionOk="0">
                  <a:moveTo>
                    <a:pt x="1018115" y="4483538"/>
                  </a:moveTo>
                  <a:lnTo>
                    <a:pt x="999247" y="4496931"/>
                  </a:lnTo>
                  <a:lnTo>
                    <a:pt x="1006104" y="4506467"/>
                  </a:lnTo>
                  <a:lnTo>
                    <a:pt x="1013083" y="4515912"/>
                  </a:lnTo>
                  <a:lnTo>
                    <a:pt x="1020169" y="4525258"/>
                  </a:lnTo>
                  <a:lnTo>
                    <a:pt x="1027350" y="4534500"/>
                  </a:lnTo>
                  <a:lnTo>
                    <a:pt x="1045528" y="4520124"/>
                  </a:lnTo>
                  <a:lnTo>
                    <a:pt x="1038521" y="4511134"/>
                  </a:lnTo>
                  <a:lnTo>
                    <a:pt x="1031617" y="4502039"/>
                  </a:lnTo>
                  <a:lnTo>
                    <a:pt x="1024816" y="4492840"/>
                  </a:lnTo>
                  <a:lnTo>
                    <a:pt x="1018115" y="4483538"/>
                  </a:lnTo>
                  <a:close/>
                </a:path>
                <a:path w="2506345" h="4854575" extrusionOk="0">
                  <a:moveTo>
                    <a:pt x="2348179" y="4418745"/>
                  </a:moveTo>
                  <a:lnTo>
                    <a:pt x="2342303" y="4428571"/>
                  </a:lnTo>
                  <a:lnTo>
                    <a:pt x="2336313" y="4438316"/>
                  </a:lnTo>
                  <a:lnTo>
                    <a:pt x="2330209" y="4447969"/>
                  </a:lnTo>
                  <a:lnTo>
                    <a:pt x="2323992" y="4457518"/>
                  </a:lnTo>
                  <a:lnTo>
                    <a:pt x="2343300" y="4470293"/>
                  </a:lnTo>
                  <a:lnTo>
                    <a:pt x="2349688" y="4460496"/>
                  </a:lnTo>
                  <a:lnTo>
                    <a:pt x="2355957" y="4450598"/>
                  </a:lnTo>
                  <a:lnTo>
                    <a:pt x="2362103" y="4440600"/>
                  </a:lnTo>
                  <a:lnTo>
                    <a:pt x="2368126" y="4430503"/>
                  </a:lnTo>
                  <a:lnTo>
                    <a:pt x="2348179" y="4418745"/>
                  </a:lnTo>
                  <a:close/>
                </a:path>
                <a:path w="2506345" h="4854575" extrusionOk="0">
                  <a:moveTo>
                    <a:pt x="968891" y="4406431"/>
                  </a:moveTo>
                  <a:lnTo>
                    <a:pt x="948808" y="4417886"/>
                  </a:lnTo>
                  <a:lnTo>
                    <a:pt x="954685" y="4428052"/>
                  </a:lnTo>
                  <a:lnTo>
                    <a:pt x="960685" y="4438133"/>
                  </a:lnTo>
                  <a:lnTo>
                    <a:pt x="966799" y="4448129"/>
                  </a:lnTo>
                  <a:lnTo>
                    <a:pt x="973017" y="4458042"/>
                  </a:lnTo>
                  <a:lnTo>
                    <a:pt x="992556" y="4445592"/>
                  </a:lnTo>
                  <a:lnTo>
                    <a:pt x="986486" y="4435923"/>
                  </a:lnTo>
                  <a:lnTo>
                    <a:pt x="980523" y="4426172"/>
                  </a:lnTo>
                  <a:lnTo>
                    <a:pt x="974661" y="4416341"/>
                  </a:lnTo>
                  <a:lnTo>
                    <a:pt x="968891" y="4406431"/>
                  </a:lnTo>
                  <a:close/>
                </a:path>
                <a:path w="2506345" h="4854575" extrusionOk="0">
                  <a:moveTo>
                    <a:pt x="2390890" y="4337794"/>
                  </a:moveTo>
                  <a:lnTo>
                    <a:pt x="2385972" y="4348150"/>
                  </a:lnTo>
                  <a:lnTo>
                    <a:pt x="2380936" y="4358439"/>
                  </a:lnTo>
                  <a:lnTo>
                    <a:pt x="2375752" y="4368743"/>
                  </a:lnTo>
                  <a:lnTo>
                    <a:pt x="2370566" y="4378809"/>
                  </a:lnTo>
                  <a:lnTo>
                    <a:pt x="2391016" y="4389594"/>
                  </a:lnTo>
                  <a:lnTo>
                    <a:pt x="2396392" y="4379206"/>
                  </a:lnTo>
                  <a:lnTo>
                    <a:pt x="2401708" y="4368659"/>
                  </a:lnTo>
                  <a:lnTo>
                    <a:pt x="2406831" y="4358206"/>
                  </a:lnTo>
                  <a:lnTo>
                    <a:pt x="2411884" y="4347595"/>
                  </a:lnTo>
                  <a:lnTo>
                    <a:pt x="2390890" y="4337794"/>
                  </a:lnTo>
                  <a:close/>
                </a:path>
                <a:path w="2506345" h="4854575" extrusionOk="0">
                  <a:moveTo>
                    <a:pt x="927437" y="4324768"/>
                  </a:moveTo>
                  <a:lnTo>
                    <a:pt x="906286" y="4334297"/>
                  </a:lnTo>
                  <a:lnTo>
                    <a:pt x="911201" y="4344978"/>
                  </a:lnTo>
                  <a:lnTo>
                    <a:pt x="916210" y="4355593"/>
                  </a:lnTo>
                  <a:lnTo>
                    <a:pt x="921317" y="4366136"/>
                  </a:lnTo>
                  <a:lnTo>
                    <a:pt x="926526" y="4376599"/>
                  </a:lnTo>
                  <a:lnTo>
                    <a:pt x="947185" y="4366086"/>
                  </a:lnTo>
                  <a:lnTo>
                    <a:pt x="942082" y="4355885"/>
                  </a:lnTo>
                  <a:lnTo>
                    <a:pt x="937084" y="4345600"/>
                  </a:lnTo>
                  <a:lnTo>
                    <a:pt x="932199" y="4335229"/>
                  </a:lnTo>
                  <a:lnTo>
                    <a:pt x="927437" y="4324768"/>
                  </a:lnTo>
                  <a:close/>
                </a:path>
                <a:path w="2506345" h="4854575" extrusionOk="0">
                  <a:moveTo>
                    <a:pt x="2425643" y="4253064"/>
                  </a:moveTo>
                  <a:lnTo>
                    <a:pt x="2421723" y="4263859"/>
                  </a:lnTo>
                  <a:lnTo>
                    <a:pt x="2417689" y="4274588"/>
                  </a:lnTo>
                  <a:lnTo>
                    <a:pt x="2413535" y="4285256"/>
                  </a:lnTo>
                  <a:lnTo>
                    <a:pt x="2409256" y="4295869"/>
                  </a:lnTo>
                  <a:lnTo>
                    <a:pt x="2430690" y="4304612"/>
                  </a:lnTo>
                  <a:lnTo>
                    <a:pt x="2435071" y="4293777"/>
                  </a:lnTo>
                  <a:lnTo>
                    <a:pt x="2439317" y="4282877"/>
                  </a:lnTo>
                  <a:lnTo>
                    <a:pt x="2443434" y="4271902"/>
                  </a:lnTo>
                  <a:lnTo>
                    <a:pt x="2447433" y="4260844"/>
                  </a:lnTo>
                  <a:lnTo>
                    <a:pt x="2425643" y="4253064"/>
                  </a:lnTo>
                  <a:close/>
                </a:path>
                <a:path w="2506345" h="4854575" extrusionOk="0">
                  <a:moveTo>
                    <a:pt x="893951" y="4239609"/>
                  </a:moveTo>
                  <a:lnTo>
                    <a:pt x="872004" y="4247053"/>
                  </a:lnTo>
                  <a:lnTo>
                    <a:pt x="875868" y="4258165"/>
                  </a:lnTo>
                  <a:lnTo>
                    <a:pt x="879842" y="4269201"/>
                  </a:lnTo>
                  <a:lnTo>
                    <a:pt x="883925" y="4280168"/>
                  </a:lnTo>
                  <a:lnTo>
                    <a:pt x="888119" y="4291073"/>
                  </a:lnTo>
                  <a:lnTo>
                    <a:pt x="909710" y="4282592"/>
                  </a:lnTo>
                  <a:lnTo>
                    <a:pt x="905591" y="4271960"/>
                  </a:lnTo>
                  <a:lnTo>
                    <a:pt x="901591" y="4261253"/>
                  </a:lnTo>
                  <a:lnTo>
                    <a:pt x="897711" y="4250470"/>
                  </a:lnTo>
                  <a:lnTo>
                    <a:pt x="893951" y="4239609"/>
                  </a:lnTo>
                  <a:close/>
                </a:path>
                <a:path w="2506345" h="4854575" extrusionOk="0">
                  <a:moveTo>
                    <a:pt x="2452228" y="4165475"/>
                  </a:moveTo>
                  <a:lnTo>
                    <a:pt x="2449350" y="4176598"/>
                  </a:lnTo>
                  <a:lnTo>
                    <a:pt x="2446344" y="4187663"/>
                  </a:lnTo>
                  <a:lnTo>
                    <a:pt x="2443220" y="4198664"/>
                  </a:lnTo>
                  <a:lnTo>
                    <a:pt x="2439988" y="4209599"/>
                  </a:lnTo>
                  <a:lnTo>
                    <a:pt x="2462144" y="4216321"/>
                  </a:lnTo>
                  <a:lnTo>
                    <a:pt x="2465445" y="4205137"/>
                  </a:lnTo>
                  <a:lnTo>
                    <a:pt x="2468648" y="4193886"/>
                  </a:lnTo>
                  <a:lnTo>
                    <a:pt x="2471743" y="4182571"/>
                  </a:lnTo>
                  <a:lnTo>
                    <a:pt x="2474720" y="4171192"/>
                  </a:lnTo>
                  <a:lnTo>
                    <a:pt x="2452228" y="4165475"/>
                  </a:lnTo>
                  <a:close/>
                </a:path>
                <a:path w="2506345" h="4854575" extrusionOk="0">
                  <a:moveTo>
                    <a:pt x="868622" y="4151622"/>
                  </a:moveTo>
                  <a:lnTo>
                    <a:pt x="846078" y="4156972"/>
                  </a:lnTo>
                  <a:lnTo>
                    <a:pt x="848865" y="4168393"/>
                  </a:lnTo>
                  <a:lnTo>
                    <a:pt x="851786" y="4179757"/>
                  </a:lnTo>
                  <a:lnTo>
                    <a:pt x="854835" y="4191066"/>
                  </a:lnTo>
                  <a:lnTo>
                    <a:pt x="858005" y="4202322"/>
                  </a:lnTo>
                  <a:lnTo>
                    <a:pt x="880245" y="4195893"/>
                  </a:lnTo>
                  <a:lnTo>
                    <a:pt x="877149" y="4184914"/>
                  </a:lnTo>
                  <a:lnTo>
                    <a:pt x="874178" y="4173875"/>
                  </a:lnTo>
                  <a:lnTo>
                    <a:pt x="871335" y="4162777"/>
                  </a:lnTo>
                  <a:lnTo>
                    <a:pt x="868622" y="4151622"/>
                  </a:lnTo>
                  <a:close/>
                </a:path>
                <a:path w="2506345" h="4854575" extrusionOk="0">
                  <a:moveTo>
                    <a:pt x="2470636" y="4075781"/>
                  </a:moveTo>
                  <a:lnTo>
                    <a:pt x="2468786" y="4087119"/>
                  </a:lnTo>
                  <a:lnTo>
                    <a:pt x="2466814" y="4098417"/>
                  </a:lnTo>
                  <a:lnTo>
                    <a:pt x="2464717" y="4109663"/>
                  </a:lnTo>
                  <a:lnTo>
                    <a:pt x="2462490" y="4120848"/>
                  </a:lnTo>
                  <a:lnTo>
                    <a:pt x="2485159" y="4125518"/>
                  </a:lnTo>
                  <a:lnTo>
                    <a:pt x="2487447" y="4114048"/>
                  </a:lnTo>
                  <a:lnTo>
                    <a:pt x="2489611" y="4102543"/>
                  </a:lnTo>
                  <a:lnTo>
                    <a:pt x="2491643" y="4090990"/>
                  </a:lnTo>
                  <a:lnTo>
                    <a:pt x="2493536" y="4079373"/>
                  </a:lnTo>
                  <a:lnTo>
                    <a:pt x="2470636" y="4075781"/>
                  </a:lnTo>
                  <a:close/>
                </a:path>
                <a:path w="2506345" h="4854575" extrusionOk="0">
                  <a:moveTo>
                    <a:pt x="851523" y="4061677"/>
                  </a:moveTo>
                  <a:lnTo>
                    <a:pt x="828592" y="4064965"/>
                  </a:lnTo>
                  <a:lnTo>
                    <a:pt x="830314" y="4076583"/>
                  </a:lnTo>
                  <a:lnTo>
                    <a:pt x="832177" y="4088159"/>
                  </a:lnTo>
                  <a:lnTo>
                    <a:pt x="834171" y="4099690"/>
                  </a:lnTo>
                  <a:lnTo>
                    <a:pt x="836288" y="4111173"/>
                  </a:lnTo>
                  <a:lnTo>
                    <a:pt x="859031" y="4106827"/>
                  </a:lnTo>
                  <a:lnTo>
                    <a:pt x="856963" y="4095616"/>
                  </a:lnTo>
                  <a:lnTo>
                    <a:pt x="855026" y="4084358"/>
                  </a:lnTo>
                  <a:lnTo>
                    <a:pt x="853215" y="4073047"/>
                  </a:lnTo>
                  <a:lnTo>
                    <a:pt x="851523" y="4061677"/>
                  </a:lnTo>
                  <a:close/>
                </a:path>
                <a:path w="2506345" h="4854575" extrusionOk="0">
                  <a:moveTo>
                    <a:pt x="2480814" y="3984747"/>
                  </a:moveTo>
                  <a:lnTo>
                    <a:pt x="2480000" y="3996226"/>
                  </a:lnTo>
                  <a:lnTo>
                    <a:pt x="2479051" y="4007656"/>
                  </a:lnTo>
                  <a:lnTo>
                    <a:pt x="2477971" y="4019045"/>
                  </a:lnTo>
                  <a:lnTo>
                    <a:pt x="2476762" y="4030400"/>
                  </a:lnTo>
                  <a:lnTo>
                    <a:pt x="2499777" y="4032976"/>
                  </a:lnTo>
                  <a:lnTo>
                    <a:pt x="2501005" y="4021350"/>
                  </a:lnTo>
                  <a:lnTo>
                    <a:pt x="2502110" y="4009698"/>
                  </a:lnTo>
                  <a:lnTo>
                    <a:pt x="2503088" y="3998012"/>
                  </a:lnTo>
                  <a:lnTo>
                    <a:pt x="2503934" y="3986287"/>
                  </a:lnTo>
                  <a:lnTo>
                    <a:pt x="2480814" y="3984747"/>
                  </a:lnTo>
                  <a:close/>
                </a:path>
                <a:path w="2506345" h="4854575" extrusionOk="0">
                  <a:moveTo>
                    <a:pt x="842613" y="3970496"/>
                  </a:moveTo>
                  <a:lnTo>
                    <a:pt x="819441" y="3971721"/>
                  </a:lnTo>
                  <a:lnTo>
                    <a:pt x="820125" y="3983458"/>
                  </a:lnTo>
                  <a:lnTo>
                    <a:pt x="820939" y="3995157"/>
                  </a:lnTo>
                  <a:lnTo>
                    <a:pt x="821889" y="4006818"/>
                  </a:lnTo>
                  <a:lnTo>
                    <a:pt x="822980" y="4018443"/>
                  </a:lnTo>
                  <a:lnTo>
                    <a:pt x="846005" y="4016181"/>
                  </a:lnTo>
                  <a:lnTo>
                    <a:pt x="844967" y="4004824"/>
                  </a:lnTo>
                  <a:lnTo>
                    <a:pt x="844046" y="3993429"/>
                  </a:lnTo>
                  <a:lnTo>
                    <a:pt x="843256" y="3981989"/>
                  </a:lnTo>
                  <a:lnTo>
                    <a:pt x="842613" y="3970496"/>
                  </a:lnTo>
                  <a:close/>
                </a:path>
                <a:path w="2506345" h="4854575" extrusionOk="0">
                  <a:moveTo>
                    <a:pt x="2506290" y="3892918"/>
                  </a:moveTo>
                  <a:lnTo>
                    <a:pt x="2483139" y="3892918"/>
                  </a:lnTo>
                  <a:lnTo>
                    <a:pt x="2483036" y="3931723"/>
                  </a:lnTo>
                  <a:lnTo>
                    <a:pt x="2482856" y="3938979"/>
                  </a:lnTo>
                  <a:lnTo>
                    <a:pt x="2506028" y="3939503"/>
                  </a:lnTo>
                  <a:lnTo>
                    <a:pt x="2506195" y="3931723"/>
                  </a:lnTo>
                  <a:lnTo>
                    <a:pt x="2506290" y="3892918"/>
                  </a:lnTo>
                  <a:close/>
                </a:path>
                <a:path w="2506345" h="4854575" extrusionOk="0">
                  <a:moveTo>
                    <a:pt x="841157" y="3878457"/>
                  </a:moveTo>
                  <a:lnTo>
                    <a:pt x="818006" y="3878457"/>
                  </a:lnTo>
                  <a:lnTo>
                    <a:pt x="818048" y="3924875"/>
                  </a:lnTo>
                  <a:lnTo>
                    <a:pt x="841199" y="3924686"/>
                  </a:lnTo>
                  <a:lnTo>
                    <a:pt x="841157" y="3878457"/>
                  </a:lnTo>
                  <a:close/>
                </a:path>
                <a:path w="2506345" h="4854575" extrusionOk="0">
                  <a:moveTo>
                    <a:pt x="2506290" y="3800208"/>
                  </a:moveTo>
                  <a:lnTo>
                    <a:pt x="2483139" y="3800208"/>
                  </a:lnTo>
                  <a:lnTo>
                    <a:pt x="2483139" y="3846563"/>
                  </a:lnTo>
                  <a:lnTo>
                    <a:pt x="2506290" y="3846563"/>
                  </a:lnTo>
                  <a:lnTo>
                    <a:pt x="2506290" y="3800208"/>
                  </a:lnTo>
                  <a:close/>
                </a:path>
                <a:path w="2506345" h="4854575" extrusionOk="0">
                  <a:moveTo>
                    <a:pt x="841178" y="3785769"/>
                  </a:moveTo>
                  <a:lnTo>
                    <a:pt x="818006" y="3785769"/>
                  </a:lnTo>
                  <a:lnTo>
                    <a:pt x="818006" y="3832103"/>
                  </a:lnTo>
                  <a:lnTo>
                    <a:pt x="841178" y="3832103"/>
                  </a:lnTo>
                  <a:lnTo>
                    <a:pt x="841178" y="3785769"/>
                  </a:lnTo>
                  <a:close/>
                </a:path>
                <a:path w="2506345" h="4854575" extrusionOk="0">
                  <a:moveTo>
                    <a:pt x="2506290" y="3707531"/>
                  </a:moveTo>
                  <a:lnTo>
                    <a:pt x="2483139" y="3707531"/>
                  </a:lnTo>
                  <a:lnTo>
                    <a:pt x="2483139" y="3753885"/>
                  </a:lnTo>
                  <a:lnTo>
                    <a:pt x="2506290" y="3753885"/>
                  </a:lnTo>
                  <a:lnTo>
                    <a:pt x="2506290" y="3707531"/>
                  </a:lnTo>
                  <a:close/>
                </a:path>
                <a:path w="2506345" h="4854575" extrusionOk="0">
                  <a:moveTo>
                    <a:pt x="841178" y="3693081"/>
                  </a:moveTo>
                  <a:lnTo>
                    <a:pt x="818006" y="3693081"/>
                  </a:lnTo>
                  <a:lnTo>
                    <a:pt x="818006" y="3739414"/>
                  </a:lnTo>
                  <a:lnTo>
                    <a:pt x="841178" y="3739414"/>
                  </a:lnTo>
                  <a:lnTo>
                    <a:pt x="841178" y="3693081"/>
                  </a:lnTo>
                  <a:close/>
                </a:path>
                <a:path w="2506345" h="4854575" extrusionOk="0">
                  <a:moveTo>
                    <a:pt x="2506290" y="3614832"/>
                  </a:moveTo>
                  <a:lnTo>
                    <a:pt x="2483139" y="3614832"/>
                  </a:lnTo>
                  <a:lnTo>
                    <a:pt x="2483139" y="3661197"/>
                  </a:lnTo>
                  <a:lnTo>
                    <a:pt x="2506290" y="3661197"/>
                  </a:lnTo>
                  <a:lnTo>
                    <a:pt x="2506290" y="3614832"/>
                  </a:lnTo>
                  <a:close/>
                </a:path>
                <a:path w="2506345" h="4854575" extrusionOk="0">
                  <a:moveTo>
                    <a:pt x="841178" y="3600403"/>
                  </a:moveTo>
                  <a:lnTo>
                    <a:pt x="818006" y="3600403"/>
                  </a:lnTo>
                  <a:lnTo>
                    <a:pt x="818006" y="3646758"/>
                  </a:lnTo>
                  <a:lnTo>
                    <a:pt x="841178" y="3646758"/>
                  </a:lnTo>
                  <a:lnTo>
                    <a:pt x="841178" y="3600403"/>
                  </a:lnTo>
                  <a:close/>
                </a:path>
                <a:path w="2506345" h="4854575" extrusionOk="0">
                  <a:moveTo>
                    <a:pt x="2506290" y="3522165"/>
                  </a:moveTo>
                  <a:lnTo>
                    <a:pt x="2483139" y="3522165"/>
                  </a:lnTo>
                  <a:lnTo>
                    <a:pt x="2483139" y="3568498"/>
                  </a:lnTo>
                  <a:lnTo>
                    <a:pt x="2506290" y="3568498"/>
                  </a:lnTo>
                  <a:lnTo>
                    <a:pt x="2506290" y="3522165"/>
                  </a:lnTo>
                  <a:close/>
                </a:path>
                <a:path w="2506345" h="4854575" extrusionOk="0">
                  <a:moveTo>
                    <a:pt x="841178" y="3507683"/>
                  </a:moveTo>
                  <a:lnTo>
                    <a:pt x="818006" y="3507683"/>
                  </a:lnTo>
                  <a:lnTo>
                    <a:pt x="818006" y="3554027"/>
                  </a:lnTo>
                  <a:lnTo>
                    <a:pt x="841178" y="3554027"/>
                  </a:lnTo>
                  <a:lnTo>
                    <a:pt x="841178" y="3507683"/>
                  </a:lnTo>
                  <a:close/>
                </a:path>
                <a:path w="2506345" h="4854575" extrusionOk="0">
                  <a:moveTo>
                    <a:pt x="2506290" y="3429466"/>
                  </a:moveTo>
                  <a:lnTo>
                    <a:pt x="2483139" y="3429466"/>
                  </a:lnTo>
                  <a:lnTo>
                    <a:pt x="2483139" y="3475820"/>
                  </a:lnTo>
                  <a:lnTo>
                    <a:pt x="2506290" y="3475820"/>
                  </a:lnTo>
                  <a:lnTo>
                    <a:pt x="2506290" y="3429466"/>
                  </a:lnTo>
                  <a:close/>
                </a:path>
                <a:path w="2506345" h="4854575" extrusionOk="0">
                  <a:moveTo>
                    <a:pt x="841178" y="3415005"/>
                  </a:moveTo>
                  <a:lnTo>
                    <a:pt x="818006" y="3415005"/>
                  </a:lnTo>
                  <a:lnTo>
                    <a:pt x="818006" y="3461360"/>
                  </a:lnTo>
                  <a:lnTo>
                    <a:pt x="841178" y="3461360"/>
                  </a:lnTo>
                  <a:lnTo>
                    <a:pt x="841178" y="3415005"/>
                  </a:lnTo>
                  <a:close/>
                </a:path>
                <a:path w="2506345" h="4854575" extrusionOk="0">
                  <a:moveTo>
                    <a:pt x="2506290" y="3336788"/>
                  </a:moveTo>
                  <a:lnTo>
                    <a:pt x="2483139" y="3336788"/>
                  </a:lnTo>
                  <a:lnTo>
                    <a:pt x="2483139" y="3383101"/>
                  </a:lnTo>
                  <a:lnTo>
                    <a:pt x="2506290" y="3383101"/>
                  </a:lnTo>
                  <a:lnTo>
                    <a:pt x="2506290" y="3336788"/>
                  </a:lnTo>
                  <a:close/>
                </a:path>
                <a:path w="2506345" h="4854575" extrusionOk="0">
                  <a:moveTo>
                    <a:pt x="841178" y="3322317"/>
                  </a:moveTo>
                  <a:lnTo>
                    <a:pt x="818006" y="3322317"/>
                  </a:lnTo>
                  <a:lnTo>
                    <a:pt x="818006" y="3368651"/>
                  </a:lnTo>
                  <a:lnTo>
                    <a:pt x="841178" y="3368651"/>
                  </a:lnTo>
                  <a:lnTo>
                    <a:pt x="841178" y="3322317"/>
                  </a:lnTo>
                  <a:close/>
                </a:path>
                <a:path w="2506345" h="4854575" extrusionOk="0">
                  <a:moveTo>
                    <a:pt x="2506290" y="3244068"/>
                  </a:moveTo>
                  <a:lnTo>
                    <a:pt x="2483139" y="3244068"/>
                  </a:lnTo>
                  <a:lnTo>
                    <a:pt x="2483139" y="3290423"/>
                  </a:lnTo>
                  <a:lnTo>
                    <a:pt x="2506290" y="3290423"/>
                  </a:lnTo>
                  <a:lnTo>
                    <a:pt x="2506290" y="3244068"/>
                  </a:lnTo>
                  <a:close/>
                </a:path>
                <a:path w="2506345" h="4854575" extrusionOk="0">
                  <a:moveTo>
                    <a:pt x="841178" y="3229629"/>
                  </a:moveTo>
                  <a:lnTo>
                    <a:pt x="818006" y="3229629"/>
                  </a:lnTo>
                  <a:lnTo>
                    <a:pt x="818006" y="3275984"/>
                  </a:lnTo>
                  <a:lnTo>
                    <a:pt x="841178" y="3275984"/>
                  </a:lnTo>
                  <a:lnTo>
                    <a:pt x="841178" y="3229629"/>
                  </a:lnTo>
                  <a:close/>
                </a:path>
                <a:path w="2506345" h="4854575" extrusionOk="0">
                  <a:moveTo>
                    <a:pt x="2506290" y="3151411"/>
                  </a:moveTo>
                  <a:lnTo>
                    <a:pt x="2483139" y="3151411"/>
                  </a:lnTo>
                  <a:lnTo>
                    <a:pt x="2483139" y="3197735"/>
                  </a:lnTo>
                  <a:lnTo>
                    <a:pt x="2506290" y="3197735"/>
                  </a:lnTo>
                  <a:lnTo>
                    <a:pt x="2506290" y="3151411"/>
                  </a:lnTo>
                  <a:close/>
                </a:path>
                <a:path w="2506345" h="4854575" extrusionOk="0">
                  <a:moveTo>
                    <a:pt x="841178" y="3136951"/>
                  </a:moveTo>
                  <a:lnTo>
                    <a:pt x="818006" y="3136951"/>
                  </a:lnTo>
                  <a:lnTo>
                    <a:pt x="818006" y="3183306"/>
                  </a:lnTo>
                  <a:lnTo>
                    <a:pt x="841178" y="3183306"/>
                  </a:lnTo>
                  <a:lnTo>
                    <a:pt x="841178" y="3136951"/>
                  </a:lnTo>
                  <a:close/>
                </a:path>
                <a:path w="2506345" h="4854575" extrusionOk="0">
                  <a:moveTo>
                    <a:pt x="2506290" y="3058734"/>
                  </a:moveTo>
                  <a:lnTo>
                    <a:pt x="2483139" y="3058734"/>
                  </a:lnTo>
                  <a:lnTo>
                    <a:pt x="2483139" y="3105004"/>
                  </a:lnTo>
                  <a:lnTo>
                    <a:pt x="2506290" y="3105004"/>
                  </a:lnTo>
                  <a:lnTo>
                    <a:pt x="2506290" y="3058734"/>
                  </a:lnTo>
                  <a:close/>
                </a:path>
                <a:path w="2506345" h="4854575" extrusionOk="0">
                  <a:moveTo>
                    <a:pt x="841178" y="3044252"/>
                  </a:moveTo>
                  <a:lnTo>
                    <a:pt x="818006" y="3044252"/>
                  </a:lnTo>
                  <a:lnTo>
                    <a:pt x="818006" y="3090607"/>
                  </a:lnTo>
                  <a:lnTo>
                    <a:pt x="841178" y="3090607"/>
                  </a:lnTo>
                  <a:lnTo>
                    <a:pt x="841178" y="3044252"/>
                  </a:lnTo>
                  <a:close/>
                </a:path>
                <a:path w="2506345" h="4854575" extrusionOk="0">
                  <a:moveTo>
                    <a:pt x="2506290" y="2966035"/>
                  </a:moveTo>
                  <a:lnTo>
                    <a:pt x="2483139" y="2966035"/>
                  </a:lnTo>
                  <a:lnTo>
                    <a:pt x="2483139" y="3012337"/>
                  </a:lnTo>
                  <a:lnTo>
                    <a:pt x="2506290" y="3012337"/>
                  </a:lnTo>
                  <a:lnTo>
                    <a:pt x="2506290" y="2966035"/>
                  </a:lnTo>
                  <a:close/>
                </a:path>
                <a:path w="2506345" h="4854575" extrusionOk="0">
                  <a:moveTo>
                    <a:pt x="841178" y="2951575"/>
                  </a:moveTo>
                  <a:lnTo>
                    <a:pt x="818006" y="2951575"/>
                  </a:lnTo>
                  <a:lnTo>
                    <a:pt x="818006" y="2997940"/>
                  </a:lnTo>
                  <a:lnTo>
                    <a:pt x="841178" y="2997940"/>
                  </a:lnTo>
                  <a:lnTo>
                    <a:pt x="841178" y="2951575"/>
                  </a:lnTo>
                  <a:close/>
                </a:path>
                <a:path w="2506345" h="4854575" extrusionOk="0">
                  <a:moveTo>
                    <a:pt x="2506290" y="2873357"/>
                  </a:moveTo>
                  <a:lnTo>
                    <a:pt x="2483139" y="2873357"/>
                  </a:lnTo>
                  <a:lnTo>
                    <a:pt x="2483139" y="2919638"/>
                  </a:lnTo>
                  <a:lnTo>
                    <a:pt x="2506290" y="2919638"/>
                  </a:lnTo>
                  <a:lnTo>
                    <a:pt x="2506290" y="2873357"/>
                  </a:lnTo>
                  <a:close/>
                </a:path>
                <a:path w="2506345" h="4854575" extrusionOk="0">
                  <a:moveTo>
                    <a:pt x="841178" y="2858855"/>
                  </a:moveTo>
                  <a:lnTo>
                    <a:pt x="818006" y="2858855"/>
                  </a:lnTo>
                  <a:lnTo>
                    <a:pt x="818006" y="2905230"/>
                  </a:lnTo>
                  <a:lnTo>
                    <a:pt x="841178" y="2905230"/>
                  </a:lnTo>
                  <a:lnTo>
                    <a:pt x="841178" y="2858855"/>
                  </a:lnTo>
                  <a:close/>
                </a:path>
                <a:path w="2506345" h="4854575" extrusionOk="0">
                  <a:moveTo>
                    <a:pt x="2506290" y="2780669"/>
                  </a:moveTo>
                  <a:lnTo>
                    <a:pt x="2483139" y="2780669"/>
                  </a:lnTo>
                  <a:lnTo>
                    <a:pt x="2483139" y="2826961"/>
                  </a:lnTo>
                  <a:lnTo>
                    <a:pt x="2506290" y="2826961"/>
                  </a:lnTo>
                  <a:lnTo>
                    <a:pt x="2506290" y="2780669"/>
                  </a:lnTo>
                  <a:close/>
                </a:path>
                <a:path w="2506345" h="4854575" extrusionOk="0">
                  <a:moveTo>
                    <a:pt x="841178" y="2766177"/>
                  </a:moveTo>
                  <a:lnTo>
                    <a:pt x="818006" y="2766177"/>
                  </a:lnTo>
                  <a:lnTo>
                    <a:pt x="818006" y="2812532"/>
                  </a:lnTo>
                  <a:lnTo>
                    <a:pt x="841178" y="2812532"/>
                  </a:lnTo>
                  <a:lnTo>
                    <a:pt x="841178" y="2766177"/>
                  </a:lnTo>
                  <a:close/>
                </a:path>
                <a:path w="2506345" h="4854575" extrusionOk="0">
                  <a:moveTo>
                    <a:pt x="2506290" y="2687960"/>
                  </a:moveTo>
                  <a:lnTo>
                    <a:pt x="2483139" y="2687960"/>
                  </a:lnTo>
                  <a:lnTo>
                    <a:pt x="2483139" y="2734272"/>
                  </a:lnTo>
                  <a:lnTo>
                    <a:pt x="2506290" y="2734272"/>
                  </a:lnTo>
                  <a:lnTo>
                    <a:pt x="2506290" y="2687960"/>
                  </a:lnTo>
                  <a:close/>
                </a:path>
                <a:path w="2506345" h="4854575" extrusionOk="0">
                  <a:moveTo>
                    <a:pt x="841178" y="2673520"/>
                  </a:moveTo>
                  <a:lnTo>
                    <a:pt x="818006" y="2673520"/>
                  </a:lnTo>
                  <a:lnTo>
                    <a:pt x="818006" y="2719833"/>
                  </a:lnTo>
                  <a:lnTo>
                    <a:pt x="841178" y="2719833"/>
                  </a:lnTo>
                  <a:lnTo>
                    <a:pt x="841178" y="2673520"/>
                  </a:lnTo>
                  <a:close/>
                </a:path>
                <a:path w="2506345" h="4854575" extrusionOk="0">
                  <a:moveTo>
                    <a:pt x="2506290" y="2595271"/>
                  </a:moveTo>
                  <a:lnTo>
                    <a:pt x="2483139" y="2595271"/>
                  </a:lnTo>
                  <a:lnTo>
                    <a:pt x="2483139" y="2641594"/>
                  </a:lnTo>
                  <a:lnTo>
                    <a:pt x="2506290" y="2641594"/>
                  </a:lnTo>
                  <a:lnTo>
                    <a:pt x="2506290" y="2595271"/>
                  </a:lnTo>
                  <a:close/>
                </a:path>
                <a:path w="2506345" h="4854575" extrusionOk="0">
                  <a:moveTo>
                    <a:pt x="841178" y="2580800"/>
                  </a:moveTo>
                  <a:lnTo>
                    <a:pt x="818006" y="2580800"/>
                  </a:lnTo>
                  <a:lnTo>
                    <a:pt x="818006" y="2627155"/>
                  </a:lnTo>
                  <a:lnTo>
                    <a:pt x="841178" y="2627155"/>
                  </a:lnTo>
                  <a:lnTo>
                    <a:pt x="841178" y="2580800"/>
                  </a:lnTo>
                  <a:close/>
                </a:path>
                <a:path w="2506345" h="4854575" extrusionOk="0">
                  <a:moveTo>
                    <a:pt x="2506290" y="2502583"/>
                  </a:moveTo>
                  <a:lnTo>
                    <a:pt x="2483139" y="2502583"/>
                  </a:lnTo>
                  <a:lnTo>
                    <a:pt x="2483139" y="2548917"/>
                  </a:lnTo>
                  <a:lnTo>
                    <a:pt x="2506290" y="2548917"/>
                  </a:lnTo>
                  <a:lnTo>
                    <a:pt x="2506290" y="2502583"/>
                  </a:lnTo>
                  <a:close/>
                </a:path>
                <a:path w="2506345" h="4854575" extrusionOk="0">
                  <a:moveTo>
                    <a:pt x="841178" y="2488123"/>
                  </a:moveTo>
                  <a:lnTo>
                    <a:pt x="818006" y="2488123"/>
                  </a:lnTo>
                  <a:lnTo>
                    <a:pt x="818006" y="2534477"/>
                  </a:lnTo>
                  <a:lnTo>
                    <a:pt x="841178" y="2534477"/>
                  </a:lnTo>
                  <a:lnTo>
                    <a:pt x="841178" y="2488123"/>
                  </a:lnTo>
                  <a:close/>
                </a:path>
                <a:path w="2506345" h="4854575" extrusionOk="0">
                  <a:moveTo>
                    <a:pt x="2506290" y="2409905"/>
                  </a:moveTo>
                  <a:lnTo>
                    <a:pt x="2483139" y="2409905"/>
                  </a:lnTo>
                  <a:lnTo>
                    <a:pt x="2483139" y="2456218"/>
                  </a:lnTo>
                  <a:lnTo>
                    <a:pt x="2506290" y="2456218"/>
                  </a:lnTo>
                  <a:lnTo>
                    <a:pt x="2506290" y="2409905"/>
                  </a:lnTo>
                  <a:close/>
                </a:path>
                <a:path w="2506345" h="4854575" extrusionOk="0">
                  <a:moveTo>
                    <a:pt x="841178" y="2395424"/>
                  </a:moveTo>
                  <a:lnTo>
                    <a:pt x="818006" y="2395424"/>
                  </a:lnTo>
                  <a:lnTo>
                    <a:pt x="818006" y="2441789"/>
                  </a:lnTo>
                  <a:lnTo>
                    <a:pt x="841178" y="2441789"/>
                  </a:lnTo>
                  <a:lnTo>
                    <a:pt x="841178" y="2395424"/>
                  </a:lnTo>
                  <a:close/>
                </a:path>
                <a:path w="2506345" h="4854575" extrusionOk="0">
                  <a:moveTo>
                    <a:pt x="2506290" y="2317175"/>
                  </a:moveTo>
                  <a:lnTo>
                    <a:pt x="2483139" y="2317175"/>
                  </a:lnTo>
                  <a:lnTo>
                    <a:pt x="2483139" y="2363551"/>
                  </a:lnTo>
                  <a:lnTo>
                    <a:pt x="2506290" y="2363551"/>
                  </a:lnTo>
                  <a:lnTo>
                    <a:pt x="2506290" y="2317175"/>
                  </a:lnTo>
                  <a:close/>
                </a:path>
                <a:path w="2506345" h="4854575" extrusionOk="0">
                  <a:moveTo>
                    <a:pt x="841178" y="2302757"/>
                  </a:moveTo>
                  <a:lnTo>
                    <a:pt x="818006" y="2302757"/>
                  </a:lnTo>
                  <a:lnTo>
                    <a:pt x="818006" y="2349101"/>
                  </a:lnTo>
                  <a:lnTo>
                    <a:pt x="841178" y="2349101"/>
                  </a:lnTo>
                  <a:lnTo>
                    <a:pt x="841178" y="2302757"/>
                  </a:lnTo>
                  <a:close/>
                </a:path>
                <a:path w="2506345" h="4854575" extrusionOk="0">
                  <a:moveTo>
                    <a:pt x="2506290" y="2224497"/>
                  </a:moveTo>
                  <a:lnTo>
                    <a:pt x="2483139" y="2224497"/>
                  </a:lnTo>
                  <a:lnTo>
                    <a:pt x="2483139" y="2270841"/>
                  </a:lnTo>
                  <a:lnTo>
                    <a:pt x="2506290" y="2270841"/>
                  </a:lnTo>
                  <a:lnTo>
                    <a:pt x="2506290" y="2224497"/>
                  </a:lnTo>
                  <a:close/>
                </a:path>
                <a:path w="2506345" h="4854575" extrusionOk="0">
                  <a:moveTo>
                    <a:pt x="841178" y="2210079"/>
                  </a:moveTo>
                  <a:lnTo>
                    <a:pt x="818006" y="2210079"/>
                  </a:lnTo>
                  <a:lnTo>
                    <a:pt x="818006" y="2256402"/>
                  </a:lnTo>
                  <a:lnTo>
                    <a:pt x="841178" y="2256402"/>
                  </a:lnTo>
                  <a:lnTo>
                    <a:pt x="841178" y="2210079"/>
                  </a:lnTo>
                  <a:close/>
                </a:path>
                <a:path w="2506345" h="4854575" extrusionOk="0">
                  <a:moveTo>
                    <a:pt x="2506290" y="2131809"/>
                  </a:moveTo>
                  <a:lnTo>
                    <a:pt x="2483139" y="2131809"/>
                  </a:lnTo>
                  <a:lnTo>
                    <a:pt x="2483139" y="2178184"/>
                  </a:lnTo>
                  <a:lnTo>
                    <a:pt x="2506290" y="2178184"/>
                  </a:lnTo>
                  <a:lnTo>
                    <a:pt x="2506290" y="2131809"/>
                  </a:lnTo>
                  <a:close/>
                </a:path>
                <a:path w="2506345" h="4854575" extrusionOk="0">
                  <a:moveTo>
                    <a:pt x="841178" y="2117391"/>
                  </a:moveTo>
                  <a:lnTo>
                    <a:pt x="818006" y="2117391"/>
                  </a:lnTo>
                  <a:lnTo>
                    <a:pt x="818006" y="2163735"/>
                  </a:lnTo>
                  <a:lnTo>
                    <a:pt x="841178" y="2163735"/>
                  </a:lnTo>
                  <a:lnTo>
                    <a:pt x="841178" y="2117391"/>
                  </a:lnTo>
                  <a:close/>
                </a:path>
                <a:path w="2506345" h="4854575" extrusionOk="0">
                  <a:moveTo>
                    <a:pt x="2506290" y="2039121"/>
                  </a:moveTo>
                  <a:lnTo>
                    <a:pt x="2483139" y="2039121"/>
                  </a:lnTo>
                  <a:lnTo>
                    <a:pt x="2483139" y="2085507"/>
                  </a:lnTo>
                  <a:lnTo>
                    <a:pt x="2506290" y="2085507"/>
                  </a:lnTo>
                  <a:lnTo>
                    <a:pt x="2506290" y="2039121"/>
                  </a:lnTo>
                  <a:close/>
                </a:path>
                <a:path w="2506345" h="4854575" extrusionOk="0">
                  <a:moveTo>
                    <a:pt x="841178" y="2024692"/>
                  </a:moveTo>
                  <a:lnTo>
                    <a:pt x="818006" y="2024692"/>
                  </a:lnTo>
                  <a:lnTo>
                    <a:pt x="818006" y="2071005"/>
                  </a:lnTo>
                  <a:lnTo>
                    <a:pt x="841178" y="2071005"/>
                  </a:lnTo>
                  <a:lnTo>
                    <a:pt x="841178" y="2024692"/>
                  </a:lnTo>
                  <a:close/>
                </a:path>
                <a:path w="2506345" h="4854575" extrusionOk="0">
                  <a:moveTo>
                    <a:pt x="2506290" y="1946443"/>
                  </a:moveTo>
                  <a:lnTo>
                    <a:pt x="2483139" y="1946443"/>
                  </a:lnTo>
                  <a:lnTo>
                    <a:pt x="2483139" y="1992797"/>
                  </a:lnTo>
                  <a:lnTo>
                    <a:pt x="2506290" y="1992797"/>
                  </a:lnTo>
                  <a:lnTo>
                    <a:pt x="2506290" y="1946443"/>
                  </a:lnTo>
                  <a:close/>
                </a:path>
                <a:path w="2506345" h="4854575" extrusionOk="0">
                  <a:moveTo>
                    <a:pt x="841178" y="1931972"/>
                  </a:moveTo>
                  <a:lnTo>
                    <a:pt x="818006" y="1931972"/>
                  </a:lnTo>
                  <a:lnTo>
                    <a:pt x="818006" y="1978348"/>
                  </a:lnTo>
                  <a:lnTo>
                    <a:pt x="841178" y="1978348"/>
                  </a:lnTo>
                  <a:lnTo>
                    <a:pt x="841178" y="1931972"/>
                  </a:lnTo>
                  <a:close/>
                </a:path>
                <a:path w="2506345" h="4854575" extrusionOk="0">
                  <a:moveTo>
                    <a:pt x="2506290" y="1853765"/>
                  </a:moveTo>
                  <a:lnTo>
                    <a:pt x="2483139" y="1853765"/>
                  </a:lnTo>
                  <a:lnTo>
                    <a:pt x="2483139" y="1900088"/>
                  </a:lnTo>
                  <a:lnTo>
                    <a:pt x="2506290" y="1900088"/>
                  </a:lnTo>
                  <a:lnTo>
                    <a:pt x="2506290" y="1853765"/>
                  </a:lnTo>
                  <a:close/>
                </a:path>
                <a:path w="2506345" h="4854575" extrusionOk="0">
                  <a:moveTo>
                    <a:pt x="841178" y="1839284"/>
                  </a:moveTo>
                  <a:lnTo>
                    <a:pt x="818006" y="1839284"/>
                  </a:lnTo>
                  <a:lnTo>
                    <a:pt x="818006" y="1885649"/>
                  </a:lnTo>
                  <a:lnTo>
                    <a:pt x="841178" y="1885649"/>
                  </a:lnTo>
                  <a:lnTo>
                    <a:pt x="841178" y="1839284"/>
                  </a:lnTo>
                  <a:close/>
                </a:path>
                <a:path w="2506345" h="4854575" extrusionOk="0">
                  <a:moveTo>
                    <a:pt x="2506290" y="1761066"/>
                  </a:moveTo>
                  <a:lnTo>
                    <a:pt x="2483139" y="1761066"/>
                  </a:lnTo>
                  <a:lnTo>
                    <a:pt x="2483139" y="1807379"/>
                  </a:lnTo>
                  <a:lnTo>
                    <a:pt x="2506290" y="1807379"/>
                  </a:lnTo>
                  <a:lnTo>
                    <a:pt x="2506290" y="1761066"/>
                  </a:lnTo>
                  <a:close/>
                </a:path>
                <a:path w="2506345" h="4854575" extrusionOk="0">
                  <a:moveTo>
                    <a:pt x="841178" y="1746606"/>
                  </a:moveTo>
                  <a:lnTo>
                    <a:pt x="818006" y="1746606"/>
                  </a:lnTo>
                  <a:lnTo>
                    <a:pt x="818006" y="1792961"/>
                  </a:lnTo>
                  <a:lnTo>
                    <a:pt x="841178" y="1792961"/>
                  </a:lnTo>
                  <a:lnTo>
                    <a:pt x="841178" y="1746606"/>
                  </a:lnTo>
                  <a:close/>
                </a:path>
                <a:path w="2506345" h="4854575" extrusionOk="0">
                  <a:moveTo>
                    <a:pt x="2506290" y="1668388"/>
                  </a:moveTo>
                  <a:lnTo>
                    <a:pt x="2483139" y="1668388"/>
                  </a:lnTo>
                  <a:lnTo>
                    <a:pt x="2483139" y="1714722"/>
                  </a:lnTo>
                  <a:lnTo>
                    <a:pt x="2506290" y="1714722"/>
                  </a:lnTo>
                  <a:lnTo>
                    <a:pt x="2506290" y="1668388"/>
                  </a:lnTo>
                  <a:close/>
                </a:path>
                <a:path w="2506345" h="4854575" extrusionOk="0">
                  <a:moveTo>
                    <a:pt x="841178" y="1653928"/>
                  </a:moveTo>
                  <a:lnTo>
                    <a:pt x="818006" y="1653928"/>
                  </a:lnTo>
                  <a:lnTo>
                    <a:pt x="818006" y="1700283"/>
                  </a:lnTo>
                  <a:lnTo>
                    <a:pt x="841178" y="1700283"/>
                  </a:lnTo>
                  <a:lnTo>
                    <a:pt x="841178" y="1653928"/>
                  </a:lnTo>
                  <a:close/>
                </a:path>
                <a:path w="2506345" h="4854575" extrusionOk="0">
                  <a:moveTo>
                    <a:pt x="2506290" y="1575700"/>
                  </a:moveTo>
                  <a:lnTo>
                    <a:pt x="2483139" y="1575700"/>
                  </a:lnTo>
                  <a:lnTo>
                    <a:pt x="2483139" y="1622013"/>
                  </a:lnTo>
                  <a:lnTo>
                    <a:pt x="2506290" y="1622013"/>
                  </a:lnTo>
                  <a:lnTo>
                    <a:pt x="2506290" y="1575700"/>
                  </a:lnTo>
                  <a:close/>
                </a:path>
                <a:path w="2506345" h="4854575" extrusionOk="0">
                  <a:moveTo>
                    <a:pt x="841178" y="1561229"/>
                  </a:moveTo>
                  <a:lnTo>
                    <a:pt x="818006" y="1561229"/>
                  </a:lnTo>
                  <a:lnTo>
                    <a:pt x="818006" y="1607574"/>
                  </a:lnTo>
                  <a:lnTo>
                    <a:pt x="841178" y="1607574"/>
                  </a:lnTo>
                  <a:lnTo>
                    <a:pt x="841178" y="1561229"/>
                  </a:lnTo>
                  <a:close/>
                </a:path>
                <a:path w="2506345" h="4854575" extrusionOk="0">
                  <a:moveTo>
                    <a:pt x="2506290" y="1483022"/>
                  </a:moveTo>
                  <a:lnTo>
                    <a:pt x="2483139" y="1483022"/>
                  </a:lnTo>
                  <a:lnTo>
                    <a:pt x="2483139" y="1529346"/>
                  </a:lnTo>
                  <a:lnTo>
                    <a:pt x="2506290" y="1529346"/>
                  </a:lnTo>
                  <a:lnTo>
                    <a:pt x="2506290" y="1483022"/>
                  </a:lnTo>
                  <a:close/>
                </a:path>
                <a:path w="2506345" h="4854575" extrusionOk="0">
                  <a:moveTo>
                    <a:pt x="841178" y="1468552"/>
                  </a:moveTo>
                  <a:lnTo>
                    <a:pt x="818006" y="1468552"/>
                  </a:lnTo>
                  <a:lnTo>
                    <a:pt x="818006" y="1514906"/>
                  </a:lnTo>
                  <a:lnTo>
                    <a:pt x="841178" y="1514906"/>
                  </a:lnTo>
                  <a:lnTo>
                    <a:pt x="841178" y="1468552"/>
                  </a:lnTo>
                  <a:close/>
                </a:path>
                <a:path w="2506345" h="4854575" extrusionOk="0">
                  <a:moveTo>
                    <a:pt x="2506290" y="1390334"/>
                  </a:moveTo>
                  <a:lnTo>
                    <a:pt x="2483139" y="1390334"/>
                  </a:lnTo>
                  <a:lnTo>
                    <a:pt x="2483139" y="1436657"/>
                  </a:lnTo>
                  <a:lnTo>
                    <a:pt x="2506290" y="1436657"/>
                  </a:lnTo>
                  <a:lnTo>
                    <a:pt x="2506290" y="1390334"/>
                  </a:lnTo>
                  <a:close/>
                </a:path>
                <a:path w="2506345" h="4854575" extrusionOk="0">
                  <a:moveTo>
                    <a:pt x="841178" y="1375863"/>
                  </a:moveTo>
                  <a:lnTo>
                    <a:pt x="818006" y="1375863"/>
                  </a:lnTo>
                  <a:lnTo>
                    <a:pt x="818006" y="1422208"/>
                  </a:lnTo>
                  <a:lnTo>
                    <a:pt x="841178" y="1422208"/>
                  </a:lnTo>
                  <a:lnTo>
                    <a:pt x="841178" y="1375863"/>
                  </a:lnTo>
                  <a:close/>
                </a:path>
                <a:path w="2506345" h="4854575" extrusionOk="0">
                  <a:moveTo>
                    <a:pt x="2506290" y="1297656"/>
                  </a:moveTo>
                  <a:lnTo>
                    <a:pt x="2483139" y="1297656"/>
                  </a:lnTo>
                  <a:lnTo>
                    <a:pt x="2483139" y="1343980"/>
                  </a:lnTo>
                  <a:lnTo>
                    <a:pt x="2506290" y="1343980"/>
                  </a:lnTo>
                  <a:lnTo>
                    <a:pt x="2506290" y="1297656"/>
                  </a:lnTo>
                  <a:close/>
                </a:path>
                <a:path w="2506345" h="4854575" extrusionOk="0">
                  <a:moveTo>
                    <a:pt x="838937" y="1282453"/>
                  </a:moveTo>
                  <a:lnTo>
                    <a:pt x="815828" y="1284034"/>
                  </a:lnTo>
                  <a:lnTo>
                    <a:pt x="816532" y="1295415"/>
                  </a:lnTo>
                  <a:lnTo>
                    <a:pt x="817100" y="1306830"/>
                  </a:lnTo>
                  <a:lnTo>
                    <a:pt x="817527" y="1318279"/>
                  </a:lnTo>
                  <a:lnTo>
                    <a:pt x="817807" y="1329760"/>
                  </a:lnTo>
                  <a:lnTo>
                    <a:pt x="840990" y="1329320"/>
                  </a:lnTo>
                  <a:lnTo>
                    <a:pt x="840681" y="1317536"/>
                  </a:lnTo>
                  <a:lnTo>
                    <a:pt x="840238" y="1305800"/>
                  </a:lnTo>
                  <a:lnTo>
                    <a:pt x="839658" y="1294108"/>
                  </a:lnTo>
                  <a:lnTo>
                    <a:pt x="838937" y="1282453"/>
                  </a:lnTo>
                  <a:close/>
                </a:path>
                <a:path w="2506345" h="4854575" extrusionOk="0">
                  <a:moveTo>
                    <a:pt x="2506290" y="1204937"/>
                  </a:moveTo>
                  <a:lnTo>
                    <a:pt x="2483139" y="1204937"/>
                  </a:lnTo>
                  <a:lnTo>
                    <a:pt x="2483139" y="1251291"/>
                  </a:lnTo>
                  <a:lnTo>
                    <a:pt x="2506290" y="1251291"/>
                  </a:lnTo>
                  <a:lnTo>
                    <a:pt x="2506290" y="1204937"/>
                  </a:lnTo>
                  <a:close/>
                </a:path>
                <a:path w="2506345" h="4854575" extrusionOk="0">
                  <a:moveTo>
                    <a:pt x="828037" y="1189314"/>
                  </a:moveTo>
                  <a:lnTo>
                    <a:pt x="805190" y="1193167"/>
                  </a:lnTo>
                  <a:lnTo>
                    <a:pt x="806985" y="1204416"/>
                  </a:lnTo>
                  <a:lnTo>
                    <a:pt x="808652" y="1215716"/>
                  </a:lnTo>
                  <a:lnTo>
                    <a:pt x="810195" y="1227064"/>
                  </a:lnTo>
                  <a:lnTo>
                    <a:pt x="811619" y="1238454"/>
                  </a:lnTo>
                  <a:lnTo>
                    <a:pt x="834602" y="1235773"/>
                  </a:lnTo>
                  <a:lnTo>
                    <a:pt x="833167" y="1224094"/>
                  </a:lnTo>
                  <a:lnTo>
                    <a:pt x="831587" y="1212457"/>
                  </a:lnTo>
                  <a:lnTo>
                    <a:pt x="829873" y="1200864"/>
                  </a:lnTo>
                  <a:lnTo>
                    <a:pt x="828037" y="1189314"/>
                  </a:lnTo>
                  <a:close/>
                </a:path>
                <a:path w="2506345" h="4854575" extrusionOk="0">
                  <a:moveTo>
                    <a:pt x="2506290" y="1112248"/>
                  </a:moveTo>
                  <a:lnTo>
                    <a:pt x="2483139" y="1112248"/>
                  </a:lnTo>
                  <a:lnTo>
                    <a:pt x="2483139" y="1158592"/>
                  </a:lnTo>
                  <a:lnTo>
                    <a:pt x="2506290" y="1158592"/>
                  </a:lnTo>
                  <a:lnTo>
                    <a:pt x="2506290" y="1112248"/>
                  </a:lnTo>
                  <a:close/>
                </a:path>
                <a:path w="2506345" h="4854575" extrusionOk="0">
                  <a:moveTo>
                    <a:pt x="808121" y="1097715"/>
                  </a:moveTo>
                  <a:lnTo>
                    <a:pt x="785735" y="1103736"/>
                  </a:lnTo>
                  <a:lnTo>
                    <a:pt x="788659" y="1114780"/>
                  </a:lnTo>
                  <a:lnTo>
                    <a:pt x="791426" y="1125866"/>
                  </a:lnTo>
                  <a:lnTo>
                    <a:pt x="794051" y="1136999"/>
                  </a:lnTo>
                  <a:lnTo>
                    <a:pt x="796551" y="1148184"/>
                  </a:lnTo>
                  <a:lnTo>
                    <a:pt x="819231" y="1143305"/>
                  </a:lnTo>
                  <a:lnTo>
                    <a:pt x="816647" y="1131814"/>
                  </a:lnTo>
                  <a:lnTo>
                    <a:pt x="813935" y="1120384"/>
                  </a:lnTo>
                  <a:lnTo>
                    <a:pt x="811094" y="1109017"/>
                  </a:lnTo>
                  <a:lnTo>
                    <a:pt x="808121" y="1097715"/>
                  </a:lnTo>
                  <a:close/>
                </a:path>
                <a:path w="2506345" h="4854575" extrusionOk="0">
                  <a:moveTo>
                    <a:pt x="2506290" y="1019560"/>
                  </a:moveTo>
                  <a:lnTo>
                    <a:pt x="2483139" y="1019560"/>
                  </a:lnTo>
                  <a:lnTo>
                    <a:pt x="2483139" y="1065925"/>
                  </a:lnTo>
                  <a:lnTo>
                    <a:pt x="2506290" y="1065925"/>
                  </a:lnTo>
                  <a:lnTo>
                    <a:pt x="2506290" y="1019560"/>
                  </a:lnTo>
                  <a:close/>
                </a:path>
                <a:path w="2506345" h="4854575" extrusionOk="0">
                  <a:moveTo>
                    <a:pt x="779243" y="1008513"/>
                  </a:moveTo>
                  <a:lnTo>
                    <a:pt x="757610" y="1016702"/>
                  </a:lnTo>
                  <a:lnTo>
                    <a:pt x="761591" y="1027419"/>
                  </a:lnTo>
                  <a:lnTo>
                    <a:pt x="765447" y="1038185"/>
                  </a:lnTo>
                  <a:lnTo>
                    <a:pt x="769178" y="1049010"/>
                  </a:lnTo>
                  <a:lnTo>
                    <a:pt x="772782" y="1059904"/>
                  </a:lnTo>
                  <a:lnTo>
                    <a:pt x="794782" y="1052753"/>
                  </a:lnTo>
                  <a:lnTo>
                    <a:pt x="791093" y="1041591"/>
                  </a:lnTo>
                  <a:lnTo>
                    <a:pt x="787279" y="1030500"/>
                  </a:lnTo>
                  <a:lnTo>
                    <a:pt x="783332" y="1019475"/>
                  </a:lnTo>
                  <a:lnTo>
                    <a:pt x="779243" y="1008513"/>
                  </a:lnTo>
                  <a:close/>
                </a:path>
                <a:path w="2506345" h="4854575" extrusionOk="0">
                  <a:moveTo>
                    <a:pt x="741642" y="922390"/>
                  </a:moveTo>
                  <a:lnTo>
                    <a:pt x="720920" y="932715"/>
                  </a:lnTo>
                  <a:lnTo>
                    <a:pt x="725951" y="942989"/>
                  </a:lnTo>
                  <a:lnTo>
                    <a:pt x="730861" y="953332"/>
                  </a:lnTo>
                  <a:lnTo>
                    <a:pt x="735643" y="963745"/>
                  </a:lnTo>
                  <a:lnTo>
                    <a:pt x="740291" y="974232"/>
                  </a:lnTo>
                  <a:lnTo>
                    <a:pt x="761505" y="964933"/>
                  </a:lnTo>
                  <a:lnTo>
                    <a:pt x="756745" y="954187"/>
                  </a:lnTo>
                  <a:lnTo>
                    <a:pt x="751844" y="943513"/>
                  </a:lnTo>
                  <a:lnTo>
                    <a:pt x="746711" y="932715"/>
                  </a:lnTo>
                  <a:lnTo>
                    <a:pt x="741642" y="922390"/>
                  </a:lnTo>
                  <a:close/>
                </a:path>
                <a:path w="2506345" h="4854575" extrusionOk="0">
                  <a:moveTo>
                    <a:pt x="2506290" y="926872"/>
                  </a:moveTo>
                  <a:lnTo>
                    <a:pt x="2483139" y="926872"/>
                  </a:lnTo>
                  <a:lnTo>
                    <a:pt x="2483139" y="973216"/>
                  </a:lnTo>
                  <a:lnTo>
                    <a:pt x="2506290" y="973216"/>
                  </a:lnTo>
                  <a:lnTo>
                    <a:pt x="2506290" y="926872"/>
                  </a:lnTo>
                  <a:close/>
                </a:path>
                <a:path w="2506345" h="4854575" extrusionOk="0">
                  <a:moveTo>
                    <a:pt x="695696" y="840456"/>
                  </a:moveTo>
                  <a:lnTo>
                    <a:pt x="676094" y="852780"/>
                  </a:lnTo>
                  <a:lnTo>
                    <a:pt x="682121" y="862514"/>
                  </a:lnTo>
                  <a:lnTo>
                    <a:pt x="688020" y="872321"/>
                  </a:lnTo>
                  <a:lnTo>
                    <a:pt x="693802" y="882203"/>
                  </a:lnTo>
                  <a:lnTo>
                    <a:pt x="699476" y="892161"/>
                  </a:lnTo>
                  <a:lnTo>
                    <a:pt x="719674" y="880852"/>
                  </a:lnTo>
                  <a:lnTo>
                    <a:pt x="713860" y="870629"/>
                  </a:lnTo>
                  <a:lnTo>
                    <a:pt x="707928" y="860497"/>
                  </a:lnTo>
                  <a:lnTo>
                    <a:pt x="701875" y="850443"/>
                  </a:lnTo>
                  <a:lnTo>
                    <a:pt x="695696" y="840456"/>
                  </a:lnTo>
                  <a:close/>
                </a:path>
                <a:path w="2506345" h="4854575" extrusionOk="0">
                  <a:moveTo>
                    <a:pt x="2506290" y="834194"/>
                  </a:moveTo>
                  <a:lnTo>
                    <a:pt x="2483139" y="834194"/>
                  </a:lnTo>
                  <a:lnTo>
                    <a:pt x="2483139" y="880549"/>
                  </a:lnTo>
                  <a:lnTo>
                    <a:pt x="2506290" y="880549"/>
                  </a:lnTo>
                  <a:lnTo>
                    <a:pt x="2506290" y="834194"/>
                  </a:lnTo>
                  <a:close/>
                </a:path>
                <a:path w="2506345" h="4854575" extrusionOk="0">
                  <a:moveTo>
                    <a:pt x="641802" y="763568"/>
                  </a:moveTo>
                  <a:lnTo>
                    <a:pt x="623530" y="777777"/>
                  </a:lnTo>
                  <a:lnTo>
                    <a:pt x="630505" y="786854"/>
                  </a:lnTo>
                  <a:lnTo>
                    <a:pt x="637358" y="796020"/>
                  </a:lnTo>
                  <a:lnTo>
                    <a:pt x="644096" y="805268"/>
                  </a:lnTo>
                  <a:lnTo>
                    <a:pt x="650723" y="814592"/>
                  </a:lnTo>
                  <a:lnTo>
                    <a:pt x="669717" y="801347"/>
                  </a:lnTo>
                  <a:lnTo>
                    <a:pt x="662907" y="791760"/>
                  </a:lnTo>
                  <a:lnTo>
                    <a:pt x="655983" y="782269"/>
                  </a:lnTo>
                  <a:lnTo>
                    <a:pt x="648948" y="772872"/>
                  </a:lnTo>
                  <a:lnTo>
                    <a:pt x="641802" y="763568"/>
                  </a:lnTo>
                  <a:close/>
                </a:path>
                <a:path w="2506345" h="4854575" extrusionOk="0">
                  <a:moveTo>
                    <a:pt x="2506290" y="741485"/>
                  </a:moveTo>
                  <a:lnTo>
                    <a:pt x="2483139" y="741485"/>
                  </a:lnTo>
                  <a:lnTo>
                    <a:pt x="2483139" y="787860"/>
                  </a:lnTo>
                  <a:lnTo>
                    <a:pt x="2506290" y="787860"/>
                  </a:lnTo>
                  <a:lnTo>
                    <a:pt x="2506290" y="741485"/>
                  </a:lnTo>
                  <a:close/>
                </a:path>
                <a:path w="2506345" h="4854575" extrusionOk="0">
                  <a:moveTo>
                    <a:pt x="580558" y="692460"/>
                  </a:moveTo>
                  <a:lnTo>
                    <a:pt x="563783" y="708418"/>
                  </a:lnTo>
                  <a:lnTo>
                    <a:pt x="571624" y="716758"/>
                  </a:lnTo>
                  <a:lnTo>
                    <a:pt x="579363" y="725195"/>
                  </a:lnTo>
                  <a:lnTo>
                    <a:pt x="587006" y="733729"/>
                  </a:lnTo>
                  <a:lnTo>
                    <a:pt x="594557" y="742364"/>
                  </a:lnTo>
                  <a:lnTo>
                    <a:pt x="612086" y="727192"/>
                  </a:lnTo>
                  <a:lnTo>
                    <a:pt x="604362" y="718365"/>
                  </a:lnTo>
                  <a:lnTo>
                    <a:pt x="596534" y="709634"/>
                  </a:lnTo>
                  <a:lnTo>
                    <a:pt x="588600" y="700998"/>
                  </a:lnTo>
                  <a:lnTo>
                    <a:pt x="580558" y="692460"/>
                  </a:lnTo>
                  <a:close/>
                </a:path>
                <a:path w="2506345" h="4854575" extrusionOk="0">
                  <a:moveTo>
                    <a:pt x="2506290" y="648807"/>
                  </a:moveTo>
                  <a:lnTo>
                    <a:pt x="2483139" y="648807"/>
                  </a:lnTo>
                  <a:lnTo>
                    <a:pt x="2483139" y="695183"/>
                  </a:lnTo>
                  <a:lnTo>
                    <a:pt x="2506290" y="695183"/>
                  </a:lnTo>
                  <a:lnTo>
                    <a:pt x="2506290" y="648807"/>
                  </a:lnTo>
                  <a:close/>
                </a:path>
                <a:path w="2506345" h="4854575" extrusionOk="0">
                  <a:moveTo>
                    <a:pt x="512445" y="627802"/>
                  </a:moveTo>
                  <a:lnTo>
                    <a:pt x="497440" y="645456"/>
                  </a:lnTo>
                  <a:lnTo>
                    <a:pt x="506068" y="652945"/>
                  </a:lnTo>
                  <a:lnTo>
                    <a:pt x="514600" y="660550"/>
                  </a:lnTo>
                  <a:lnTo>
                    <a:pt x="523045" y="668265"/>
                  </a:lnTo>
                  <a:lnTo>
                    <a:pt x="531407" y="676084"/>
                  </a:lnTo>
                  <a:lnTo>
                    <a:pt x="547323" y="659267"/>
                  </a:lnTo>
                  <a:lnTo>
                    <a:pt x="538753" y="651234"/>
                  </a:lnTo>
                  <a:lnTo>
                    <a:pt x="530084" y="643311"/>
                  </a:lnTo>
                  <a:lnTo>
                    <a:pt x="521315" y="635500"/>
                  </a:lnTo>
                  <a:lnTo>
                    <a:pt x="512445" y="627802"/>
                  </a:lnTo>
                  <a:close/>
                </a:path>
                <a:path w="2506345" h="4854575" extrusionOk="0">
                  <a:moveTo>
                    <a:pt x="438175" y="570548"/>
                  </a:moveTo>
                  <a:lnTo>
                    <a:pt x="424992" y="589594"/>
                  </a:lnTo>
                  <a:lnTo>
                    <a:pt x="434353" y="596169"/>
                  </a:lnTo>
                  <a:lnTo>
                    <a:pt x="443625" y="602857"/>
                  </a:lnTo>
                  <a:lnTo>
                    <a:pt x="452810" y="609656"/>
                  </a:lnTo>
                  <a:lnTo>
                    <a:pt x="461912" y="616567"/>
                  </a:lnTo>
                  <a:lnTo>
                    <a:pt x="476069" y="598243"/>
                  </a:lnTo>
                  <a:lnTo>
                    <a:pt x="466732" y="591144"/>
                  </a:lnTo>
                  <a:lnTo>
                    <a:pt x="457310" y="584160"/>
                  </a:lnTo>
                  <a:lnTo>
                    <a:pt x="447794" y="577293"/>
                  </a:lnTo>
                  <a:lnTo>
                    <a:pt x="438175" y="570548"/>
                  </a:lnTo>
                  <a:close/>
                </a:path>
                <a:path w="2506345" h="4854575" extrusionOk="0">
                  <a:moveTo>
                    <a:pt x="2506290" y="556140"/>
                  </a:moveTo>
                  <a:lnTo>
                    <a:pt x="2483139" y="556140"/>
                  </a:lnTo>
                  <a:lnTo>
                    <a:pt x="2483139" y="602494"/>
                  </a:lnTo>
                  <a:lnTo>
                    <a:pt x="2506290" y="602494"/>
                  </a:lnTo>
                  <a:lnTo>
                    <a:pt x="2506290" y="556140"/>
                  </a:lnTo>
                  <a:close/>
                </a:path>
                <a:path w="2506345" h="4854575" extrusionOk="0">
                  <a:moveTo>
                    <a:pt x="358460" y="521167"/>
                  </a:moveTo>
                  <a:lnTo>
                    <a:pt x="347350" y="541459"/>
                  </a:lnTo>
                  <a:lnTo>
                    <a:pt x="357314" y="547025"/>
                  </a:lnTo>
                  <a:lnTo>
                    <a:pt x="367210" y="552727"/>
                  </a:lnTo>
                  <a:lnTo>
                    <a:pt x="377037" y="558565"/>
                  </a:lnTo>
                  <a:lnTo>
                    <a:pt x="386794" y="564537"/>
                  </a:lnTo>
                  <a:lnTo>
                    <a:pt x="398951" y="544810"/>
                  </a:lnTo>
                  <a:lnTo>
                    <a:pt x="388960" y="538704"/>
                  </a:lnTo>
                  <a:lnTo>
                    <a:pt x="378878" y="532729"/>
                  </a:lnTo>
                  <a:lnTo>
                    <a:pt x="368709" y="526884"/>
                  </a:lnTo>
                  <a:lnTo>
                    <a:pt x="358460" y="521167"/>
                  </a:lnTo>
                  <a:close/>
                </a:path>
                <a:path w="2506345" h="4854575" extrusionOk="0">
                  <a:moveTo>
                    <a:pt x="274106" y="480362"/>
                  </a:moveTo>
                  <a:lnTo>
                    <a:pt x="265143" y="501691"/>
                  </a:lnTo>
                  <a:lnTo>
                    <a:pt x="275655" y="506205"/>
                  </a:lnTo>
                  <a:lnTo>
                    <a:pt x="286089" y="510854"/>
                  </a:lnTo>
                  <a:lnTo>
                    <a:pt x="296458" y="515631"/>
                  </a:lnTo>
                  <a:lnTo>
                    <a:pt x="306775" y="520528"/>
                  </a:lnTo>
                  <a:lnTo>
                    <a:pt x="316838" y="499670"/>
                  </a:lnTo>
                  <a:lnTo>
                    <a:pt x="306262" y="494643"/>
                  </a:lnTo>
                  <a:lnTo>
                    <a:pt x="295614" y="489745"/>
                  </a:lnTo>
                  <a:lnTo>
                    <a:pt x="284894" y="484982"/>
                  </a:lnTo>
                  <a:lnTo>
                    <a:pt x="274106" y="480362"/>
                  </a:lnTo>
                  <a:close/>
                </a:path>
                <a:path w="2506345" h="4854575" extrusionOk="0">
                  <a:moveTo>
                    <a:pt x="2506290" y="463441"/>
                  </a:moveTo>
                  <a:lnTo>
                    <a:pt x="2483139" y="463441"/>
                  </a:lnTo>
                  <a:lnTo>
                    <a:pt x="2483139" y="509743"/>
                  </a:lnTo>
                  <a:lnTo>
                    <a:pt x="2506290" y="509743"/>
                  </a:lnTo>
                  <a:lnTo>
                    <a:pt x="2506290" y="463441"/>
                  </a:lnTo>
                  <a:close/>
                </a:path>
                <a:path w="2506345" h="4854575" extrusionOk="0">
                  <a:moveTo>
                    <a:pt x="186015" y="448635"/>
                  </a:moveTo>
                  <a:lnTo>
                    <a:pt x="179334" y="470823"/>
                  </a:lnTo>
                  <a:lnTo>
                    <a:pt x="190256" y="474205"/>
                  </a:lnTo>
                  <a:lnTo>
                    <a:pt x="201112" y="477715"/>
                  </a:lnTo>
                  <a:lnTo>
                    <a:pt x="211904" y="481363"/>
                  </a:lnTo>
                  <a:lnTo>
                    <a:pt x="222631" y="485158"/>
                  </a:lnTo>
                  <a:lnTo>
                    <a:pt x="230453" y="463357"/>
                  </a:lnTo>
                  <a:lnTo>
                    <a:pt x="219446" y="459459"/>
                  </a:lnTo>
                  <a:lnTo>
                    <a:pt x="208368" y="455709"/>
                  </a:lnTo>
                  <a:lnTo>
                    <a:pt x="197223" y="452103"/>
                  </a:lnTo>
                  <a:lnTo>
                    <a:pt x="186015" y="448635"/>
                  </a:lnTo>
                  <a:close/>
                </a:path>
                <a:path w="2506345" h="4854575" extrusionOk="0">
                  <a:moveTo>
                    <a:pt x="94845" y="426343"/>
                  </a:moveTo>
                  <a:lnTo>
                    <a:pt x="90552" y="449096"/>
                  </a:lnTo>
                  <a:lnTo>
                    <a:pt x="101815" y="451310"/>
                  </a:lnTo>
                  <a:lnTo>
                    <a:pt x="113008" y="453656"/>
                  </a:lnTo>
                  <a:lnTo>
                    <a:pt x="124140" y="456143"/>
                  </a:lnTo>
                  <a:lnTo>
                    <a:pt x="135221" y="458781"/>
                  </a:lnTo>
                  <a:lnTo>
                    <a:pt x="140760" y="436290"/>
                  </a:lnTo>
                  <a:lnTo>
                    <a:pt x="129364" y="433594"/>
                  </a:lnTo>
                  <a:lnTo>
                    <a:pt x="117916" y="431037"/>
                  </a:lnTo>
                  <a:lnTo>
                    <a:pt x="106411" y="428620"/>
                  </a:lnTo>
                  <a:lnTo>
                    <a:pt x="94845" y="426343"/>
                  </a:lnTo>
                  <a:close/>
                </a:path>
                <a:path w="2506345" h="4854575" extrusionOk="0">
                  <a:moveTo>
                    <a:pt x="1832" y="413809"/>
                  </a:moveTo>
                  <a:lnTo>
                    <a:pt x="0" y="436939"/>
                  </a:lnTo>
                  <a:lnTo>
                    <a:pt x="11411" y="437927"/>
                  </a:lnTo>
                  <a:lnTo>
                    <a:pt x="22783" y="439069"/>
                  </a:lnTo>
                  <a:lnTo>
                    <a:pt x="34121" y="440366"/>
                  </a:lnTo>
                  <a:lnTo>
                    <a:pt x="45433" y="441819"/>
                  </a:lnTo>
                  <a:lnTo>
                    <a:pt x="48511" y="418845"/>
                  </a:lnTo>
                  <a:lnTo>
                    <a:pt x="36890" y="417374"/>
                  </a:lnTo>
                  <a:lnTo>
                    <a:pt x="25238" y="416040"/>
                  </a:lnTo>
                  <a:lnTo>
                    <a:pt x="13553" y="414851"/>
                  </a:lnTo>
                  <a:lnTo>
                    <a:pt x="1832" y="413809"/>
                  </a:lnTo>
                  <a:close/>
                </a:path>
                <a:path w="2506345" h="4854575" extrusionOk="0">
                  <a:moveTo>
                    <a:pt x="2506290" y="370763"/>
                  </a:moveTo>
                  <a:lnTo>
                    <a:pt x="2483139" y="370763"/>
                  </a:lnTo>
                  <a:lnTo>
                    <a:pt x="2483139" y="417076"/>
                  </a:lnTo>
                  <a:lnTo>
                    <a:pt x="2506290" y="417076"/>
                  </a:lnTo>
                  <a:lnTo>
                    <a:pt x="2506290" y="370763"/>
                  </a:lnTo>
                  <a:close/>
                </a:path>
                <a:path w="2506345" h="4854575" extrusionOk="0">
                  <a:moveTo>
                    <a:pt x="2506290" y="278085"/>
                  </a:moveTo>
                  <a:lnTo>
                    <a:pt x="2483139" y="278085"/>
                  </a:lnTo>
                  <a:lnTo>
                    <a:pt x="2483139" y="324367"/>
                  </a:lnTo>
                  <a:lnTo>
                    <a:pt x="2506290" y="324367"/>
                  </a:lnTo>
                  <a:lnTo>
                    <a:pt x="2506290" y="278085"/>
                  </a:lnTo>
                  <a:close/>
                </a:path>
                <a:path w="2506345" h="4854575" extrusionOk="0">
                  <a:moveTo>
                    <a:pt x="2506290" y="185376"/>
                  </a:moveTo>
                  <a:lnTo>
                    <a:pt x="2483139" y="185376"/>
                  </a:lnTo>
                  <a:lnTo>
                    <a:pt x="2483139" y="231710"/>
                  </a:lnTo>
                  <a:lnTo>
                    <a:pt x="2506290" y="231710"/>
                  </a:lnTo>
                  <a:lnTo>
                    <a:pt x="2506290" y="185376"/>
                  </a:lnTo>
                  <a:close/>
                </a:path>
                <a:path w="2506345" h="4854575" extrusionOk="0">
                  <a:moveTo>
                    <a:pt x="2506290" y="92688"/>
                  </a:moveTo>
                  <a:lnTo>
                    <a:pt x="2483139" y="92688"/>
                  </a:lnTo>
                  <a:lnTo>
                    <a:pt x="2483139" y="139021"/>
                  </a:lnTo>
                  <a:lnTo>
                    <a:pt x="2506290" y="139021"/>
                  </a:lnTo>
                  <a:lnTo>
                    <a:pt x="2506290" y="92688"/>
                  </a:lnTo>
                  <a:close/>
                </a:path>
                <a:path w="2506345" h="4854575" extrusionOk="0">
                  <a:moveTo>
                    <a:pt x="2506290" y="0"/>
                  </a:moveTo>
                  <a:lnTo>
                    <a:pt x="2483139" y="0"/>
                  </a:lnTo>
                  <a:lnTo>
                    <a:pt x="2483139" y="46333"/>
                  </a:lnTo>
                  <a:lnTo>
                    <a:pt x="2506290" y="46333"/>
                  </a:lnTo>
                  <a:lnTo>
                    <a:pt x="2506290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121;p1"/>
            <p:cNvSpPr/>
            <p:nvPr/>
          </p:nvSpPr>
          <p:spPr>
            <a:xfrm>
              <a:off x="2191839" y="7557906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0" y="0"/>
                  </a:moveTo>
                  <a:lnTo>
                    <a:pt x="0" y="23140"/>
                  </a:lnTo>
                  <a:lnTo>
                    <a:pt x="15277" y="23245"/>
                  </a:lnTo>
                  <a:lnTo>
                    <a:pt x="22826" y="23465"/>
                  </a:lnTo>
                  <a:lnTo>
                    <a:pt x="23465" y="303"/>
                  </a:lnTo>
                  <a:lnTo>
                    <a:pt x="15674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122;p1"/>
            <p:cNvSpPr/>
            <p:nvPr/>
          </p:nvSpPr>
          <p:spPr>
            <a:xfrm>
              <a:off x="4734463" y="1316075"/>
              <a:ext cx="1530350" cy="5761990"/>
            </a:xfrm>
            <a:custGeom>
              <a:avLst/>
              <a:gdLst/>
              <a:ahLst/>
              <a:cxnLst/>
              <a:rect l="l" t="t" r="r" b="b"/>
              <a:pathLst>
                <a:path w="1530350" h="5761990" extrusionOk="0">
                  <a:moveTo>
                    <a:pt x="764856" y="0"/>
                  </a:moveTo>
                  <a:lnTo>
                    <a:pt x="721516" y="1506"/>
                  </a:lnTo>
                  <a:lnTo>
                    <a:pt x="678803" y="5970"/>
                  </a:lnTo>
                  <a:lnTo>
                    <a:pt x="636781" y="13312"/>
                  </a:lnTo>
                  <a:lnTo>
                    <a:pt x="595516" y="23450"/>
                  </a:lnTo>
                  <a:lnTo>
                    <a:pt x="555072" y="36305"/>
                  </a:lnTo>
                  <a:lnTo>
                    <a:pt x="515515" y="51795"/>
                  </a:lnTo>
                  <a:lnTo>
                    <a:pt x="476909" y="69839"/>
                  </a:lnTo>
                  <a:lnTo>
                    <a:pt x="439320" y="90357"/>
                  </a:lnTo>
                  <a:lnTo>
                    <a:pt x="402813" y="113267"/>
                  </a:lnTo>
                  <a:lnTo>
                    <a:pt x="367452" y="138490"/>
                  </a:lnTo>
                  <a:lnTo>
                    <a:pt x="333303" y="165944"/>
                  </a:lnTo>
                  <a:lnTo>
                    <a:pt x="300432" y="195548"/>
                  </a:lnTo>
                  <a:lnTo>
                    <a:pt x="268902" y="227222"/>
                  </a:lnTo>
                  <a:lnTo>
                    <a:pt x="238779" y="260885"/>
                  </a:lnTo>
                  <a:lnTo>
                    <a:pt x="210127" y="296456"/>
                  </a:lnTo>
                  <a:lnTo>
                    <a:pt x="183013" y="333855"/>
                  </a:lnTo>
                  <a:lnTo>
                    <a:pt x="157502" y="373000"/>
                  </a:lnTo>
                  <a:lnTo>
                    <a:pt x="133657" y="413811"/>
                  </a:lnTo>
                  <a:lnTo>
                    <a:pt x="111544" y="456207"/>
                  </a:lnTo>
                  <a:lnTo>
                    <a:pt x="91229" y="500107"/>
                  </a:lnTo>
                  <a:lnTo>
                    <a:pt x="72776" y="545431"/>
                  </a:lnTo>
                  <a:lnTo>
                    <a:pt x="56250" y="592098"/>
                  </a:lnTo>
                  <a:lnTo>
                    <a:pt x="41717" y="640026"/>
                  </a:lnTo>
                  <a:lnTo>
                    <a:pt x="29241" y="689135"/>
                  </a:lnTo>
                  <a:lnTo>
                    <a:pt x="18887" y="739345"/>
                  </a:lnTo>
                  <a:lnTo>
                    <a:pt x="10722" y="790575"/>
                  </a:lnTo>
                  <a:lnTo>
                    <a:pt x="4808" y="842743"/>
                  </a:lnTo>
                  <a:lnTo>
                    <a:pt x="1213" y="895769"/>
                  </a:lnTo>
                  <a:lnTo>
                    <a:pt x="0" y="949573"/>
                  </a:lnTo>
                  <a:lnTo>
                    <a:pt x="0" y="5761447"/>
                  </a:lnTo>
                  <a:lnTo>
                    <a:pt x="46302" y="5761447"/>
                  </a:lnTo>
                  <a:lnTo>
                    <a:pt x="46302" y="949573"/>
                  </a:lnTo>
                  <a:lnTo>
                    <a:pt x="47524" y="896578"/>
                  </a:lnTo>
                  <a:lnTo>
                    <a:pt x="51145" y="844379"/>
                  </a:lnTo>
                  <a:lnTo>
                    <a:pt x="57098" y="793062"/>
                  </a:lnTo>
                  <a:lnTo>
                    <a:pt x="65313" y="742712"/>
                  </a:lnTo>
                  <a:lnTo>
                    <a:pt x="75724" y="693414"/>
                  </a:lnTo>
                  <a:lnTo>
                    <a:pt x="88263" y="645254"/>
                  </a:lnTo>
                  <a:lnTo>
                    <a:pt x="102861" y="598317"/>
                  </a:lnTo>
                  <a:lnTo>
                    <a:pt x="119450" y="552688"/>
                  </a:lnTo>
                  <a:lnTo>
                    <a:pt x="137963" y="508453"/>
                  </a:lnTo>
                  <a:lnTo>
                    <a:pt x="158332" y="465698"/>
                  </a:lnTo>
                  <a:lnTo>
                    <a:pt x="180488" y="424506"/>
                  </a:lnTo>
                  <a:lnTo>
                    <a:pt x="204364" y="384964"/>
                  </a:lnTo>
                  <a:lnTo>
                    <a:pt x="229893" y="347158"/>
                  </a:lnTo>
                  <a:lnTo>
                    <a:pt x="257005" y="311172"/>
                  </a:lnTo>
                  <a:lnTo>
                    <a:pt x="285633" y="277092"/>
                  </a:lnTo>
                  <a:lnTo>
                    <a:pt x="315709" y="245003"/>
                  </a:lnTo>
                  <a:lnTo>
                    <a:pt x="347166" y="214991"/>
                  </a:lnTo>
                  <a:lnTo>
                    <a:pt x="379935" y="187140"/>
                  </a:lnTo>
                  <a:lnTo>
                    <a:pt x="413948" y="161537"/>
                  </a:lnTo>
                  <a:lnTo>
                    <a:pt x="449138" y="138267"/>
                  </a:lnTo>
                  <a:lnTo>
                    <a:pt x="485436" y="117415"/>
                  </a:lnTo>
                  <a:lnTo>
                    <a:pt x="522775" y="99066"/>
                  </a:lnTo>
                  <a:lnTo>
                    <a:pt x="561086" y="83305"/>
                  </a:lnTo>
                  <a:lnTo>
                    <a:pt x="600302" y="70219"/>
                  </a:lnTo>
                  <a:lnTo>
                    <a:pt x="640355" y="59893"/>
                  </a:lnTo>
                  <a:lnTo>
                    <a:pt x="681177" y="52411"/>
                  </a:lnTo>
                  <a:lnTo>
                    <a:pt x="722700" y="47859"/>
                  </a:lnTo>
                  <a:lnTo>
                    <a:pt x="764856" y="46323"/>
                  </a:lnTo>
                  <a:lnTo>
                    <a:pt x="1000226" y="46323"/>
                  </a:lnTo>
                  <a:lnTo>
                    <a:pt x="974642" y="36305"/>
                  </a:lnTo>
                  <a:lnTo>
                    <a:pt x="934196" y="23450"/>
                  </a:lnTo>
                  <a:lnTo>
                    <a:pt x="892930" y="13312"/>
                  </a:lnTo>
                  <a:lnTo>
                    <a:pt x="850908" y="5970"/>
                  </a:lnTo>
                  <a:lnTo>
                    <a:pt x="808195" y="1506"/>
                  </a:lnTo>
                  <a:lnTo>
                    <a:pt x="764856" y="0"/>
                  </a:lnTo>
                  <a:close/>
                </a:path>
                <a:path w="1530350" h="5761990" extrusionOk="0">
                  <a:moveTo>
                    <a:pt x="1000226" y="46323"/>
                  </a:moveTo>
                  <a:lnTo>
                    <a:pt x="764856" y="46323"/>
                  </a:lnTo>
                  <a:lnTo>
                    <a:pt x="807016" y="47859"/>
                  </a:lnTo>
                  <a:lnTo>
                    <a:pt x="848543" y="52411"/>
                  </a:lnTo>
                  <a:lnTo>
                    <a:pt x="889369" y="59893"/>
                  </a:lnTo>
                  <a:lnTo>
                    <a:pt x="929425" y="70219"/>
                  </a:lnTo>
                  <a:lnTo>
                    <a:pt x="968645" y="83305"/>
                  </a:lnTo>
                  <a:lnTo>
                    <a:pt x="1006960" y="99066"/>
                  </a:lnTo>
                  <a:lnTo>
                    <a:pt x="1044301" y="117415"/>
                  </a:lnTo>
                  <a:lnTo>
                    <a:pt x="1080603" y="138267"/>
                  </a:lnTo>
                  <a:lnTo>
                    <a:pt x="1115795" y="161537"/>
                  </a:lnTo>
                  <a:lnTo>
                    <a:pt x="1149811" y="187140"/>
                  </a:lnTo>
                  <a:lnTo>
                    <a:pt x="1182582" y="214991"/>
                  </a:lnTo>
                  <a:lnTo>
                    <a:pt x="1214040" y="245003"/>
                  </a:lnTo>
                  <a:lnTo>
                    <a:pt x="1244119" y="277092"/>
                  </a:lnTo>
                  <a:lnTo>
                    <a:pt x="1272749" y="311172"/>
                  </a:lnTo>
                  <a:lnTo>
                    <a:pt x="1299862" y="347158"/>
                  </a:lnTo>
                  <a:lnTo>
                    <a:pt x="1325392" y="384964"/>
                  </a:lnTo>
                  <a:lnTo>
                    <a:pt x="1349270" y="424506"/>
                  </a:lnTo>
                  <a:lnTo>
                    <a:pt x="1371427" y="465698"/>
                  </a:lnTo>
                  <a:lnTo>
                    <a:pt x="1391797" y="508453"/>
                  </a:lnTo>
                  <a:lnTo>
                    <a:pt x="1410311" y="552688"/>
                  </a:lnTo>
                  <a:lnTo>
                    <a:pt x="1426901" y="598317"/>
                  </a:lnTo>
                  <a:lnTo>
                    <a:pt x="1441500" y="645254"/>
                  </a:lnTo>
                  <a:lnTo>
                    <a:pt x="1454038" y="693414"/>
                  </a:lnTo>
                  <a:lnTo>
                    <a:pt x="1464450" y="742712"/>
                  </a:lnTo>
                  <a:lnTo>
                    <a:pt x="1472666" y="793062"/>
                  </a:lnTo>
                  <a:lnTo>
                    <a:pt x="1478619" y="844379"/>
                  </a:lnTo>
                  <a:lnTo>
                    <a:pt x="1482240" y="896578"/>
                  </a:lnTo>
                  <a:lnTo>
                    <a:pt x="1483462" y="949573"/>
                  </a:lnTo>
                  <a:lnTo>
                    <a:pt x="1483462" y="3495621"/>
                  </a:lnTo>
                  <a:lnTo>
                    <a:pt x="1529785" y="3495621"/>
                  </a:lnTo>
                  <a:lnTo>
                    <a:pt x="1529785" y="949573"/>
                  </a:lnTo>
                  <a:lnTo>
                    <a:pt x="1528572" y="895769"/>
                  </a:lnTo>
                  <a:lnTo>
                    <a:pt x="1524976" y="842743"/>
                  </a:lnTo>
                  <a:lnTo>
                    <a:pt x="1519061" y="790575"/>
                  </a:lnTo>
                  <a:lnTo>
                    <a:pt x="1510893" y="739345"/>
                  </a:lnTo>
                  <a:lnTo>
                    <a:pt x="1500537" y="689135"/>
                  </a:lnTo>
                  <a:lnTo>
                    <a:pt x="1488059" y="640026"/>
                  </a:lnTo>
                  <a:lnTo>
                    <a:pt x="1473523" y="592098"/>
                  </a:lnTo>
                  <a:lnTo>
                    <a:pt x="1456994" y="545431"/>
                  </a:lnTo>
                  <a:lnTo>
                    <a:pt x="1438537" y="500107"/>
                  </a:lnTo>
                  <a:lnTo>
                    <a:pt x="1418218" y="456207"/>
                  </a:lnTo>
                  <a:lnTo>
                    <a:pt x="1396102" y="413811"/>
                  </a:lnTo>
                  <a:lnTo>
                    <a:pt x="1372253" y="373000"/>
                  </a:lnTo>
                  <a:lnTo>
                    <a:pt x="1346737" y="333855"/>
                  </a:lnTo>
                  <a:lnTo>
                    <a:pt x="1319619" y="296456"/>
                  </a:lnTo>
                  <a:lnTo>
                    <a:pt x="1290964" y="260885"/>
                  </a:lnTo>
                  <a:lnTo>
                    <a:pt x="1260837" y="227222"/>
                  </a:lnTo>
                  <a:lnTo>
                    <a:pt x="1229303" y="195548"/>
                  </a:lnTo>
                  <a:lnTo>
                    <a:pt x="1196427" y="165944"/>
                  </a:lnTo>
                  <a:lnTo>
                    <a:pt x="1162275" y="138490"/>
                  </a:lnTo>
                  <a:lnTo>
                    <a:pt x="1126911" y="113267"/>
                  </a:lnTo>
                  <a:lnTo>
                    <a:pt x="1090401" y="90357"/>
                  </a:lnTo>
                  <a:lnTo>
                    <a:pt x="1052809" y="69839"/>
                  </a:lnTo>
                  <a:lnTo>
                    <a:pt x="1014201" y="51795"/>
                  </a:lnTo>
                  <a:lnTo>
                    <a:pt x="1000226" y="46323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123;p1"/>
            <p:cNvSpPr/>
            <p:nvPr/>
          </p:nvSpPr>
          <p:spPr>
            <a:xfrm>
              <a:off x="7395062" y="490431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124;p1"/>
            <p:cNvSpPr/>
            <p:nvPr/>
          </p:nvSpPr>
          <p:spPr>
            <a:xfrm>
              <a:off x="6229496" y="4883076"/>
              <a:ext cx="1188720" cy="1684020"/>
            </a:xfrm>
            <a:custGeom>
              <a:avLst/>
              <a:gdLst/>
              <a:ahLst/>
              <a:cxnLst/>
              <a:rect l="l" t="t" r="r" b="b"/>
              <a:pathLst>
                <a:path w="1188720" h="1684020" extrusionOk="0">
                  <a:moveTo>
                    <a:pt x="578327" y="1660378"/>
                  </a:moveTo>
                  <a:lnTo>
                    <a:pt x="577553" y="1683477"/>
                  </a:lnTo>
                  <a:lnTo>
                    <a:pt x="583259" y="1683686"/>
                  </a:lnTo>
                  <a:lnTo>
                    <a:pt x="588987" y="1683791"/>
                  </a:lnTo>
                  <a:lnTo>
                    <a:pt x="594725" y="1683791"/>
                  </a:lnTo>
                  <a:lnTo>
                    <a:pt x="602430" y="1683731"/>
                  </a:lnTo>
                  <a:lnTo>
                    <a:pt x="610125" y="1683550"/>
                  </a:lnTo>
                  <a:lnTo>
                    <a:pt x="617793" y="1683252"/>
                  </a:lnTo>
                  <a:lnTo>
                    <a:pt x="625415" y="1682838"/>
                  </a:lnTo>
                  <a:lnTo>
                    <a:pt x="624054" y="1660562"/>
                  </a:lnTo>
                  <a:lnTo>
                    <a:pt x="601390" y="1660562"/>
                  </a:lnTo>
                  <a:lnTo>
                    <a:pt x="583479" y="1660535"/>
                  </a:lnTo>
                  <a:lnTo>
                    <a:pt x="578327" y="1660378"/>
                  </a:lnTo>
                  <a:close/>
                </a:path>
                <a:path w="1188720" h="1684020" extrusionOk="0">
                  <a:moveTo>
                    <a:pt x="624001" y="1659708"/>
                  </a:moveTo>
                  <a:lnTo>
                    <a:pt x="616496" y="1660107"/>
                  </a:lnTo>
                  <a:lnTo>
                    <a:pt x="608955" y="1660391"/>
                  </a:lnTo>
                  <a:lnTo>
                    <a:pt x="601390" y="1660562"/>
                  </a:lnTo>
                  <a:lnTo>
                    <a:pt x="624054" y="1660562"/>
                  </a:lnTo>
                  <a:lnTo>
                    <a:pt x="624001" y="1659708"/>
                  </a:lnTo>
                  <a:close/>
                </a:path>
                <a:path w="1188720" h="1684020" extrusionOk="0">
                  <a:moveTo>
                    <a:pt x="487807" y="1648756"/>
                  </a:moveTo>
                  <a:lnTo>
                    <a:pt x="518035" y="1678041"/>
                  </a:lnTo>
                  <a:lnTo>
                    <a:pt x="529826" y="1679708"/>
                  </a:lnTo>
                  <a:lnTo>
                    <a:pt x="532769" y="1656724"/>
                  </a:lnTo>
                  <a:lnTo>
                    <a:pt x="521519" y="1655133"/>
                  </a:lnTo>
                  <a:lnTo>
                    <a:pt x="510252" y="1653270"/>
                  </a:lnTo>
                  <a:lnTo>
                    <a:pt x="499003" y="1651142"/>
                  </a:lnTo>
                  <a:lnTo>
                    <a:pt x="487807" y="1648756"/>
                  </a:lnTo>
                  <a:close/>
                </a:path>
                <a:path w="1188720" h="1684020" extrusionOk="0">
                  <a:moveTo>
                    <a:pt x="714103" y="1645583"/>
                  </a:moveTo>
                  <a:lnTo>
                    <a:pt x="702974" y="1648280"/>
                  </a:lnTo>
                  <a:lnTo>
                    <a:pt x="691799" y="1650714"/>
                  </a:lnTo>
                  <a:lnTo>
                    <a:pt x="680606" y="1652880"/>
                  </a:lnTo>
                  <a:lnTo>
                    <a:pt x="669424" y="1654776"/>
                  </a:lnTo>
                  <a:lnTo>
                    <a:pt x="672995" y="1677676"/>
                  </a:lnTo>
                  <a:lnTo>
                    <a:pt x="684701" y="1675683"/>
                  </a:lnTo>
                  <a:lnTo>
                    <a:pt x="696447" y="1673403"/>
                  </a:lnTo>
                  <a:lnTo>
                    <a:pt x="708181" y="1670845"/>
                  </a:lnTo>
                  <a:lnTo>
                    <a:pt x="719852" y="1668022"/>
                  </a:lnTo>
                  <a:lnTo>
                    <a:pt x="714103" y="1645583"/>
                  </a:lnTo>
                  <a:close/>
                </a:path>
                <a:path w="1188720" h="1684020" extrusionOk="0">
                  <a:moveTo>
                    <a:pt x="400972" y="1620442"/>
                  </a:moveTo>
                  <a:lnTo>
                    <a:pt x="425239" y="1654790"/>
                  </a:lnTo>
                  <a:lnTo>
                    <a:pt x="436541" y="1658609"/>
                  </a:lnTo>
                  <a:lnTo>
                    <a:pt x="443756" y="1636588"/>
                  </a:lnTo>
                  <a:lnTo>
                    <a:pt x="432936" y="1632938"/>
                  </a:lnTo>
                  <a:lnTo>
                    <a:pt x="422175" y="1629018"/>
                  </a:lnTo>
                  <a:lnTo>
                    <a:pt x="411509" y="1624847"/>
                  </a:lnTo>
                  <a:lnTo>
                    <a:pt x="400972" y="1620442"/>
                  </a:lnTo>
                  <a:close/>
                </a:path>
                <a:path w="1188720" h="1684020" extrusionOk="0">
                  <a:moveTo>
                    <a:pt x="800153" y="1614914"/>
                  </a:moveTo>
                  <a:lnTo>
                    <a:pt x="789681" y="1619615"/>
                  </a:lnTo>
                  <a:lnTo>
                    <a:pt x="779107" y="1624078"/>
                  </a:lnTo>
                  <a:lnTo>
                    <a:pt x="768477" y="1628287"/>
                  </a:lnTo>
                  <a:lnTo>
                    <a:pt x="757840" y="1632222"/>
                  </a:lnTo>
                  <a:lnTo>
                    <a:pt x="765599" y="1654054"/>
                  </a:lnTo>
                  <a:lnTo>
                    <a:pt x="776743" y="1649932"/>
                  </a:lnTo>
                  <a:lnTo>
                    <a:pt x="787862" y="1645524"/>
                  </a:lnTo>
                  <a:lnTo>
                    <a:pt x="798920" y="1640847"/>
                  </a:lnTo>
                  <a:lnTo>
                    <a:pt x="809881" y="1635918"/>
                  </a:lnTo>
                  <a:lnTo>
                    <a:pt x="800153" y="1614914"/>
                  </a:lnTo>
                  <a:close/>
                </a:path>
                <a:path w="1188720" h="1684020" extrusionOk="0">
                  <a:moveTo>
                    <a:pt x="320440" y="1577061"/>
                  </a:moveTo>
                  <a:lnTo>
                    <a:pt x="307770" y="1596464"/>
                  </a:lnTo>
                  <a:lnTo>
                    <a:pt x="317915" y="1602936"/>
                  </a:lnTo>
                  <a:lnTo>
                    <a:pt x="328148" y="1609178"/>
                  </a:lnTo>
                  <a:lnTo>
                    <a:pt x="338437" y="1615173"/>
                  </a:lnTo>
                  <a:lnTo>
                    <a:pt x="348753" y="1620903"/>
                  </a:lnTo>
                  <a:lnTo>
                    <a:pt x="359790" y="1600516"/>
                  </a:lnTo>
                  <a:lnTo>
                    <a:pt x="349882" y="1595031"/>
                  </a:lnTo>
                  <a:lnTo>
                    <a:pt x="339993" y="1589276"/>
                  </a:lnTo>
                  <a:lnTo>
                    <a:pt x="330165" y="1583277"/>
                  </a:lnTo>
                  <a:lnTo>
                    <a:pt x="320440" y="1577061"/>
                  </a:lnTo>
                  <a:close/>
                </a:path>
                <a:path w="1188720" h="1684020" extrusionOk="0">
                  <a:moveTo>
                    <a:pt x="879627" y="1569386"/>
                  </a:moveTo>
                  <a:lnTo>
                    <a:pt x="870063" y="1575850"/>
                  </a:lnTo>
                  <a:lnTo>
                    <a:pt x="860387" y="1582098"/>
                  </a:lnTo>
                  <a:lnTo>
                    <a:pt x="850640" y="1588110"/>
                  </a:lnTo>
                  <a:lnTo>
                    <a:pt x="840864" y="1593867"/>
                  </a:lnTo>
                  <a:lnTo>
                    <a:pt x="852361" y="1613961"/>
                  </a:lnTo>
                  <a:lnTo>
                    <a:pt x="862556" y="1607964"/>
                  </a:lnTo>
                  <a:lnTo>
                    <a:pt x="872716" y="1601703"/>
                  </a:lnTo>
                  <a:lnTo>
                    <a:pt x="882806" y="1595197"/>
                  </a:lnTo>
                  <a:lnTo>
                    <a:pt x="892789" y="1588464"/>
                  </a:lnTo>
                  <a:lnTo>
                    <a:pt x="879627" y="1569386"/>
                  </a:lnTo>
                  <a:close/>
                </a:path>
                <a:path w="1188720" h="1684020" extrusionOk="0">
                  <a:moveTo>
                    <a:pt x="248107" y="1520780"/>
                  </a:moveTo>
                  <a:lnTo>
                    <a:pt x="232506" y="1537890"/>
                  </a:lnTo>
                  <a:lnTo>
                    <a:pt x="241390" y="1545854"/>
                  </a:lnTo>
                  <a:lnTo>
                    <a:pt x="250449" y="1553659"/>
                  </a:lnTo>
                  <a:lnTo>
                    <a:pt x="259650" y="1561276"/>
                  </a:lnTo>
                  <a:lnTo>
                    <a:pt x="268965" y="1568674"/>
                  </a:lnTo>
                  <a:lnTo>
                    <a:pt x="283153" y="1550392"/>
                  </a:lnTo>
                  <a:lnTo>
                    <a:pt x="274243" y="1543281"/>
                  </a:lnTo>
                  <a:lnTo>
                    <a:pt x="265410" y="1535959"/>
                  </a:lnTo>
                  <a:lnTo>
                    <a:pt x="256687" y="1528451"/>
                  </a:lnTo>
                  <a:lnTo>
                    <a:pt x="248107" y="1520780"/>
                  </a:lnTo>
                  <a:close/>
                </a:path>
                <a:path w="1188720" h="1684020" extrusionOk="0">
                  <a:moveTo>
                    <a:pt x="950630" y="1511388"/>
                  </a:moveTo>
                  <a:lnTo>
                    <a:pt x="942266" y="1519245"/>
                  </a:lnTo>
                  <a:lnTo>
                    <a:pt x="933722" y="1526953"/>
                  </a:lnTo>
                  <a:lnTo>
                    <a:pt x="925042" y="1534488"/>
                  </a:lnTo>
                  <a:lnTo>
                    <a:pt x="916265" y="1541827"/>
                  </a:lnTo>
                  <a:lnTo>
                    <a:pt x="930966" y="1559743"/>
                  </a:lnTo>
                  <a:lnTo>
                    <a:pt x="940079" y="1552128"/>
                  </a:lnTo>
                  <a:lnTo>
                    <a:pt x="949092" y="1544294"/>
                  </a:lnTo>
                  <a:lnTo>
                    <a:pt x="957967" y="1536282"/>
                  </a:lnTo>
                  <a:lnTo>
                    <a:pt x="966661" y="1528131"/>
                  </a:lnTo>
                  <a:lnTo>
                    <a:pt x="950630" y="1511388"/>
                  </a:lnTo>
                  <a:close/>
                </a:path>
                <a:path w="1188720" h="1684020" extrusionOk="0">
                  <a:moveTo>
                    <a:pt x="185093" y="1453966"/>
                  </a:moveTo>
                  <a:lnTo>
                    <a:pt x="167115" y="1468594"/>
                  </a:lnTo>
                  <a:lnTo>
                    <a:pt x="174753" y="1477770"/>
                  </a:lnTo>
                  <a:lnTo>
                    <a:pt x="182548" y="1486822"/>
                  </a:lnTo>
                  <a:lnTo>
                    <a:pt x="190481" y="1495715"/>
                  </a:lnTo>
                  <a:lnTo>
                    <a:pt x="198538" y="1504414"/>
                  </a:lnTo>
                  <a:lnTo>
                    <a:pt x="215354" y="1488520"/>
                  </a:lnTo>
                  <a:lnTo>
                    <a:pt x="207604" y="1480143"/>
                  </a:lnTo>
                  <a:lnTo>
                    <a:pt x="199957" y="1471572"/>
                  </a:lnTo>
                  <a:lnTo>
                    <a:pt x="192443" y="1462837"/>
                  </a:lnTo>
                  <a:lnTo>
                    <a:pt x="185093" y="1453966"/>
                  </a:lnTo>
                  <a:close/>
                </a:path>
                <a:path w="1188720" h="1684020" extrusionOk="0">
                  <a:moveTo>
                    <a:pt x="1012199" y="1443149"/>
                  </a:moveTo>
                  <a:lnTo>
                    <a:pt x="1005032" y="1452195"/>
                  </a:lnTo>
                  <a:lnTo>
                    <a:pt x="997710" y="1461108"/>
                  </a:lnTo>
                  <a:lnTo>
                    <a:pt x="990250" y="1469858"/>
                  </a:lnTo>
                  <a:lnTo>
                    <a:pt x="982671" y="1478415"/>
                  </a:lnTo>
                  <a:lnTo>
                    <a:pt x="999843" y="1493902"/>
                  </a:lnTo>
                  <a:lnTo>
                    <a:pt x="1007714" y="1485046"/>
                  </a:lnTo>
                  <a:lnTo>
                    <a:pt x="1015459" y="1475986"/>
                  </a:lnTo>
                  <a:lnTo>
                    <a:pt x="1023054" y="1466761"/>
                  </a:lnTo>
                  <a:lnTo>
                    <a:pt x="1030471" y="1457411"/>
                  </a:lnTo>
                  <a:lnTo>
                    <a:pt x="1012199" y="1443149"/>
                  </a:lnTo>
                  <a:close/>
                </a:path>
                <a:path w="1188720" h="1684020" extrusionOk="0">
                  <a:moveTo>
                    <a:pt x="132090" y="1378764"/>
                  </a:moveTo>
                  <a:lnTo>
                    <a:pt x="112321" y="1390805"/>
                  </a:lnTo>
                  <a:lnTo>
                    <a:pt x="118568" y="1400906"/>
                  </a:lnTo>
                  <a:lnTo>
                    <a:pt x="125009" y="1410937"/>
                  </a:lnTo>
                  <a:lnTo>
                    <a:pt x="131619" y="1420860"/>
                  </a:lnTo>
                  <a:lnTo>
                    <a:pt x="138372" y="1430637"/>
                  </a:lnTo>
                  <a:lnTo>
                    <a:pt x="157325" y="1417286"/>
                  </a:lnTo>
                  <a:lnTo>
                    <a:pt x="150783" y="1407847"/>
                  </a:lnTo>
                  <a:lnTo>
                    <a:pt x="144389" y="1398265"/>
                  </a:lnTo>
                  <a:lnTo>
                    <a:pt x="138154" y="1388563"/>
                  </a:lnTo>
                  <a:lnTo>
                    <a:pt x="132090" y="1378764"/>
                  </a:lnTo>
                  <a:close/>
                </a:path>
                <a:path w="1188720" h="1684020" extrusionOk="0">
                  <a:moveTo>
                    <a:pt x="1063674" y="1366900"/>
                  </a:moveTo>
                  <a:lnTo>
                    <a:pt x="1057786" y="1376857"/>
                  </a:lnTo>
                  <a:lnTo>
                    <a:pt x="1051731" y="1386701"/>
                  </a:lnTo>
                  <a:lnTo>
                    <a:pt x="1045532" y="1396403"/>
                  </a:lnTo>
                  <a:lnTo>
                    <a:pt x="1039214" y="1405936"/>
                  </a:lnTo>
                  <a:lnTo>
                    <a:pt x="1058428" y="1418888"/>
                  </a:lnTo>
                  <a:lnTo>
                    <a:pt x="1064953" y="1409039"/>
                  </a:lnTo>
                  <a:lnTo>
                    <a:pt x="1071344" y="1399011"/>
                  </a:lnTo>
                  <a:lnTo>
                    <a:pt x="1077594" y="1388843"/>
                  </a:lnTo>
                  <a:lnTo>
                    <a:pt x="1083694" y="1378575"/>
                  </a:lnTo>
                  <a:lnTo>
                    <a:pt x="1063674" y="1366900"/>
                  </a:lnTo>
                  <a:close/>
                </a:path>
                <a:path w="1188720" h="1684020" extrusionOk="0">
                  <a:moveTo>
                    <a:pt x="89473" y="1297133"/>
                  </a:moveTo>
                  <a:lnTo>
                    <a:pt x="68312" y="1306536"/>
                  </a:lnTo>
                  <a:lnTo>
                    <a:pt x="73235" y="1317424"/>
                  </a:lnTo>
                  <a:lnTo>
                    <a:pt x="78315" y="1328192"/>
                  </a:lnTo>
                  <a:lnTo>
                    <a:pt x="83550" y="1338839"/>
                  </a:lnTo>
                  <a:lnTo>
                    <a:pt x="88939" y="1349362"/>
                  </a:lnTo>
                  <a:lnTo>
                    <a:pt x="109452" y="1338629"/>
                  </a:lnTo>
                  <a:lnTo>
                    <a:pt x="104238" y="1328436"/>
                  </a:lnTo>
                  <a:lnTo>
                    <a:pt x="99160" y="1318120"/>
                  </a:lnTo>
                  <a:lnTo>
                    <a:pt x="94234" y="1307685"/>
                  </a:lnTo>
                  <a:lnTo>
                    <a:pt x="89473" y="1297133"/>
                  </a:lnTo>
                  <a:close/>
                </a:path>
                <a:path w="1188720" h="1684020" extrusionOk="0">
                  <a:moveTo>
                    <a:pt x="1104762" y="1284463"/>
                  </a:moveTo>
                  <a:lnTo>
                    <a:pt x="1100168" y="1295093"/>
                  </a:lnTo>
                  <a:lnTo>
                    <a:pt x="1095432" y="1305621"/>
                  </a:lnTo>
                  <a:lnTo>
                    <a:pt x="1090555" y="1316040"/>
                  </a:lnTo>
                  <a:lnTo>
                    <a:pt x="1085537" y="1326347"/>
                  </a:lnTo>
                  <a:lnTo>
                    <a:pt x="1106259" y="1336650"/>
                  </a:lnTo>
                  <a:lnTo>
                    <a:pt x="1111435" y="1326027"/>
                  </a:lnTo>
                  <a:lnTo>
                    <a:pt x="1116466" y="1315284"/>
                  </a:lnTo>
                  <a:lnTo>
                    <a:pt x="1121343" y="1304423"/>
                  </a:lnTo>
                  <a:lnTo>
                    <a:pt x="1126059" y="1293447"/>
                  </a:lnTo>
                  <a:lnTo>
                    <a:pt x="1104762" y="1284463"/>
                  </a:lnTo>
                  <a:close/>
                </a:path>
                <a:path w="1188720" h="1684020" extrusionOk="0">
                  <a:moveTo>
                    <a:pt x="57359" y="1210717"/>
                  </a:moveTo>
                  <a:lnTo>
                    <a:pt x="35203" y="1217481"/>
                  </a:lnTo>
                  <a:lnTo>
                    <a:pt x="38745" y="1228874"/>
                  </a:lnTo>
                  <a:lnTo>
                    <a:pt x="42458" y="1240172"/>
                  </a:lnTo>
                  <a:lnTo>
                    <a:pt x="46333" y="1251378"/>
                  </a:lnTo>
                  <a:lnTo>
                    <a:pt x="50364" y="1262495"/>
                  </a:lnTo>
                  <a:lnTo>
                    <a:pt x="72071" y="1254443"/>
                  </a:lnTo>
                  <a:lnTo>
                    <a:pt x="68158" y="1243660"/>
                  </a:lnTo>
                  <a:lnTo>
                    <a:pt x="64401" y="1232780"/>
                  </a:lnTo>
                  <a:lnTo>
                    <a:pt x="60800" y="1221800"/>
                  </a:lnTo>
                  <a:lnTo>
                    <a:pt x="57359" y="1210717"/>
                  </a:lnTo>
                  <a:close/>
                </a:path>
                <a:path w="1188720" h="1684020" extrusionOk="0">
                  <a:moveTo>
                    <a:pt x="1135232" y="1197502"/>
                  </a:moveTo>
                  <a:lnTo>
                    <a:pt x="1132014" y="1208614"/>
                  </a:lnTo>
                  <a:lnTo>
                    <a:pt x="1128617" y="1219643"/>
                  </a:lnTo>
                  <a:lnTo>
                    <a:pt x="1125051" y="1230586"/>
                  </a:lnTo>
                  <a:lnTo>
                    <a:pt x="1121327" y="1241438"/>
                  </a:lnTo>
                  <a:lnTo>
                    <a:pt x="1143158" y="1249134"/>
                  </a:lnTo>
                  <a:lnTo>
                    <a:pt x="1146981" y="1237944"/>
                  </a:lnTo>
                  <a:lnTo>
                    <a:pt x="1150656" y="1226662"/>
                  </a:lnTo>
                  <a:lnTo>
                    <a:pt x="1154181" y="1215293"/>
                  </a:lnTo>
                  <a:lnTo>
                    <a:pt x="1157556" y="1203837"/>
                  </a:lnTo>
                  <a:lnTo>
                    <a:pt x="1135232" y="1197502"/>
                  </a:lnTo>
                  <a:close/>
                </a:path>
                <a:path w="1188720" h="1684020" extrusionOk="0">
                  <a:moveTo>
                    <a:pt x="35779" y="1121044"/>
                  </a:moveTo>
                  <a:lnTo>
                    <a:pt x="12994" y="1125159"/>
                  </a:lnTo>
                  <a:lnTo>
                    <a:pt x="15188" y="1136891"/>
                  </a:lnTo>
                  <a:lnTo>
                    <a:pt x="17536" y="1148554"/>
                  </a:lnTo>
                  <a:lnTo>
                    <a:pt x="20044" y="1160142"/>
                  </a:lnTo>
                  <a:lnTo>
                    <a:pt x="22721" y="1171650"/>
                  </a:lnTo>
                  <a:lnTo>
                    <a:pt x="45223" y="1166205"/>
                  </a:lnTo>
                  <a:lnTo>
                    <a:pt x="42631" y="1155040"/>
                  </a:lnTo>
                  <a:lnTo>
                    <a:pt x="40202" y="1143789"/>
                  </a:lnTo>
                  <a:lnTo>
                    <a:pt x="37923" y="1132456"/>
                  </a:lnTo>
                  <a:lnTo>
                    <a:pt x="35779" y="1121044"/>
                  </a:lnTo>
                  <a:close/>
                </a:path>
                <a:path w="1188720" h="1684020" extrusionOk="0">
                  <a:moveTo>
                    <a:pt x="1155242" y="1107463"/>
                  </a:moveTo>
                  <a:lnTo>
                    <a:pt x="1153298" y="1118885"/>
                  </a:lnTo>
                  <a:lnTo>
                    <a:pt x="1151207" y="1130245"/>
                  </a:lnTo>
                  <a:lnTo>
                    <a:pt x="1148968" y="1141539"/>
                  </a:lnTo>
                  <a:lnTo>
                    <a:pt x="1146582" y="1152760"/>
                  </a:lnTo>
                  <a:lnTo>
                    <a:pt x="1169179" y="1157786"/>
                  </a:lnTo>
                  <a:lnTo>
                    <a:pt x="1171644" y="1146226"/>
                  </a:lnTo>
                  <a:lnTo>
                    <a:pt x="1173952" y="1134589"/>
                  </a:lnTo>
                  <a:lnTo>
                    <a:pt x="1176101" y="1122884"/>
                  </a:lnTo>
                  <a:lnTo>
                    <a:pt x="1178089" y="1111118"/>
                  </a:lnTo>
                  <a:lnTo>
                    <a:pt x="1155242" y="1107463"/>
                  </a:lnTo>
                  <a:close/>
                </a:path>
                <a:path w="1188720" h="1684020" extrusionOk="0">
                  <a:moveTo>
                    <a:pt x="24795" y="1029466"/>
                  </a:moveTo>
                  <a:lnTo>
                    <a:pt x="1664" y="1030921"/>
                  </a:lnTo>
                  <a:lnTo>
                    <a:pt x="2502" y="1042830"/>
                  </a:lnTo>
                  <a:lnTo>
                    <a:pt x="3501" y="1054679"/>
                  </a:lnTo>
                  <a:lnTo>
                    <a:pt x="4655" y="1066466"/>
                  </a:lnTo>
                  <a:lnTo>
                    <a:pt x="5957" y="1078187"/>
                  </a:lnTo>
                  <a:lnTo>
                    <a:pt x="29004" y="1075443"/>
                  </a:lnTo>
                  <a:lnTo>
                    <a:pt x="27694" y="1064032"/>
                  </a:lnTo>
                  <a:lnTo>
                    <a:pt x="26558" y="1052568"/>
                  </a:lnTo>
                  <a:lnTo>
                    <a:pt x="25592" y="1041048"/>
                  </a:lnTo>
                  <a:lnTo>
                    <a:pt x="24795" y="1029466"/>
                  </a:lnTo>
                  <a:close/>
                </a:path>
                <a:path w="1188720" h="1684020" extrusionOk="0">
                  <a:moveTo>
                    <a:pt x="1164687" y="1015654"/>
                  </a:moveTo>
                  <a:lnTo>
                    <a:pt x="1164057" y="1027246"/>
                  </a:lnTo>
                  <a:lnTo>
                    <a:pt x="1163273" y="1038779"/>
                  </a:lnTo>
                  <a:lnTo>
                    <a:pt x="1162339" y="1050257"/>
                  </a:lnTo>
                  <a:lnTo>
                    <a:pt x="1161263" y="1061684"/>
                  </a:lnTo>
                  <a:lnTo>
                    <a:pt x="1184278" y="1064051"/>
                  </a:lnTo>
                  <a:lnTo>
                    <a:pt x="1185422" y="1052299"/>
                  </a:lnTo>
                  <a:lnTo>
                    <a:pt x="1186391" y="1040495"/>
                  </a:lnTo>
                  <a:lnTo>
                    <a:pt x="1187186" y="1028642"/>
                  </a:lnTo>
                  <a:lnTo>
                    <a:pt x="1187806" y="1016743"/>
                  </a:lnTo>
                  <a:lnTo>
                    <a:pt x="1164687" y="1015654"/>
                  </a:lnTo>
                  <a:close/>
                </a:path>
                <a:path w="1188720" h="1684020" extrusionOk="0">
                  <a:moveTo>
                    <a:pt x="23161" y="936557"/>
                  </a:moveTo>
                  <a:lnTo>
                    <a:pt x="0" y="936557"/>
                  </a:lnTo>
                  <a:lnTo>
                    <a:pt x="0" y="983477"/>
                  </a:lnTo>
                  <a:lnTo>
                    <a:pt x="23161" y="983341"/>
                  </a:lnTo>
                  <a:lnTo>
                    <a:pt x="23161" y="936557"/>
                  </a:lnTo>
                  <a:close/>
                </a:path>
                <a:path w="1188720" h="1684020" extrusionOk="0">
                  <a:moveTo>
                    <a:pt x="1188728" y="922537"/>
                  </a:moveTo>
                  <a:lnTo>
                    <a:pt x="1165566" y="922537"/>
                  </a:lnTo>
                  <a:lnTo>
                    <a:pt x="1165566" y="969373"/>
                  </a:lnTo>
                  <a:lnTo>
                    <a:pt x="1188728" y="969373"/>
                  </a:lnTo>
                  <a:lnTo>
                    <a:pt x="1188728" y="922537"/>
                  </a:lnTo>
                  <a:close/>
                </a:path>
                <a:path w="1188720" h="1684020" extrusionOk="0">
                  <a:moveTo>
                    <a:pt x="23161" y="842895"/>
                  </a:moveTo>
                  <a:lnTo>
                    <a:pt x="0" y="842895"/>
                  </a:lnTo>
                  <a:lnTo>
                    <a:pt x="0" y="889763"/>
                  </a:lnTo>
                  <a:lnTo>
                    <a:pt x="23161" y="889763"/>
                  </a:lnTo>
                  <a:lnTo>
                    <a:pt x="23161" y="842895"/>
                  </a:lnTo>
                  <a:close/>
                </a:path>
                <a:path w="1188720" h="1684020" extrusionOk="0">
                  <a:moveTo>
                    <a:pt x="1188728" y="828885"/>
                  </a:moveTo>
                  <a:lnTo>
                    <a:pt x="1165566" y="828885"/>
                  </a:lnTo>
                  <a:lnTo>
                    <a:pt x="1165566" y="875742"/>
                  </a:lnTo>
                  <a:lnTo>
                    <a:pt x="1188728" y="875742"/>
                  </a:lnTo>
                  <a:lnTo>
                    <a:pt x="1188728" y="828885"/>
                  </a:lnTo>
                  <a:close/>
                </a:path>
                <a:path w="1188720" h="1684020" extrusionOk="0">
                  <a:moveTo>
                    <a:pt x="23161" y="749254"/>
                  </a:moveTo>
                  <a:lnTo>
                    <a:pt x="0" y="749254"/>
                  </a:lnTo>
                  <a:lnTo>
                    <a:pt x="0" y="796101"/>
                  </a:lnTo>
                  <a:lnTo>
                    <a:pt x="23161" y="796101"/>
                  </a:lnTo>
                  <a:lnTo>
                    <a:pt x="23161" y="749254"/>
                  </a:lnTo>
                  <a:close/>
                </a:path>
                <a:path w="1188720" h="1684020" extrusionOk="0">
                  <a:moveTo>
                    <a:pt x="1188728" y="735244"/>
                  </a:moveTo>
                  <a:lnTo>
                    <a:pt x="1165566" y="735244"/>
                  </a:lnTo>
                  <a:lnTo>
                    <a:pt x="1165566" y="782059"/>
                  </a:lnTo>
                  <a:lnTo>
                    <a:pt x="1188728" y="782059"/>
                  </a:lnTo>
                  <a:lnTo>
                    <a:pt x="1188728" y="735244"/>
                  </a:lnTo>
                  <a:close/>
                </a:path>
                <a:path w="1188720" h="1684020" extrusionOk="0">
                  <a:moveTo>
                    <a:pt x="23161" y="655624"/>
                  </a:moveTo>
                  <a:lnTo>
                    <a:pt x="0" y="655624"/>
                  </a:lnTo>
                  <a:lnTo>
                    <a:pt x="0" y="702449"/>
                  </a:lnTo>
                  <a:lnTo>
                    <a:pt x="23161" y="702449"/>
                  </a:lnTo>
                  <a:lnTo>
                    <a:pt x="23161" y="655624"/>
                  </a:lnTo>
                  <a:close/>
                </a:path>
                <a:path w="1188720" h="1684020" extrusionOk="0">
                  <a:moveTo>
                    <a:pt x="1188728" y="641582"/>
                  </a:moveTo>
                  <a:lnTo>
                    <a:pt x="1165566" y="641582"/>
                  </a:lnTo>
                  <a:lnTo>
                    <a:pt x="1165566" y="688397"/>
                  </a:lnTo>
                  <a:lnTo>
                    <a:pt x="1188728" y="688397"/>
                  </a:lnTo>
                  <a:lnTo>
                    <a:pt x="1188728" y="641582"/>
                  </a:lnTo>
                  <a:close/>
                </a:path>
                <a:path w="1188720" h="1684020" extrusionOk="0">
                  <a:moveTo>
                    <a:pt x="23161" y="561951"/>
                  </a:moveTo>
                  <a:lnTo>
                    <a:pt x="0" y="561951"/>
                  </a:lnTo>
                  <a:lnTo>
                    <a:pt x="0" y="608777"/>
                  </a:lnTo>
                  <a:lnTo>
                    <a:pt x="23161" y="608777"/>
                  </a:lnTo>
                  <a:lnTo>
                    <a:pt x="23161" y="561951"/>
                  </a:lnTo>
                  <a:close/>
                </a:path>
                <a:path w="1188720" h="1684020" extrusionOk="0">
                  <a:moveTo>
                    <a:pt x="1188728" y="547941"/>
                  </a:moveTo>
                  <a:lnTo>
                    <a:pt x="1165566" y="547941"/>
                  </a:lnTo>
                  <a:lnTo>
                    <a:pt x="1165566" y="594756"/>
                  </a:lnTo>
                  <a:lnTo>
                    <a:pt x="1188728" y="594756"/>
                  </a:lnTo>
                  <a:lnTo>
                    <a:pt x="1188728" y="547941"/>
                  </a:lnTo>
                  <a:close/>
                </a:path>
                <a:path w="1188720" h="1684020" extrusionOk="0">
                  <a:moveTo>
                    <a:pt x="23161" y="468289"/>
                  </a:moveTo>
                  <a:lnTo>
                    <a:pt x="0" y="468289"/>
                  </a:lnTo>
                  <a:lnTo>
                    <a:pt x="0" y="515104"/>
                  </a:lnTo>
                  <a:lnTo>
                    <a:pt x="23161" y="515104"/>
                  </a:lnTo>
                  <a:lnTo>
                    <a:pt x="23161" y="468289"/>
                  </a:lnTo>
                  <a:close/>
                </a:path>
                <a:path w="1188720" h="1684020" extrusionOk="0">
                  <a:moveTo>
                    <a:pt x="1188728" y="454279"/>
                  </a:moveTo>
                  <a:lnTo>
                    <a:pt x="1165566" y="454279"/>
                  </a:lnTo>
                  <a:lnTo>
                    <a:pt x="1165566" y="501105"/>
                  </a:lnTo>
                  <a:lnTo>
                    <a:pt x="1188728" y="501105"/>
                  </a:lnTo>
                  <a:lnTo>
                    <a:pt x="1188728" y="454279"/>
                  </a:lnTo>
                  <a:close/>
                </a:path>
                <a:path w="1188720" h="1684020" extrusionOk="0">
                  <a:moveTo>
                    <a:pt x="23161" y="374648"/>
                  </a:moveTo>
                  <a:lnTo>
                    <a:pt x="0" y="374648"/>
                  </a:lnTo>
                  <a:lnTo>
                    <a:pt x="0" y="421453"/>
                  </a:lnTo>
                  <a:lnTo>
                    <a:pt x="23161" y="421453"/>
                  </a:lnTo>
                  <a:lnTo>
                    <a:pt x="23161" y="374648"/>
                  </a:lnTo>
                  <a:close/>
                </a:path>
                <a:path w="1188720" h="1684020" extrusionOk="0">
                  <a:moveTo>
                    <a:pt x="1188728" y="360606"/>
                  </a:moveTo>
                  <a:lnTo>
                    <a:pt x="1165566" y="360606"/>
                  </a:lnTo>
                  <a:lnTo>
                    <a:pt x="1165566" y="407443"/>
                  </a:lnTo>
                  <a:lnTo>
                    <a:pt x="1188728" y="407443"/>
                  </a:lnTo>
                  <a:lnTo>
                    <a:pt x="1188728" y="360606"/>
                  </a:lnTo>
                  <a:close/>
                </a:path>
                <a:path w="1188720" h="1684020" extrusionOk="0">
                  <a:moveTo>
                    <a:pt x="23161" y="280975"/>
                  </a:moveTo>
                  <a:lnTo>
                    <a:pt x="0" y="280975"/>
                  </a:lnTo>
                  <a:lnTo>
                    <a:pt x="0" y="327791"/>
                  </a:lnTo>
                  <a:lnTo>
                    <a:pt x="23161" y="327791"/>
                  </a:lnTo>
                  <a:lnTo>
                    <a:pt x="23161" y="280975"/>
                  </a:lnTo>
                  <a:close/>
                </a:path>
                <a:path w="1188720" h="1684020" extrusionOk="0">
                  <a:moveTo>
                    <a:pt x="1188728" y="266976"/>
                  </a:moveTo>
                  <a:lnTo>
                    <a:pt x="1165566" y="266976"/>
                  </a:lnTo>
                  <a:lnTo>
                    <a:pt x="1165566" y="313791"/>
                  </a:lnTo>
                  <a:lnTo>
                    <a:pt x="1188728" y="313791"/>
                  </a:lnTo>
                  <a:lnTo>
                    <a:pt x="1188728" y="266976"/>
                  </a:lnTo>
                  <a:close/>
                </a:path>
                <a:path w="1188720" h="1684020" extrusionOk="0">
                  <a:moveTo>
                    <a:pt x="23161" y="187313"/>
                  </a:moveTo>
                  <a:lnTo>
                    <a:pt x="0" y="187313"/>
                  </a:lnTo>
                  <a:lnTo>
                    <a:pt x="0" y="234118"/>
                  </a:lnTo>
                  <a:lnTo>
                    <a:pt x="23161" y="234118"/>
                  </a:lnTo>
                  <a:lnTo>
                    <a:pt x="23161" y="187313"/>
                  </a:lnTo>
                  <a:close/>
                </a:path>
                <a:path w="1188720" h="1684020" extrusionOk="0">
                  <a:moveTo>
                    <a:pt x="1188728" y="173303"/>
                  </a:moveTo>
                  <a:lnTo>
                    <a:pt x="1165566" y="173303"/>
                  </a:lnTo>
                  <a:lnTo>
                    <a:pt x="1165566" y="220129"/>
                  </a:lnTo>
                  <a:lnTo>
                    <a:pt x="1188728" y="220129"/>
                  </a:lnTo>
                  <a:lnTo>
                    <a:pt x="1188728" y="173303"/>
                  </a:lnTo>
                  <a:close/>
                </a:path>
                <a:path w="1188720" h="1684020" extrusionOk="0">
                  <a:moveTo>
                    <a:pt x="23161" y="93672"/>
                  </a:moveTo>
                  <a:lnTo>
                    <a:pt x="0" y="93672"/>
                  </a:lnTo>
                  <a:lnTo>
                    <a:pt x="0" y="140487"/>
                  </a:lnTo>
                  <a:lnTo>
                    <a:pt x="23161" y="140487"/>
                  </a:lnTo>
                  <a:lnTo>
                    <a:pt x="23161" y="93672"/>
                  </a:lnTo>
                  <a:close/>
                </a:path>
                <a:path w="1188720" h="1684020" extrusionOk="0">
                  <a:moveTo>
                    <a:pt x="1188728" y="79641"/>
                  </a:moveTo>
                  <a:lnTo>
                    <a:pt x="1165566" y="79641"/>
                  </a:lnTo>
                  <a:lnTo>
                    <a:pt x="1165566" y="126456"/>
                  </a:lnTo>
                  <a:lnTo>
                    <a:pt x="1188728" y="126456"/>
                  </a:lnTo>
                  <a:lnTo>
                    <a:pt x="1188728" y="79641"/>
                  </a:lnTo>
                  <a:close/>
                </a:path>
                <a:path w="1188720" h="1684020" extrusionOk="0">
                  <a:moveTo>
                    <a:pt x="23161" y="0"/>
                  </a:moveTo>
                  <a:lnTo>
                    <a:pt x="0" y="0"/>
                  </a:lnTo>
                  <a:lnTo>
                    <a:pt x="0" y="46867"/>
                  </a:lnTo>
                  <a:lnTo>
                    <a:pt x="23161" y="46867"/>
                  </a:lnTo>
                  <a:lnTo>
                    <a:pt x="23161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125;p1"/>
            <p:cNvSpPr/>
            <p:nvPr/>
          </p:nvSpPr>
          <p:spPr>
            <a:xfrm>
              <a:off x="6229506" y="482326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126;p1"/>
            <p:cNvSpPr/>
            <p:nvPr/>
          </p:nvSpPr>
          <p:spPr>
            <a:xfrm>
              <a:off x="7383481" y="2717529"/>
              <a:ext cx="1987550" cy="2175510"/>
            </a:xfrm>
            <a:custGeom>
              <a:avLst/>
              <a:gdLst/>
              <a:ahLst/>
              <a:cxnLst/>
              <a:rect l="l" t="t" r="r" b="b"/>
              <a:pathLst>
                <a:path w="1987550" h="2175510" extrusionOk="0">
                  <a:moveTo>
                    <a:pt x="1987059" y="0"/>
                  </a:moveTo>
                  <a:lnTo>
                    <a:pt x="949552" y="0"/>
                  </a:lnTo>
                  <a:lnTo>
                    <a:pt x="900762" y="1237"/>
                  </a:lnTo>
                  <a:lnTo>
                    <a:pt x="852603" y="4911"/>
                  </a:lnTo>
                  <a:lnTo>
                    <a:pt x="805138" y="10961"/>
                  </a:lnTo>
                  <a:lnTo>
                    <a:pt x="758424" y="19326"/>
                  </a:lnTo>
                  <a:lnTo>
                    <a:pt x="712523" y="29947"/>
                  </a:lnTo>
                  <a:lnTo>
                    <a:pt x="667495" y="42763"/>
                  </a:lnTo>
                  <a:lnTo>
                    <a:pt x="623399" y="57714"/>
                  </a:lnTo>
                  <a:lnTo>
                    <a:pt x="580296" y="74741"/>
                  </a:lnTo>
                  <a:lnTo>
                    <a:pt x="538246" y="93782"/>
                  </a:lnTo>
                  <a:lnTo>
                    <a:pt x="497310" y="114778"/>
                  </a:lnTo>
                  <a:lnTo>
                    <a:pt x="457546" y="137669"/>
                  </a:lnTo>
                  <a:lnTo>
                    <a:pt x="419016" y="162394"/>
                  </a:lnTo>
                  <a:lnTo>
                    <a:pt x="381779" y="188894"/>
                  </a:lnTo>
                  <a:lnTo>
                    <a:pt x="345896" y="217108"/>
                  </a:lnTo>
                  <a:lnTo>
                    <a:pt x="311426" y="246976"/>
                  </a:lnTo>
                  <a:lnTo>
                    <a:pt x="278431" y="278439"/>
                  </a:lnTo>
                  <a:lnTo>
                    <a:pt x="246969" y="311435"/>
                  </a:lnTo>
                  <a:lnTo>
                    <a:pt x="217101" y="345905"/>
                  </a:lnTo>
                  <a:lnTo>
                    <a:pt x="188888" y="381788"/>
                  </a:lnTo>
                  <a:lnTo>
                    <a:pt x="162389" y="419025"/>
                  </a:lnTo>
                  <a:lnTo>
                    <a:pt x="137664" y="457555"/>
                  </a:lnTo>
                  <a:lnTo>
                    <a:pt x="114774" y="497319"/>
                  </a:lnTo>
                  <a:lnTo>
                    <a:pt x="93778" y="538256"/>
                  </a:lnTo>
                  <a:lnTo>
                    <a:pt x="74738" y="580305"/>
                  </a:lnTo>
                  <a:lnTo>
                    <a:pt x="57712" y="623408"/>
                  </a:lnTo>
                  <a:lnTo>
                    <a:pt x="42761" y="667503"/>
                  </a:lnTo>
                  <a:lnTo>
                    <a:pt x="29946" y="712530"/>
                  </a:lnTo>
                  <a:lnTo>
                    <a:pt x="19325" y="758430"/>
                  </a:lnTo>
                  <a:lnTo>
                    <a:pt x="10960" y="805142"/>
                  </a:lnTo>
                  <a:lnTo>
                    <a:pt x="4911" y="852607"/>
                  </a:lnTo>
                  <a:lnTo>
                    <a:pt x="1237" y="900763"/>
                  </a:lnTo>
                  <a:lnTo>
                    <a:pt x="0" y="949552"/>
                  </a:lnTo>
                  <a:lnTo>
                    <a:pt x="0" y="2175211"/>
                  </a:lnTo>
                  <a:lnTo>
                    <a:pt x="46323" y="2175211"/>
                  </a:lnTo>
                  <a:lnTo>
                    <a:pt x="46323" y="949552"/>
                  </a:lnTo>
                  <a:lnTo>
                    <a:pt x="47577" y="901655"/>
                  </a:lnTo>
                  <a:lnTo>
                    <a:pt x="51299" y="854401"/>
                  </a:lnTo>
                  <a:lnTo>
                    <a:pt x="57424" y="807852"/>
                  </a:lnTo>
                  <a:lnTo>
                    <a:pt x="65891" y="762072"/>
                  </a:lnTo>
                  <a:lnTo>
                    <a:pt x="76635" y="717123"/>
                  </a:lnTo>
                  <a:lnTo>
                    <a:pt x="89596" y="673068"/>
                  </a:lnTo>
                  <a:lnTo>
                    <a:pt x="104708" y="629970"/>
                  </a:lnTo>
                  <a:lnTo>
                    <a:pt x="121910" y="587892"/>
                  </a:lnTo>
                  <a:lnTo>
                    <a:pt x="141139" y="546898"/>
                  </a:lnTo>
                  <a:lnTo>
                    <a:pt x="162331" y="507049"/>
                  </a:lnTo>
                  <a:lnTo>
                    <a:pt x="185424" y="468409"/>
                  </a:lnTo>
                  <a:lnTo>
                    <a:pt x="210355" y="431040"/>
                  </a:lnTo>
                  <a:lnTo>
                    <a:pt x="237061" y="395006"/>
                  </a:lnTo>
                  <a:lnTo>
                    <a:pt x="265478" y="360370"/>
                  </a:lnTo>
                  <a:lnTo>
                    <a:pt x="295545" y="327194"/>
                  </a:lnTo>
                  <a:lnTo>
                    <a:pt x="327198" y="295541"/>
                  </a:lnTo>
                  <a:lnTo>
                    <a:pt x="360374" y="265475"/>
                  </a:lnTo>
                  <a:lnTo>
                    <a:pt x="395011" y="237057"/>
                  </a:lnTo>
                  <a:lnTo>
                    <a:pt x="431045" y="210352"/>
                  </a:lnTo>
                  <a:lnTo>
                    <a:pt x="468413" y="185421"/>
                  </a:lnTo>
                  <a:lnTo>
                    <a:pt x="507053" y="162329"/>
                  </a:lnTo>
                  <a:lnTo>
                    <a:pt x="546902" y="141137"/>
                  </a:lnTo>
                  <a:lnTo>
                    <a:pt x="587897" y="121909"/>
                  </a:lnTo>
                  <a:lnTo>
                    <a:pt x="629974" y="104707"/>
                  </a:lnTo>
                  <a:lnTo>
                    <a:pt x="673072" y="89595"/>
                  </a:lnTo>
                  <a:lnTo>
                    <a:pt x="717126" y="76635"/>
                  </a:lnTo>
                  <a:lnTo>
                    <a:pt x="762075" y="65890"/>
                  </a:lnTo>
                  <a:lnTo>
                    <a:pt x="807854" y="57424"/>
                  </a:lnTo>
                  <a:lnTo>
                    <a:pt x="854402" y="51298"/>
                  </a:lnTo>
                  <a:lnTo>
                    <a:pt x="901656" y="47577"/>
                  </a:lnTo>
                  <a:lnTo>
                    <a:pt x="949552" y="46323"/>
                  </a:lnTo>
                  <a:lnTo>
                    <a:pt x="1987059" y="46323"/>
                  </a:lnTo>
                  <a:lnTo>
                    <a:pt x="1987059" y="31716"/>
                  </a:lnTo>
                  <a:lnTo>
                    <a:pt x="1962934" y="31716"/>
                  </a:lnTo>
                  <a:lnTo>
                    <a:pt x="1962934" y="8565"/>
                  </a:lnTo>
                  <a:lnTo>
                    <a:pt x="1987059" y="8565"/>
                  </a:lnTo>
                  <a:lnTo>
                    <a:pt x="1987059" y="0"/>
                  </a:lnTo>
                  <a:close/>
                </a:path>
                <a:path w="1987550" h="2175510" extrusionOk="0">
                  <a:moveTo>
                    <a:pt x="1987059" y="8565"/>
                  </a:moveTo>
                  <a:lnTo>
                    <a:pt x="1986117" y="8565"/>
                  </a:lnTo>
                  <a:lnTo>
                    <a:pt x="1986117" y="31716"/>
                  </a:lnTo>
                  <a:lnTo>
                    <a:pt x="1987059" y="31716"/>
                  </a:lnTo>
                  <a:lnTo>
                    <a:pt x="1987059" y="8565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127;p1"/>
            <p:cNvSpPr/>
            <p:nvPr/>
          </p:nvSpPr>
          <p:spPr>
            <a:xfrm>
              <a:off x="1448563" y="3965177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615" y="0"/>
                  </a:moveTo>
                  <a:lnTo>
                    <a:pt x="184935" y="4704"/>
                  </a:lnTo>
                  <a:lnTo>
                    <a:pt x="141458" y="18199"/>
                  </a:lnTo>
                  <a:lnTo>
                    <a:pt x="102115" y="39551"/>
                  </a:lnTo>
                  <a:lnTo>
                    <a:pt x="67836" y="67831"/>
                  </a:lnTo>
                  <a:lnTo>
                    <a:pt x="39555" y="102108"/>
                  </a:lnTo>
                  <a:lnTo>
                    <a:pt x="18200" y="141449"/>
                  </a:lnTo>
                  <a:lnTo>
                    <a:pt x="4705" y="184925"/>
                  </a:lnTo>
                  <a:lnTo>
                    <a:pt x="0" y="231605"/>
                  </a:lnTo>
                  <a:lnTo>
                    <a:pt x="4705" y="278281"/>
                  </a:lnTo>
                  <a:lnTo>
                    <a:pt x="18200" y="321755"/>
                  </a:lnTo>
                  <a:lnTo>
                    <a:pt x="39555" y="361095"/>
                  </a:lnTo>
                  <a:lnTo>
                    <a:pt x="67836" y="395370"/>
                  </a:lnTo>
                  <a:lnTo>
                    <a:pt x="102115" y="423649"/>
                  </a:lnTo>
                  <a:lnTo>
                    <a:pt x="141458" y="445001"/>
                  </a:lnTo>
                  <a:lnTo>
                    <a:pt x="184935" y="458495"/>
                  </a:lnTo>
                  <a:lnTo>
                    <a:pt x="231615" y="463200"/>
                  </a:lnTo>
                  <a:lnTo>
                    <a:pt x="278286" y="458495"/>
                  </a:lnTo>
                  <a:lnTo>
                    <a:pt x="321756" y="445001"/>
                  </a:lnTo>
                  <a:lnTo>
                    <a:pt x="361096" y="423649"/>
                  </a:lnTo>
                  <a:lnTo>
                    <a:pt x="395372" y="395370"/>
                  </a:lnTo>
                  <a:lnTo>
                    <a:pt x="423654" y="361095"/>
                  </a:lnTo>
                  <a:lnTo>
                    <a:pt x="445009" y="321755"/>
                  </a:lnTo>
                  <a:lnTo>
                    <a:pt x="458505" y="278281"/>
                  </a:lnTo>
                  <a:lnTo>
                    <a:pt x="463211" y="231605"/>
                  </a:lnTo>
                  <a:lnTo>
                    <a:pt x="458505" y="184925"/>
                  </a:lnTo>
                  <a:lnTo>
                    <a:pt x="445009" y="141449"/>
                  </a:lnTo>
                  <a:lnTo>
                    <a:pt x="423654" y="102108"/>
                  </a:lnTo>
                  <a:lnTo>
                    <a:pt x="395372" y="67831"/>
                  </a:lnTo>
                  <a:lnTo>
                    <a:pt x="361096" y="39551"/>
                  </a:lnTo>
                  <a:lnTo>
                    <a:pt x="321756" y="18199"/>
                  </a:lnTo>
                  <a:lnTo>
                    <a:pt x="278286" y="4704"/>
                  </a:lnTo>
                  <a:lnTo>
                    <a:pt x="231615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128;p1"/>
            <p:cNvSpPr/>
            <p:nvPr/>
          </p:nvSpPr>
          <p:spPr>
            <a:xfrm>
              <a:off x="12659907" y="342089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129;p1"/>
            <p:cNvSpPr/>
            <p:nvPr/>
          </p:nvSpPr>
          <p:spPr>
            <a:xfrm>
              <a:off x="9418592" y="0"/>
              <a:ext cx="3264535" cy="3363595"/>
            </a:xfrm>
            <a:custGeom>
              <a:avLst/>
              <a:gdLst/>
              <a:ahLst/>
              <a:cxnLst/>
              <a:rect l="l" t="t" r="r" b="b"/>
              <a:pathLst>
                <a:path w="3264534" h="3363595" extrusionOk="0">
                  <a:moveTo>
                    <a:pt x="3264476" y="3316988"/>
                  </a:moveTo>
                  <a:lnTo>
                    <a:pt x="3241314" y="3316988"/>
                  </a:lnTo>
                  <a:lnTo>
                    <a:pt x="3241314" y="3363154"/>
                  </a:lnTo>
                  <a:lnTo>
                    <a:pt x="3264476" y="3363154"/>
                  </a:lnTo>
                  <a:lnTo>
                    <a:pt x="3264476" y="3316988"/>
                  </a:lnTo>
                  <a:close/>
                </a:path>
                <a:path w="3264534" h="3363595" extrusionOk="0">
                  <a:moveTo>
                    <a:pt x="3264476" y="3224687"/>
                  </a:moveTo>
                  <a:lnTo>
                    <a:pt x="3241314" y="3224687"/>
                  </a:lnTo>
                  <a:lnTo>
                    <a:pt x="3241314" y="3270832"/>
                  </a:lnTo>
                  <a:lnTo>
                    <a:pt x="3264476" y="3270832"/>
                  </a:lnTo>
                  <a:lnTo>
                    <a:pt x="3264476" y="3224687"/>
                  </a:lnTo>
                  <a:close/>
                </a:path>
                <a:path w="3264534" h="3363595" extrusionOk="0">
                  <a:moveTo>
                    <a:pt x="3264476" y="3132333"/>
                  </a:moveTo>
                  <a:lnTo>
                    <a:pt x="3241314" y="3132333"/>
                  </a:lnTo>
                  <a:lnTo>
                    <a:pt x="3241314" y="3178489"/>
                  </a:lnTo>
                  <a:lnTo>
                    <a:pt x="3264476" y="3178489"/>
                  </a:lnTo>
                  <a:lnTo>
                    <a:pt x="3264476" y="3132333"/>
                  </a:lnTo>
                  <a:close/>
                </a:path>
                <a:path w="3264534" h="3363595" extrusionOk="0">
                  <a:moveTo>
                    <a:pt x="3264476" y="3039980"/>
                  </a:moveTo>
                  <a:lnTo>
                    <a:pt x="3241314" y="3039980"/>
                  </a:lnTo>
                  <a:lnTo>
                    <a:pt x="3241314" y="3086146"/>
                  </a:lnTo>
                  <a:lnTo>
                    <a:pt x="3264476" y="3086146"/>
                  </a:lnTo>
                  <a:lnTo>
                    <a:pt x="3264476" y="3039980"/>
                  </a:lnTo>
                  <a:close/>
                </a:path>
                <a:path w="3264534" h="3363595" extrusionOk="0">
                  <a:moveTo>
                    <a:pt x="3264476" y="2947658"/>
                  </a:moveTo>
                  <a:lnTo>
                    <a:pt x="3241314" y="2947658"/>
                  </a:lnTo>
                  <a:lnTo>
                    <a:pt x="3241314" y="2993825"/>
                  </a:lnTo>
                  <a:lnTo>
                    <a:pt x="3264476" y="2993825"/>
                  </a:lnTo>
                  <a:lnTo>
                    <a:pt x="3264476" y="2947658"/>
                  </a:lnTo>
                  <a:close/>
                </a:path>
                <a:path w="3264534" h="3363595" extrusionOk="0">
                  <a:moveTo>
                    <a:pt x="3264476" y="2855326"/>
                  </a:moveTo>
                  <a:lnTo>
                    <a:pt x="3241314" y="2855326"/>
                  </a:lnTo>
                  <a:lnTo>
                    <a:pt x="3241314" y="2901503"/>
                  </a:lnTo>
                  <a:lnTo>
                    <a:pt x="3264476" y="2901503"/>
                  </a:lnTo>
                  <a:lnTo>
                    <a:pt x="3264476" y="2855326"/>
                  </a:lnTo>
                  <a:close/>
                </a:path>
                <a:path w="3264534" h="3363595" extrusionOk="0">
                  <a:moveTo>
                    <a:pt x="3264476" y="2763004"/>
                  </a:moveTo>
                  <a:lnTo>
                    <a:pt x="3241314" y="2763004"/>
                  </a:lnTo>
                  <a:lnTo>
                    <a:pt x="3241314" y="2809171"/>
                  </a:lnTo>
                  <a:lnTo>
                    <a:pt x="3264476" y="2809171"/>
                  </a:lnTo>
                  <a:lnTo>
                    <a:pt x="3264476" y="2763004"/>
                  </a:lnTo>
                  <a:close/>
                </a:path>
                <a:path w="3264534" h="3363595" extrusionOk="0">
                  <a:moveTo>
                    <a:pt x="598871" y="2726074"/>
                  </a:moveTo>
                  <a:lnTo>
                    <a:pt x="553993" y="2726074"/>
                  </a:lnTo>
                  <a:lnTo>
                    <a:pt x="553993" y="2749235"/>
                  </a:lnTo>
                  <a:lnTo>
                    <a:pt x="600170" y="2749267"/>
                  </a:lnTo>
                  <a:lnTo>
                    <a:pt x="598871" y="2726074"/>
                  </a:lnTo>
                  <a:close/>
                </a:path>
                <a:path w="3264534" h="3363595" extrusionOk="0">
                  <a:moveTo>
                    <a:pt x="507837" y="2726074"/>
                  </a:moveTo>
                  <a:lnTo>
                    <a:pt x="461671" y="2726074"/>
                  </a:lnTo>
                  <a:lnTo>
                    <a:pt x="461671" y="2749235"/>
                  </a:lnTo>
                  <a:lnTo>
                    <a:pt x="507837" y="2749235"/>
                  </a:lnTo>
                  <a:lnTo>
                    <a:pt x="507837" y="2726074"/>
                  </a:lnTo>
                  <a:close/>
                </a:path>
                <a:path w="3264534" h="3363595" extrusionOk="0">
                  <a:moveTo>
                    <a:pt x="415484" y="2726074"/>
                  </a:moveTo>
                  <a:lnTo>
                    <a:pt x="369329" y="2726074"/>
                  </a:lnTo>
                  <a:lnTo>
                    <a:pt x="369329" y="2749235"/>
                  </a:lnTo>
                  <a:lnTo>
                    <a:pt x="415484" y="2749235"/>
                  </a:lnTo>
                  <a:lnTo>
                    <a:pt x="415484" y="2726074"/>
                  </a:lnTo>
                  <a:close/>
                </a:path>
                <a:path w="3264534" h="3363595" extrusionOk="0">
                  <a:moveTo>
                    <a:pt x="323173" y="2726074"/>
                  </a:moveTo>
                  <a:lnTo>
                    <a:pt x="277017" y="2726074"/>
                  </a:lnTo>
                  <a:lnTo>
                    <a:pt x="277017" y="2749235"/>
                  </a:lnTo>
                  <a:lnTo>
                    <a:pt x="323173" y="2749235"/>
                  </a:lnTo>
                  <a:lnTo>
                    <a:pt x="323173" y="2726074"/>
                  </a:lnTo>
                  <a:close/>
                </a:path>
                <a:path w="3264534" h="3363595" extrusionOk="0">
                  <a:moveTo>
                    <a:pt x="230862" y="2726074"/>
                  </a:moveTo>
                  <a:lnTo>
                    <a:pt x="184643" y="2726074"/>
                  </a:lnTo>
                  <a:lnTo>
                    <a:pt x="184643" y="2749235"/>
                  </a:lnTo>
                  <a:lnTo>
                    <a:pt x="230862" y="2749235"/>
                  </a:lnTo>
                  <a:lnTo>
                    <a:pt x="230862" y="2726074"/>
                  </a:lnTo>
                  <a:close/>
                </a:path>
                <a:path w="3264534" h="3363595" extrusionOk="0">
                  <a:moveTo>
                    <a:pt x="138508" y="2726074"/>
                  </a:moveTo>
                  <a:lnTo>
                    <a:pt x="92321" y="2726074"/>
                  </a:lnTo>
                  <a:lnTo>
                    <a:pt x="92321" y="2749235"/>
                  </a:lnTo>
                  <a:lnTo>
                    <a:pt x="138508" y="2749235"/>
                  </a:lnTo>
                  <a:lnTo>
                    <a:pt x="138508" y="2726074"/>
                  </a:lnTo>
                  <a:close/>
                </a:path>
                <a:path w="3264534" h="3363595" extrusionOk="0">
                  <a:moveTo>
                    <a:pt x="46197" y="2726074"/>
                  </a:moveTo>
                  <a:lnTo>
                    <a:pt x="0" y="2726074"/>
                  </a:lnTo>
                  <a:lnTo>
                    <a:pt x="0" y="2749235"/>
                  </a:lnTo>
                  <a:lnTo>
                    <a:pt x="46197" y="2749235"/>
                  </a:lnTo>
                  <a:lnTo>
                    <a:pt x="46197" y="2726074"/>
                  </a:lnTo>
                  <a:close/>
                </a:path>
                <a:path w="3264534" h="3363595" extrusionOk="0">
                  <a:moveTo>
                    <a:pt x="689696" y="2717477"/>
                  </a:moveTo>
                  <a:lnTo>
                    <a:pt x="678622" y="2719447"/>
                  </a:lnTo>
                  <a:lnTo>
                    <a:pt x="667467" y="2721172"/>
                  </a:lnTo>
                  <a:lnTo>
                    <a:pt x="656275" y="2722644"/>
                  </a:lnTo>
                  <a:lnTo>
                    <a:pt x="645090" y="2723854"/>
                  </a:lnTo>
                  <a:lnTo>
                    <a:pt x="647362" y="2746963"/>
                  </a:lnTo>
                  <a:lnTo>
                    <a:pt x="659045" y="2745671"/>
                  </a:lnTo>
                  <a:lnTo>
                    <a:pt x="670741" y="2744111"/>
                  </a:lnTo>
                  <a:lnTo>
                    <a:pt x="682410" y="2742294"/>
                  </a:lnTo>
                  <a:lnTo>
                    <a:pt x="694010" y="2740230"/>
                  </a:lnTo>
                  <a:lnTo>
                    <a:pt x="689696" y="2717477"/>
                  </a:lnTo>
                  <a:close/>
                </a:path>
                <a:path w="3264534" h="3363595" extrusionOk="0">
                  <a:moveTo>
                    <a:pt x="776185" y="2692556"/>
                  </a:moveTo>
                  <a:lnTo>
                    <a:pt x="765533" y="2696560"/>
                  </a:lnTo>
                  <a:lnTo>
                    <a:pt x="754839" y="2700305"/>
                  </a:lnTo>
                  <a:lnTo>
                    <a:pt x="744143" y="2703782"/>
                  </a:lnTo>
                  <a:lnTo>
                    <a:pt x="733485" y="2706985"/>
                  </a:lnTo>
                  <a:lnTo>
                    <a:pt x="739851" y="2729246"/>
                  </a:lnTo>
                  <a:lnTo>
                    <a:pt x="751010" y="2725891"/>
                  </a:lnTo>
                  <a:lnTo>
                    <a:pt x="762207" y="2722256"/>
                  </a:lnTo>
                  <a:lnTo>
                    <a:pt x="773403" y="2718351"/>
                  </a:lnTo>
                  <a:lnTo>
                    <a:pt x="784562" y="2714189"/>
                  </a:lnTo>
                  <a:lnTo>
                    <a:pt x="776185" y="2692556"/>
                  </a:lnTo>
                  <a:close/>
                </a:path>
                <a:path w="3264534" h="3363595" extrusionOk="0">
                  <a:moveTo>
                    <a:pt x="3264476" y="2670683"/>
                  </a:moveTo>
                  <a:lnTo>
                    <a:pt x="3241314" y="2670683"/>
                  </a:lnTo>
                  <a:lnTo>
                    <a:pt x="3241314" y="2716828"/>
                  </a:lnTo>
                  <a:lnTo>
                    <a:pt x="3264476" y="2716828"/>
                  </a:lnTo>
                  <a:lnTo>
                    <a:pt x="3264476" y="2670683"/>
                  </a:lnTo>
                  <a:close/>
                </a:path>
                <a:path w="3264534" h="3363595" extrusionOk="0">
                  <a:moveTo>
                    <a:pt x="857335" y="2653081"/>
                  </a:moveTo>
                  <a:lnTo>
                    <a:pt x="847482" y="2658785"/>
                  </a:lnTo>
                  <a:lnTo>
                    <a:pt x="837549" y="2664273"/>
                  </a:lnTo>
                  <a:lnTo>
                    <a:pt x="827566" y="2669524"/>
                  </a:lnTo>
                  <a:lnTo>
                    <a:pt x="817566" y="2674515"/>
                  </a:lnTo>
                  <a:lnTo>
                    <a:pt x="827702" y="2695300"/>
                  </a:lnTo>
                  <a:lnTo>
                    <a:pt x="838115" y="2690108"/>
                  </a:lnTo>
                  <a:lnTo>
                    <a:pt x="848517" y="2684644"/>
                  </a:lnTo>
                  <a:lnTo>
                    <a:pt x="858870" y="2678927"/>
                  </a:lnTo>
                  <a:lnTo>
                    <a:pt x="869135" y="2672976"/>
                  </a:lnTo>
                  <a:lnTo>
                    <a:pt x="857335" y="2653081"/>
                  </a:lnTo>
                  <a:close/>
                </a:path>
                <a:path w="3264534" h="3363595" extrusionOk="0">
                  <a:moveTo>
                    <a:pt x="931469" y="2601198"/>
                  </a:moveTo>
                  <a:lnTo>
                    <a:pt x="922605" y="2608264"/>
                  </a:lnTo>
                  <a:lnTo>
                    <a:pt x="913601" y="2615184"/>
                  </a:lnTo>
                  <a:lnTo>
                    <a:pt x="904497" y="2621936"/>
                  </a:lnTo>
                  <a:lnTo>
                    <a:pt x="895333" y="2628495"/>
                  </a:lnTo>
                  <a:lnTo>
                    <a:pt x="908642" y="2647448"/>
                  </a:lnTo>
                  <a:lnTo>
                    <a:pt x="918134" y="2640673"/>
                  </a:lnTo>
                  <a:lnTo>
                    <a:pt x="927556" y="2633684"/>
                  </a:lnTo>
                  <a:lnTo>
                    <a:pt x="936882" y="2626506"/>
                  </a:lnTo>
                  <a:lnTo>
                    <a:pt x="946086" y="2619166"/>
                  </a:lnTo>
                  <a:lnTo>
                    <a:pt x="931469" y="2601198"/>
                  </a:lnTo>
                  <a:close/>
                </a:path>
                <a:path w="3264534" h="3363595" extrusionOk="0">
                  <a:moveTo>
                    <a:pt x="3264476" y="2578340"/>
                  </a:moveTo>
                  <a:lnTo>
                    <a:pt x="3241314" y="2578340"/>
                  </a:lnTo>
                  <a:lnTo>
                    <a:pt x="3241314" y="2624516"/>
                  </a:lnTo>
                  <a:lnTo>
                    <a:pt x="3264476" y="2624516"/>
                  </a:lnTo>
                  <a:lnTo>
                    <a:pt x="3264476" y="2578340"/>
                  </a:lnTo>
                  <a:close/>
                </a:path>
                <a:path w="3264534" h="3363595" extrusionOk="0">
                  <a:moveTo>
                    <a:pt x="997927" y="2539420"/>
                  </a:moveTo>
                  <a:lnTo>
                    <a:pt x="990010" y="2547659"/>
                  </a:lnTo>
                  <a:lnTo>
                    <a:pt x="981992" y="2555740"/>
                  </a:lnTo>
                  <a:lnTo>
                    <a:pt x="973889" y="2563658"/>
                  </a:lnTo>
                  <a:lnTo>
                    <a:pt x="965719" y="2571408"/>
                  </a:lnTo>
                  <a:lnTo>
                    <a:pt x="981551" y="2588360"/>
                  </a:lnTo>
                  <a:lnTo>
                    <a:pt x="989968" y="2580351"/>
                  </a:lnTo>
                  <a:lnTo>
                    <a:pt x="998312" y="2572183"/>
                  </a:lnTo>
                  <a:lnTo>
                    <a:pt x="1006574" y="2563850"/>
                  </a:lnTo>
                  <a:lnTo>
                    <a:pt x="1014743" y="2555346"/>
                  </a:lnTo>
                  <a:lnTo>
                    <a:pt x="997927" y="2539420"/>
                  </a:lnTo>
                  <a:close/>
                </a:path>
                <a:path w="3264534" h="3363595" extrusionOk="0">
                  <a:moveTo>
                    <a:pt x="3264476" y="2485997"/>
                  </a:moveTo>
                  <a:lnTo>
                    <a:pt x="3241314" y="2485997"/>
                  </a:lnTo>
                  <a:lnTo>
                    <a:pt x="3241314" y="2532163"/>
                  </a:lnTo>
                  <a:lnTo>
                    <a:pt x="3264476" y="2532163"/>
                  </a:lnTo>
                  <a:lnTo>
                    <a:pt x="3264476" y="2485997"/>
                  </a:lnTo>
                  <a:close/>
                </a:path>
                <a:path w="3264534" h="3363595" extrusionOk="0">
                  <a:moveTo>
                    <a:pt x="1056376" y="2469820"/>
                  </a:moveTo>
                  <a:lnTo>
                    <a:pt x="1049481" y="2478949"/>
                  </a:lnTo>
                  <a:lnTo>
                    <a:pt x="1042473" y="2487932"/>
                  </a:lnTo>
                  <a:lnTo>
                    <a:pt x="1035367" y="2496769"/>
                  </a:lnTo>
                  <a:lnTo>
                    <a:pt x="1028178" y="2505462"/>
                  </a:lnTo>
                  <a:lnTo>
                    <a:pt x="1045947" y="2520352"/>
                  </a:lnTo>
                  <a:lnTo>
                    <a:pt x="1053327" y="2511411"/>
                  </a:lnTo>
                  <a:lnTo>
                    <a:pt x="1060622" y="2502319"/>
                  </a:lnTo>
                  <a:lnTo>
                    <a:pt x="1067845" y="2493073"/>
                  </a:lnTo>
                  <a:lnTo>
                    <a:pt x="1075014" y="2483673"/>
                  </a:lnTo>
                  <a:lnTo>
                    <a:pt x="1056376" y="2469820"/>
                  </a:lnTo>
                  <a:close/>
                </a:path>
                <a:path w="3264534" h="3363595" extrusionOk="0">
                  <a:moveTo>
                    <a:pt x="1107055" y="2394084"/>
                  </a:moveTo>
                  <a:lnTo>
                    <a:pt x="1101108" y="2403895"/>
                  </a:lnTo>
                  <a:lnTo>
                    <a:pt x="1095053" y="2413591"/>
                  </a:lnTo>
                  <a:lnTo>
                    <a:pt x="1088899" y="2423177"/>
                  </a:lnTo>
                  <a:lnTo>
                    <a:pt x="1082658" y="2432658"/>
                  </a:lnTo>
                  <a:lnTo>
                    <a:pt x="1101924" y="2445496"/>
                  </a:lnTo>
                  <a:lnTo>
                    <a:pt x="1108323" y="2435787"/>
                  </a:lnTo>
                  <a:lnTo>
                    <a:pt x="1114633" y="2425966"/>
                  </a:lnTo>
                  <a:lnTo>
                    <a:pt x="1120845" y="2416033"/>
                  </a:lnTo>
                  <a:lnTo>
                    <a:pt x="1126949" y="2405989"/>
                  </a:lnTo>
                  <a:lnTo>
                    <a:pt x="1107055" y="2394084"/>
                  </a:lnTo>
                  <a:close/>
                </a:path>
                <a:path w="3264534" h="3363595" extrusionOk="0">
                  <a:moveTo>
                    <a:pt x="3264476" y="2393675"/>
                  </a:moveTo>
                  <a:lnTo>
                    <a:pt x="3241314" y="2393675"/>
                  </a:lnTo>
                  <a:lnTo>
                    <a:pt x="3241314" y="2439862"/>
                  </a:lnTo>
                  <a:lnTo>
                    <a:pt x="3264476" y="2439862"/>
                  </a:lnTo>
                  <a:lnTo>
                    <a:pt x="3264476" y="2393675"/>
                  </a:lnTo>
                  <a:close/>
                </a:path>
                <a:path w="3264534" h="3363595" extrusionOk="0">
                  <a:moveTo>
                    <a:pt x="1149985" y="2313657"/>
                  </a:moveTo>
                  <a:lnTo>
                    <a:pt x="1144997" y="2323992"/>
                  </a:lnTo>
                  <a:lnTo>
                    <a:pt x="1139920" y="2334223"/>
                  </a:lnTo>
                  <a:lnTo>
                    <a:pt x="1134745" y="2344353"/>
                  </a:lnTo>
                  <a:lnTo>
                    <a:pt x="1129462" y="2354389"/>
                  </a:lnTo>
                  <a:lnTo>
                    <a:pt x="1149881" y="2365310"/>
                  </a:lnTo>
                  <a:lnTo>
                    <a:pt x="1155260" y="2355047"/>
                  </a:lnTo>
                  <a:lnTo>
                    <a:pt x="1160561" y="2344665"/>
                  </a:lnTo>
                  <a:lnTo>
                    <a:pt x="1165783" y="2334171"/>
                  </a:lnTo>
                  <a:lnTo>
                    <a:pt x="1170927" y="2323573"/>
                  </a:lnTo>
                  <a:lnTo>
                    <a:pt x="1149985" y="2313657"/>
                  </a:lnTo>
                  <a:close/>
                </a:path>
                <a:path w="3264534" h="3363595" extrusionOk="0">
                  <a:moveTo>
                    <a:pt x="3264476" y="2301364"/>
                  </a:moveTo>
                  <a:lnTo>
                    <a:pt x="3241314" y="2301364"/>
                  </a:lnTo>
                  <a:lnTo>
                    <a:pt x="3241314" y="2347551"/>
                  </a:lnTo>
                  <a:lnTo>
                    <a:pt x="3264476" y="2347551"/>
                  </a:lnTo>
                  <a:lnTo>
                    <a:pt x="3264476" y="2301364"/>
                  </a:lnTo>
                  <a:close/>
                </a:path>
                <a:path w="3264534" h="3363595" extrusionOk="0">
                  <a:moveTo>
                    <a:pt x="1185482" y="2229544"/>
                  </a:moveTo>
                  <a:lnTo>
                    <a:pt x="1181419" y="2240294"/>
                  </a:lnTo>
                  <a:lnTo>
                    <a:pt x="1177249" y="2250955"/>
                  </a:lnTo>
                  <a:lnTo>
                    <a:pt x="1172980" y="2261517"/>
                  </a:lnTo>
                  <a:lnTo>
                    <a:pt x="1168624" y="2271972"/>
                  </a:lnTo>
                  <a:lnTo>
                    <a:pt x="1189984" y="2280988"/>
                  </a:lnTo>
                  <a:lnTo>
                    <a:pt x="1194464" y="2270279"/>
                  </a:lnTo>
                  <a:lnTo>
                    <a:pt x="1198806" y="2259474"/>
                  </a:lnTo>
                  <a:lnTo>
                    <a:pt x="1203030" y="2248580"/>
                  </a:lnTo>
                  <a:lnTo>
                    <a:pt x="1207156" y="2237607"/>
                  </a:lnTo>
                  <a:lnTo>
                    <a:pt x="1185482" y="2229544"/>
                  </a:lnTo>
                  <a:close/>
                </a:path>
                <a:path w="3264534" h="3363595" extrusionOk="0">
                  <a:moveTo>
                    <a:pt x="3264476" y="2209000"/>
                  </a:moveTo>
                  <a:lnTo>
                    <a:pt x="3241314" y="2209000"/>
                  </a:lnTo>
                  <a:lnTo>
                    <a:pt x="3241314" y="2255187"/>
                  </a:lnTo>
                  <a:lnTo>
                    <a:pt x="3264476" y="2255187"/>
                  </a:lnTo>
                  <a:lnTo>
                    <a:pt x="3264476" y="2209000"/>
                  </a:lnTo>
                  <a:close/>
                </a:path>
                <a:path w="3264534" h="3363595" extrusionOk="0">
                  <a:moveTo>
                    <a:pt x="1213648" y="2142657"/>
                  </a:moveTo>
                  <a:lnTo>
                    <a:pt x="1210527" y="2153697"/>
                  </a:lnTo>
                  <a:lnTo>
                    <a:pt x="1207287" y="2164657"/>
                  </a:lnTo>
                  <a:lnTo>
                    <a:pt x="1203930" y="2175541"/>
                  </a:lnTo>
                  <a:lnTo>
                    <a:pt x="1200455" y="2186352"/>
                  </a:lnTo>
                  <a:lnTo>
                    <a:pt x="1222549" y="2193535"/>
                  </a:lnTo>
                  <a:lnTo>
                    <a:pt x="1226042" y="2182487"/>
                  </a:lnTo>
                  <a:lnTo>
                    <a:pt x="1229446" y="2171364"/>
                  </a:lnTo>
                  <a:lnTo>
                    <a:pt x="1232753" y="2160164"/>
                  </a:lnTo>
                  <a:lnTo>
                    <a:pt x="1235951" y="2148887"/>
                  </a:lnTo>
                  <a:lnTo>
                    <a:pt x="1213648" y="2142657"/>
                  </a:lnTo>
                  <a:close/>
                </a:path>
                <a:path w="3264534" h="3363595" extrusionOk="0">
                  <a:moveTo>
                    <a:pt x="3264476" y="2116679"/>
                  </a:moveTo>
                  <a:lnTo>
                    <a:pt x="3241314" y="2116679"/>
                  </a:lnTo>
                  <a:lnTo>
                    <a:pt x="3241314" y="2162845"/>
                  </a:lnTo>
                  <a:lnTo>
                    <a:pt x="3264476" y="2162845"/>
                  </a:lnTo>
                  <a:lnTo>
                    <a:pt x="3264476" y="2116679"/>
                  </a:lnTo>
                  <a:close/>
                </a:path>
                <a:path w="3264534" h="3363595" extrusionOk="0">
                  <a:moveTo>
                    <a:pt x="1234904" y="2053759"/>
                  </a:moveTo>
                  <a:lnTo>
                    <a:pt x="1232632" y="2064984"/>
                  </a:lnTo>
                  <a:lnTo>
                    <a:pt x="1230232" y="2076182"/>
                  </a:lnTo>
                  <a:lnTo>
                    <a:pt x="1227733" y="2087325"/>
                  </a:lnTo>
                  <a:lnTo>
                    <a:pt x="1225166" y="2098386"/>
                  </a:lnTo>
                  <a:lnTo>
                    <a:pt x="1247679" y="2103789"/>
                  </a:lnTo>
                  <a:lnTo>
                    <a:pt x="1250308" y="2092473"/>
                  </a:lnTo>
                  <a:lnTo>
                    <a:pt x="1252849" y="2081112"/>
                  </a:lnTo>
                  <a:lnTo>
                    <a:pt x="1255291" y="2069707"/>
                  </a:lnTo>
                  <a:lnTo>
                    <a:pt x="1257626" y="2058261"/>
                  </a:lnTo>
                  <a:lnTo>
                    <a:pt x="1234904" y="2053759"/>
                  </a:lnTo>
                  <a:close/>
                </a:path>
                <a:path w="3264534" h="3363595" extrusionOk="0">
                  <a:moveTo>
                    <a:pt x="3264476" y="2024346"/>
                  </a:moveTo>
                  <a:lnTo>
                    <a:pt x="3241314" y="2024346"/>
                  </a:lnTo>
                  <a:lnTo>
                    <a:pt x="3241314" y="2070512"/>
                  </a:lnTo>
                  <a:lnTo>
                    <a:pt x="3264476" y="2070512"/>
                  </a:lnTo>
                  <a:lnTo>
                    <a:pt x="3264476" y="2024346"/>
                  </a:lnTo>
                  <a:close/>
                </a:path>
                <a:path w="3264534" h="3363595" extrusionOk="0">
                  <a:moveTo>
                    <a:pt x="1249249" y="1963395"/>
                  </a:moveTo>
                  <a:lnTo>
                    <a:pt x="1247797" y="1974823"/>
                  </a:lnTo>
                  <a:lnTo>
                    <a:pt x="1246265" y="1986182"/>
                  </a:lnTo>
                  <a:lnTo>
                    <a:pt x="1244655" y="1997483"/>
                  </a:lnTo>
                  <a:lnTo>
                    <a:pt x="1242967" y="2008734"/>
                  </a:lnTo>
                  <a:lnTo>
                    <a:pt x="1265793" y="2012399"/>
                  </a:lnTo>
                  <a:lnTo>
                    <a:pt x="1267557" y="2000914"/>
                  </a:lnTo>
                  <a:lnTo>
                    <a:pt x="1269223" y="1989389"/>
                  </a:lnTo>
                  <a:lnTo>
                    <a:pt x="1270770" y="1977825"/>
                  </a:lnTo>
                  <a:lnTo>
                    <a:pt x="1272181" y="1966222"/>
                  </a:lnTo>
                  <a:lnTo>
                    <a:pt x="1249249" y="1963395"/>
                  </a:lnTo>
                  <a:close/>
                </a:path>
                <a:path w="3264534" h="3363595" extrusionOk="0">
                  <a:moveTo>
                    <a:pt x="3264476" y="1931983"/>
                  </a:moveTo>
                  <a:lnTo>
                    <a:pt x="3241314" y="1931983"/>
                  </a:lnTo>
                  <a:lnTo>
                    <a:pt x="3241314" y="1978159"/>
                  </a:lnTo>
                  <a:lnTo>
                    <a:pt x="3264476" y="1978159"/>
                  </a:lnTo>
                  <a:lnTo>
                    <a:pt x="3264476" y="1931983"/>
                  </a:lnTo>
                  <a:close/>
                </a:path>
                <a:path w="3264534" h="3363595" extrusionOk="0">
                  <a:moveTo>
                    <a:pt x="1256893" y="1872299"/>
                  </a:moveTo>
                  <a:lnTo>
                    <a:pt x="1256332" y="1883761"/>
                  </a:lnTo>
                  <a:lnTo>
                    <a:pt x="1255624" y="1895204"/>
                  </a:lnTo>
                  <a:lnTo>
                    <a:pt x="1254817" y="1906607"/>
                  </a:lnTo>
                  <a:lnTo>
                    <a:pt x="1253961" y="1917952"/>
                  </a:lnTo>
                  <a:lnTo>
                    <a:pt x="1276997" y="1919836"/>
                  </a:lnTo>
                  <a:lnTo>
                    <a:pt x="1277899" y="1908273"/>
                  </a:lnTo>
                  <a:lnTo>
                    <a:pt x="1278712" y="1896669"/>
                  </a:lnTo>
                  <a:lnTo>
                    <a:pt x="1279427" y="1885027"/>
                  </a:lnTo>
                  <a:lnTo>
                    <a:pt x="1280034" y="1873346"/>
                  </a:lnTo>
                  <a:lnTo>
                    <a:pt x="1256893" y="1872299"/>
                  </a:lnTo>
                  <a:close/>
                </a:path>
                <a:path w="3264534" h="3363595" extrusionOk="0">
                  <a:moveTo>
                    <a:pt x="3264476" y="1839629"/>
                  </a:moveTo>
                  <a:lnTo>
                    <a:pt x="3241314" y="1839629"/>
                  </a:lnTo>
                  <a:lnTo>
                    <a:pt x="3241314" y="1885806"/>
                  </a:lnTo>
                  <a:lnTo>
                    <a:pt x="3264476" y="1885806"/>
                  </a:lnTo>
                  <a:lnTo>
                    <a:pt x="3264476" y="1839629"/>
                  </a:lnTo>
                  <a:close/>
                </a:path>
                <a:path w="3264534" h="3363595" extrusionOk="0">
                  <a:moveTo>
                    <a:pt x="1281500" y="1780469"/>
                  </a:moveTo>
                  <a:lnTo>
                    <a:pt x="1258359" y="1780469"/>
                  </a:lnTo>
                  <a:lnTo>
                    <a:pt x="1258254" y="1826541"/>
                  </a:lnTo>
                  <a:lnTo>
                    <a:pt x="1281395" y="1826855"/>
                  </a:lnTo>
                  <a:lnTo>
                    <a:pt x="1281500" y="1780469"/>
                  </a:lnTo>
                  <a:close/>
                </a:path>
                <a:path w="3264534" h="3363595" extrusionOk="0">
                  <a:moveTo>
                    <a:pt x="3264476" y="1747370"/>
                  </a:moveTo>
                  <a:lnTo>
                    <a:pt x="3241314" y="1747370"/>
                  </a:lnTo>
                  <a:lnTo>
                    <a:pt x="3241314" y="1793557"/>
                  </a:lnTo>
                  <a:lnTo>
                    <a:pt x="3264476" y="1793557"/>
                  </a:lnTo>
                  <a:lnTo>
                    <a:pt x="3264476" y="1747370"/>
                  </a:lnTo>
                  <a:close/>
                </a:path>
                <a:path w="3264534" h="3363595" extrusionOk="0">
                  <a:moveTo>
                    <a:pt x="1281500" y="1688220"/>
                  </a:moveTo>
                  <a:lnTo>
                    <a:pt x="1258328" y="1688220"/>
                  </a:lnTo>
                  <a:lnTo>
                    <a:pt x="1258328" y="1734397"/>
                  </a:lnTo>
                  <a:lnTo>
                    <a:pt x="1281500" y="1734397"/>
                  </a:lnTo>
                  <a:lnTo>
                    <a:pt x="1281500" y="1688220"/>
                  </a:lnTo>
                  <a:close/>
                </a:path>
                <a:path w="3264534" h="3363595" extrusionOk="0">
                  <a:moveTo>
                    <a:pt x="3264476" y="1654986"/>
                  </a:moveTo>
                  <a:lnTo>
                    <a:pt x="3241314" y="1654986"/>
                  </a:lnTo>
                  <a:lnTo>
                    <a:pt x="3241314" y="1701204"/>
                  </a:lnTo>
                  <a:lnTo>
                    <a:pt x="3264476" y="1701204"/>
                  </a:lnTo>
                  <a:lnTo>
                    <a:pt x="3264476" y="1654986"/>
                  </a:lnTo>
                  <a:close/>
                </a:path>
                <a:path w="3264534" h="3363595" extrusionOk="0">
                  <a:moveTo>
                    <a:pt x="1281500" y="1595836"/>
                  </a:moveTo>
                  <a:lnTo>
                    <a:pt x="1258328" y="1595836"/>
                  </a:lnTo>
                  <a:lnTo>
                    <a:pt x="1258328" y="1642044"/>
                  </a:lnTo>
                  <a:lnTo>
                    <a:pt x="1281500" y="1642044"/>
                  </a:lnTo>
                  <a:lnTo>
                    <a:pt x="1281500" y="1595836"/>
                  </a:lnTo>
                  <a:close/>
                </a:path>
                <a:path w="3264534" h="3363595" extrusionOk="0">
                  <a:moveTo>
                    <a:pt x="3264476" y="1562685"/>
                  </a:moveTo>
                  <a:lnTo>
                    <a:pt x="3241314" y="1562685"/>
                  </a:lnTo>
                  <a:lnTo>
                    <a:pt x="3241314" y="1608851"/>
                  </a:lnTo>
                  <a:lnTo>
                    <a:pt x="3264476" y="1608851"/>
                  </a:lnTo>
                  <a:lnTo>
                    <a:pt x="3264476" y="1562685"/>
                  </a:lnTo>
                  <a:close/>
                </a:path>
                <a:path w="3264534" h="3363595" extrusionOk="0">
                  <a:moveTo>
                    <a:pt x="1281500" y="1503514"/>
                  </a:moveTo>
                  <a:lnTo>
                    <a:pt x="1258328" y="1503514"/>
                  </a:lnTo>
                  <a:lnTo>
                    <a:pt x="1258328" y="1549691"/>
                  </a:lnTo>
                  <a:lnTo>
                    <a:pt x="1281500" y="1549691"/>
                  </a:lnTo>
                  <a:lnTo>
                    <a:pt x="1281500" y="1503514"/>
                  </a:lnTo>
                  <a:close/>
                </a:path>
                <a:path w="3264534" h="3363595" extrusionOk="0">
                  <a:moveTo>
                    <a:pt x="3264476" y="1470332"/>
                  </a:moveTo>
                  <a:lnTo>
                    <a:pt x="3241314" y="1470332"/>
                  </a:lnTo>
                  <a:lnTo>
                    <a:pt x="3241314" y="1516498"/>
                  </a:lnTo>
                  <a:lnTo>
                    <a:pt x="3264476" y="1516498"/>
                  </a:lnTo>
                  <a:lnTo>
                    <a:pt x="3264476" y="1470332"/>
                  </a:lnTo>
                  <a:close/>
                </a:path>
                <a:path w="3264534" h="3363595" extrusionOk="0">
                  <a:moveTo>
                    <a:pt x="1281500" y="1411265"/>
                  </a:moveTo>
                  <a:lnTo>
                    <a:pt x="1258328" y="1411265"/>
                  </a:lnTo>
                  <a:lnTo>
                    <a:pt x="1258328" y="1457442"/>
                  </a:lnTo>
                  <a:lnTo>
                    <a:pt x="1281500" y="1457442"/>
                  </a:lnTo>
                  <a:lnTo>
                    <a:pt x="1281500" y="1411265"/>
                  </a:lnTo>
                  <a:close/>
                </a:path>
                <a:path w="3264534" h="3363595" extrusionOk="0">
                  <a:moveTo>
                    <a:pt x="3264476" y="1378083"/>
                  </a:moveTo>
                  <a:lnTo>
                    <a:pt x="3241314" y="1378083"/>
                  </a:lnTo>
                  <a:lnTo>
                    <a:pt x="3241314" y="1424249"/>
                  </a:lnTo>
                  <a:lnTo>
                    <a:pt x="3264476" y="1424249"/>
                  </a:lnTo>
                  <a:lnTo>
                    <a:pt x="3264476" y="1378083"/>
                  </a:lnTo>
                  <a:close/>
                </a:path>
                <a:path w="3264534" h="3363595" extrusionOk="0">
                  <a:moveTo>
                    <a:pt x="1281500" y="1318933"/>
                  </a:moveTo>
                  <a:lnTo>
                    <a:pt x="1258328" y="1318933"/>
                  </a:lnTo>
                  <a:lnTo>
                    <a:pt x="1258328" y="1365089"/>
                  </a:lnTo>
                  <a:lnTo>
                    <a:pt x="1281500" y="1365089"/>
                  </a:lnTo>
                  <a:lnTo>
                    <a:pt x="1281500" y="1318933"/>
                  </a:lnTo>
                  <a:close/>
                </a:path>
                <a:path w="3264534" h="3363595" extrusionOk="0">
                  <a:moveTo>
                    <a:pt x="3264476" y="1285751"/>
                  </a:moveTo>
                  <a:lnTo>
                    <a:pt x="3241314" y="1285751"/>
                  </a:lnTo>
                  <a:lnTo>
                    <a:pt x="3241314" y="1331896"/>
                  </a:lnTo>
                  <a:lnTo>
                    <a:pt x="3264476" y="1331896"/>
                  </a:lnTo>
                  <a:lnTo>
                    <a:pt x="3264476" y="1285751"/>
                  </a:lnTo>
                  <a:close/>
                </a:path>
                <a:path w="3264534" h="3363595" extrusionOk="0">
                  <a:moveTo>
                    <a:pt x="1281500" y="1226569"/>
                  </a:moveTo>
                  <a:lnTo>
                    <a:pt x="1258328" y="1226569"/>
                  </a:lnTo>
                  <a:lnTo>
                    <a:pt x="1258328" y="1272736"/>
                  </a:lnTo>
                  <a:lnTo>
                    <a:pt x="1281500" y="1272736"/>
                  </a:lnTo>
                  <a:lnTo>
                    <a:pt x="1281500" y="1226569"/>
                  </a:lnTo>
                  <a:close/>
                </a:path>
                <a:path w="3264534" h="3363595" extrusionOk="0">
                  <a:moveTo>
                    <a:pt x="3264476" y="1193377"/>
                  </a:moveTo>
                  <a:lnTo>
                    <a:pt x="3241314" y="1193377"/>
                  </a:lnTo>
                  <a:lnTo>
                    <a:pt x="3241314" y="1239543"/>
                  </a:lnTo>
                  <a:lnTo>
                    <a:pt x="3264476" y="1239543"/>
                  </a:lnTo>
                  <a:lnTo>
                    <a:pt x="3264476" y="1193377"/>
                  </a:lnTo>
                  <a:close/>
                </a:path>
                <a:path w="3264534" h="3363595" extrusionOk="0">
                  <a:moveTo>
                    <a:pt x="1281500" y="1134216"/>
                  </a:moveTo>
                  <a:lnTo>
                    <a:pt x="1258328" y="1134216"/>
                  </a:lnTo>
                  <a:lnTo>
                    <a:pt x="1258328" y="1180382"/>
                  </a:lnTo>
                  <a:lnTo>
                    <a:pt x="1281500" y="1180382"/>
                  </a:lnTo>
                  <a:lnTo>
                    <a:pt x="1281500" y="1134216"/>
                  </a:lnTo>
                  <a:close/>
                </a:path>
                <a:path w="3264534" h="3363595" extrusionOk="0">
                  <a:moveTo>
                    <a:pt x="3264476" y="1101013"/>
                  </a:moveTo>
                  <a:lnTo>
                    <a:pt x="3241314" y="1101013"/>
                  </a:lnTo>
                  <a:lnTo>
                    <a:pt x="3241314" y="1147190"/>
                  </a:lnTo>
                  <a:lnTo>
                    <a:pt x="3264476" y="1147190"/>
                  </a:lnTo>
                  <a:lnTo>
                    <a:pt x="3264476" y="1101013"/>
                  </a:lnTo>
                  <a:close/>
                </a:path>
                <a:path w="3264534" h="3363595" extrusionOk="0">
                  <a:moveTo>
                    <a:pt x="1281500" y="1041853"/>
                  </a:moveTo>
                  <a:lnTo>
                    <a:pt x="1258328" y="1041853"/>
                  </a:lnTo>
                  <a:lnTo>
                    <a:pt x="1258328" y="1088029"/>
                  </a:lnTo>
                  <a:lnTo>
                    <a:pt x="1281500" y="1088029"/>
                  </a:lnTo>
                  <a:lnTo>
                    <a:pt x="1281500" y="1041853"/>
                  </a:lnTo>
                  <a:close/>
                </a:path>
                <a:path w="3264534" h="3363595" extrusionOk="0">
                  <a:moveTo>
                    <a:pt x="3264476" y="1008733"/>
                  </a:moveTo>
                  <a:lnTo>
                    <a:pt x="3241314" y="1008733"/>
                  </a:lnTo>
                  <a:lnTo>
                    <a:pt x="3241314" y="1054941"/>
                  </a:lnTo>
                  <a:lnTo>
                    <a:pt x="3264476" y="1054941"/>
                  </a:lnTo>
                  <a:lnTo>
                    <a:pt x="3264476" y="1008733"/>
                  </a:lnTo>
                  <a:close/>
                </a:path>
                <a:path w="3264534" h="3363595" extrusionOk="0">
                  <a:moveTo>
                    <a:pt x="1281500" y="949510"/>
                  </a:moveTo>
                  <a:lnTo>
                    <a:pt x="1258328" y="949510"/>
                  </a:lnTo>
                  <a:lnTo>
                    <a:pt x="1258328" y="995676"/>
                  </a:lnTo>
                  <a:lnTo>
                    <a:pt x="1281500" y="995676"/>
                  </a:lnTo>
                  <a:lnTo>
                    <a:pt x="1281500" y="949510"/>
                  </a:lnTo>
                  <a:close/>
                </a:path>
                <a:path w="3264534" h="3363595" extrusionOk="0">
                  <a:moveTo>
                    <a:pt x="3264476" y="916401"/>
                  </a:moveTo>
                  <a:lnTo>
                    <a:pt x="3241314" y="916401"/>
                  </a:lnTo>
                  <a:lnTo>
                    <a:pt x="3241314" y="962588"/>
                  </a:lnTo>
                  <a:lnTo>
                    <a:pt x="3264476" y="962588"/>
                  </a:lnTo>
                  <a:lnTo>
                    <a:pt x="3264476" y="916401"/>
                  </a:lnTo>
                  <a:close/>
                </a:path>
                <a:path w="3264534" h="3363595" extrusionOk="0">
                  <a:moveTo>
                    <a:pt x="1281500" y="857251"/>
                  </a:moveTo>
                  <a:lnTo>
                    <a:pt x="1258328" y="857251"/>
                  </a:lnTo>
                  <a:lnTo>
                    <a:pt x="1258328" y="903427"/>
                  </a:lnTo>
                  <a:lnTo>
                    <a:pt x="1281500" y="903427"/>
                  </a:lnTo>
                  <a:lnTo>
                    <a:pt x="1281500" y="857251"/>
                  </a:lnTo>
                  <a:close/>
                </a:path>
                <a:path w="3264534" h="3363595" extrusionOk="0">
                  <a:moveTo>
                    <a:pt x="3264476" y="824037"/>
                  </a:moveTo>
                  <a:lnTo>
                    <a:pt x="3241314" y="824037"/>
                  </a:lnTo>
                  <a:lnTo>
                    <a:pt x="3241314" y="870235"/>
                  </a:lnTo>
                  <a:lnTo>
                    <a:pt x="3264476" y="870235"/>
                  </a:lnTo>
                  <a:lnTo>
                    <a:pt x="3264476" y="824037"/>
                  </a:lnTo>
                  <a:close/>
                </a:path>
                <a:path w="3264534" h="3363595" extrusionOk="0">
                  <a:moveTo>
                    <a:pt x="1281500" y="764919"/>
                  </a:moveTo>
                  <a:lnTo>
                    <a:pt x="1258328" y="764919"/>
                  </a:lnTo>
                  <a:lnTo>
                    <a:pt x="1258328" y="811074"/>
                  </a:lnTo>
                  <a:lnTo>
                    <a:pt x="1281500" y="811074"/>
                  </a:lnTo>
                  <a:lnTo>
                    <a:pt x="1281500" y="764919"/>
                  </a:lnTo>
                  <a:close/>
                </a:path>
                <a:path w="3264534" h="3363595" extrusionOk="0">
                  <a:moveTo>
                    <a:pt x="3264476" y="731694"/>
                  </a:moveTo>
                  <a:lnTo>
                    <a:pt x="3241314" y="731694"/>
                  </a:lnTo>
                  <a:lnTo>
                    <a:pt x="3241314" y="777882"/>
                  </a:lnTo>
                  <a:lnTo>
                    <a:pt x="3264476" y="777882"/>
                  </a:lnTo>
                  <a:lnTo>
                    <a:pt x="3264476" y="731694"/>
                  </a:lnTo>
                  <a:close/>
                </a:path>
                <a:path w="3264534" h="3363595" extrusionOk="0">
                  <a:moveTo>
                    <a:pt x="1281500" y="672534"/>
                  </a:moveTo>
                  <a:lnTo>
                    <a:pt x="1258328" y="672534"/>
                  </a:lnTo>
                  <a:lnTo>
                    <a:pt x="1258328" y="718721"/>
                  </a:lnTo>
                  <a:lnTo>
                    <a:pt x="1281500" y="718721"/>
                  </a:lnTo>
                  <a:lnTo>
                    <a:pt x="1281500" y="672534"/>
                  </a:lnTo>
                  <a:close/>
                </a:path>
                <a:path w="3264534" h="3363595" extrusionOk="0">
                  <a:moveTo>
                    <a:pt x="3264476" y="639362"/>
                  </a:moveTo>
                  <a:lnTo>
                    <a:pt x="3241314" y="639362"/>
                  </a:lnTo>
                  <a:lnTo>
                    <a:pt x="3241314" y="685528"/>
                  </a:lnTo>
                  <a:lnTo>
                    <a:pt x="3264476" y="685528"/>
                  </a:lnTo>
                  <a:lnTo>
                    <a:pt x="3264476" y="639362"/>
                  </a:lnTo>
                  <a:close/>
                </a:path>
                <a:path w="3264534" h="3363595" extrusionOk="0">
                  <a:moveTo>
                    <a:pt x="1281500" y="580202"/>
                  </a:moveTo>
                  <a:lnTo>
                    <a:pt x="1258328" y="580202"/>
                  </a:lnTo>
                  <a:lnTo>
                    <a:pt x="1258328" y="626368"/>
                  </a:lnTo>
                  <a:lnTo>
                    <a:pt x="1281500" y="626368"/>
                  </a:lnTo>
                  <a:lnTo>
                    <a:pt x="1281500" y="580202"/>
                  </a:lnTo>
                  <a:close/>
                </a:path>
                <a:path w="3264534" h="3363595" extrusionOk="0">
                  <a:moveTo>
                    <a:pt x="3264476" y="547103"/>
                  </a:moveTo>
                  <a:lnTo>
                    <a:pt x="3241314" y="547103"/>
                  </a:lnTo>
                  <a:lnTo>
                    <a:pt x="3241314" y="593280"/>
                  </a:lnTo>
                  <a:lnTo>
                    <a:pt x="3264476" y="593280"/>
                  </a:lnTo>
                  <a:lnTo>
                    <a:pt x="3264476" y="547103"/>
                  </a:lnTo>
                  <a:close/>
                </a:path>
                <a:path w="3264534" h="3363595" extrusionOk="0">
                  <a:moveTo>
                    <a:pt x="1281500" y="487953"/>
                  </a:moveTo>
                  <a:lnTo>
                    <a:pt x="1258328" y="487953"/>
                  </a:lnTo>
                  <a:lnTo>
                    <a:pt x="1258328" y="534119"/>
                  </a:lnTo>
                  <a:lnTo>
                    <a:pt x="1281500" y="534119"/>
                  </a:lnTo>
                  <a:lnTo>
                    <a:pt x="1281500" y="487953"/>
                  </a:lnTo>
                  <a:close/>
                </a:path>
                <a:path w="3264534" h="3363595" extrusionOk="0">
                  <a:moveTo>
                    <a:pt x="3264476" y="454740"/>
                  </a:moveTo>
                  <a:lnTo>
                    <a:pt x="3241314" y="454740"/>
                  </a:lnTo>
                  <a:lnTo>
                    <a:pt x="3241314" y="500927"/>
                  </a:lnTo>
                  <a:lnTo>
                    <a:pt x="3264476" y="500927"/>
                  </a:lnTo>
                  <a:lnTo>
                    <a:pt x="3264476" y="454740"/>
                  </a:lnTo>
                  <a:close/>
                </a:path>
                <a:path w="3264534" h="3363595" extrusionOk="0">
                  <a:moveTo>
                    <a:pt x="1281500" y="395579"/>
                  </a:moveTo>
                  <a:lnTo>
                    <a:pt x="1258328" y="395579"/>
                  </a:lnTo>
                  <a:lnTo>
                    <a:pt x="1258328" y="441766"/>
                  </a:lnTo>
                  <a:lnTo>
                    <a:pt x="1281500" y="441766"/>
                  </a:lnTo>
                  <a:lnTo>
                    <a:pt x="1281500" y="395579"/>
                  </a:lnTo>
                  <a:close/>
                </a:path>
                <a:path w="3264534" h="3363595" extrusionOk="0">
                  <a:moveTo>
                    <a:pt x="3264476" y="362397"/>
                  </a:moveTo>
                  <a:lnTo>
                    <a:pt x="3241314" y="362397"/>
                  </a:lnTo>
                  <a:lnTo>
                    <a:pt x="3241314" y="408573"/>
                  </a:lnTo>
                  <a:lnTo>
                    <a:pt x="3264476" y="408573"/>
                  </a:lnTo>
                  <a:lnTo>
                    <a:pt x="3264476" y="362397"/>
                  </a:lnTo>
                  <a:close/>
                </a:path>
                <a:path w="3264534" h="3363595" extrusionOk="0">
                  <a:moveTo>
                    <a:pt x="1281500" y="303226"/>
                  </a:moveTo>
                  <a:lnTo>
                    <a:pt x="1258328" y="303226"/>
                  </a:lnTo>
                  <a:lnTo>
                    <a:pt x="1258328" y="349413"/>
                  </a:lnTo>
                  <a:lnTo>
                    <a:pt x="1281500" y="349413"/>
                  </a:lnTo>
                  <a:lnTo>
                    <a:pt x="1281500" y="303226"/>
                  </a:lnTo>
                  <a:close/>
                </a:path>
                <a:path w="3264534" h="3363595" extrusionOk="0">
                  <a:moveTo>
                    <a:pt x="3264267" y="269939"/>
                  </a:moveTo>
                  <a:lnTo>
                    <a:pt x="3241126" y="270253"/>
                  </a:lnTo>
                  <a:lnTo>
                    <a:pt x="3241330" y="277583"/>
                  </a:lnTo>
                  <a:lnTo>
                    <a:pt x="3241335" y="316220"/>
                  </a:lnTo>
                  <a:lnTo>
                    <a:pt x="3264476" y="316220"/>
                  </a:lnTo>
                  <a:lnTo>
                    <a:pt x="3264476" y="277583"/>
                  </a:lnTo>
                  <a:lnTo>
                    <a:pt x="3264267" y="269939"/>
                  </a:lnTo>
                  <a:close/>
                </a:path>
                <a:path w="3264534" h="3363595" extrusionOk="0">
                  <a:moveTo>
                    <a:pt x="1260872" y="210255"/>
                  </a:moveTo>
                  <a:lnTo>
                    <a:pt x="1260167" y="223021"/>
                  </a:lnTo>
                  <a:lnTo>
                    <a:pt x="1259643" y="234456"/>
                  </a:lnTo>
                  <a:lnTo>
                    <a:pt x="1259213" y="245910"/>
                  </a:lnTo>
                  <a:lnTo>
                    <a:pt x="1258883" y="256746"/>
                  </a:lnTo>
                  <a:lnTo>
                    <a:pt x="1282023" y="257374"/>
                  </a:lnTo>
                  <a:lnTo>
                    <a:pt x="1282407" y="245108"/>
                  </a:lnTo>
                  <a:lnTo>
                    <a:pt x="1282853" y="233461"/>
                  </a:lnTo>
                  <a:lnTo>
                    <a:pt x="1283380" y="221833"/>
                  </a:lnTo>
                  <a:lnTo>
                    <a:pt x="1283908" y="211616"/>
                  </a:lnTo>
                  <a:lnTo>
                    <a:pt x="1260872" y="210255"/>
                  </a:lnTo>
                  <a:close/>
                </a:path>
                <a:path w="3264534" h="3363595" extrusionOk="0">
                  <a:moveTo>
                    <a:pt x="3259659" y="176957"/>
                  </a:moveTo>
                  <a:lnTo>
                    <a:pt x="3236623" y="178842"/>
                  </a:lnTo>
                  <a:lnTo>
                    <a:pt x="3237525" y="190231"/>
                  </a:lnTo>
                  <a:lnTo>
                    <a:pt x="3238338" y="201629"/>
                  </a:lnTo>
                  <a:lnTo>
                    <a:pt x="3239053" y="213048"/>
                  </a:lnTo>
                  <a:lnTo>
                    <a:pt x="3239660" y="224495"/>
                  </a:lnTo>
                  <a:lnTo>
                    <a:pt x="3262801" y="223448"/>
                  </a:lnTo>
                  <a:lnTo>
                    <a:pt x="3262133" y="211767"/>
                  </a:lnTo>
                  <a:lnTo>
                    <a:pt x="3261387" y="200124"/>
                  </a:lnTo>
                  <a:lnTo>
                    <a:pt x="3260563" y="188521"/>
                  </a:lnTo>
                  <a:lnTo>
                    <a:pt x="3259659" y="176957"/>
                  </a:lnTo>
                  <a:close/>
                </a:path>
                <a:path w="3264534" h="3363595" extrusionOk="0">
                  <a:moveTo>
                    <a:pt x="1269563" y="117588"/>
                  </a:moveTo>
                  <a:lnTo>
                    <a:pt x="1268113" y="129089"/>
                  </a:lnTo>
                  <a:lnTo>
                    <a:pt x="1266762" y="140650"/>
                  </a:lnTo>
                  <a:lnTo>
                    <a:pt x="1265528" y="152249"/>
                  </a:lnTo>
                  <a:lnTo>
                    <a:pt x="1264432" y="163869"/>
                  </a:lnTo>
                  <a:lnTo>
                    <a:pt x="1287468" y="166068"/>
                  </a:lnTo>
                  <a:lnTo>
                    <a:pt x="1288563" y="154622"/>
                  </a:lnTo>
                  <a:lnTo>
                    <a:pt x="1289785" y="143215"/>
                  </a:lnTo>
                  <a:lnTo>
                    <a:pt x="1291105" y="131848"/>
                  </a:lnTo>
                  <a:lnTo>
                    <a:pt x="1292494" y="120519"/>
                  </a:lnTo>
                  <a:lnTo>
                    <a:pt x="1269563" y="117588"/>
                  </a:lnTo>
                  <a:close/>
                </a:path>
                <a:path w="3264534" h="3363595" extrusionOk="0">
                  <a:moveTo>
                    <a:pt x="3248560" y="84500"/>
                  </a:moveTo>
                  <a:lnTo>
                    <a:pt x="3225734" y="88060"/>
                  </a:lnTo>
                  <a:lnTo>
                    <a:pt x="3227406" y="99311"/>
                  </a:lnTo>
                  <a:lnTo>
                    <a:pt x="3228980" y="110611"/>
                  </a:lnTo>
                  <a:lnTo>
                    <a:pt x="3230475" y="121971"/>
                  </a:lnTo>
                  <a:lnTo>
                    <a:pt x="3231912" y="133399"/>
                  </a:lnTo>
                  <a:lnTo>
                    <a:pt x="3254843" y="130571"/>
                  </a:lnTo>
                  <a:lnTo>
                    <a:pt x="3253449" y="119029"/>
                  </a:lnTo>
                  <a:lnTo>
                    <a:pt x="3251937" y="107496"/>
                  </a:lnTo>
                  <a:lnTo>
                    <a:pt x="3250308" y="95983"/>
                  </a:lnTo>
                  <a:lnTo>
                    <a:pt x="3248560" y="84500"/>
                  </a:lnTo>
                  <a:close/>
                </a:path>
                <a:path w="3264534" h="3363595" extrusionOk="0">
                  <a:moveTo>
                    <a:pt x="1284641" y="25758"/>
                  </a:moveTo>
                  <a:lnTo>
                    <a:pt x="1282419" y="37104"/>
                  </a:lnTo>
                  <a:lnTo>
                    <a:pt x="1280296" y="48519"/>
                  </a:lnTo>
                  <a:lnTo>
                    <a:pt x="1278251" y="59993"/>
                  </a:lnTo>
                  <a:lnTo>
                    <a:pt x="1276264" y="71516"/>
                  </a:lnTo>
                  <a:lnTo>
                    <a:pt x="1299091" y="75285"/>
                  </a:lnTo>
                  <a:lnTo>
                    <a:pt x="1301031" y="63995"/>
                  </a:lnTo>
                  <a:lnTo>
                    <a:pt x="1303070" y="52733"/>
                  </a:lnTo>
                  <a:lnTo>
                    <a:pt x="1305187" y="41492"/>
                  </a:lnTo>
                  <a:lnTo>
                    <a:pt x="1307363" y="30260"/>
                  </a:lnTo>
                  <a:lnTo>
                    <a:pt x="1284641" y="25758"/>
                  </a:lnTo>
                  <a:close/>
                </a:path>
                <a:path w="3264534" h="3363595" extrusionOk="0">
                  <a:moveTo>
                    <a:pt x="3232749" y="0"/>
                  </a:moveTo>
                  <a:lnTo>
                    <a:pt x="3208980" y="0"/>
                  </a:lnTo>
                  <a:lnTo>
                    <a:pt x="3211358" y="10698"/>
                  </a:lnTo>
                  <a:lnTo>
                    <a:pt x="3213627" y="21426"/>
                  </a:lnTo>
                  <a:lnTo>
                    <a:pt x="3215798" y="32173"/>
                  </a:lnTo>
                  <a:lnTo>
                    <a:pt x="3217881" y="42930"/>
                  </a:lnTo>
                  <a:lnTo>
                    <a:pt x="3240707" y="38637"/>
                  </a:lnTo>
                  <a:lnTo>
                    <a:pt x="3238845" y="28919"/>
                  </a:lnTo>
                  <a:lnTo>
                    <a:pt x="3236885" y="19240"/>
                  </a:lnTo>
                  <a:lnTo>
                    <a:pt x="3234847" y="9600"/>
                  </a:lnTo>
                  <a:lnTo>
                    <a:pt x="3232749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1"/>
            <p:cNvSpPr/>
            <p:nvPr/>
          </p:nvSpPr>
          <p:spPr>
            <a:xfrm>
              <a:off x="9346406" y="273766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82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1"/>
            <p:cNvSpPr/>
            <p:nvPr/>
          </p:nvSpPr>
          <p:spPr>
            <a:xfrm>
              <a:off x="12648337" y="3432481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5" h="4309109" extrusionOk="0">
                  <a:moveTo>
                    <a:pt x="46312" y="0"/>
                  </a:moveTo>
                  <a:lnTo>
                    <a:pt x="0" y="0"/>
                  </a:lnTo>
                  <a:lnTo>
                    <a:pt x="0" y="3358955"/>
                  </a:lnTo>
                  <a:lnTo>
                    <a:pt x="1230" y="3409311"/>
                  </a:lnTo>
                  <a:lnTo>
                    <a:pt x="4880" y="3458991"/>
                  </a:lnTo>
                  <a:lnTo>
                    <a:pt x="10889" y="3507929"/>
                  </a:lnTo>
                  <a:lnTo>
                    <a:pt x="19194" y="3556059"/>
                  </a:lnTo>
                  <a:lnTo>
                    <a:pt x="29734" y="3603314"/>
                  </a:lnTo>
                  <a:lnTo>
                    <a:pt x="42446" y="3649630"/>
                  </a:lnTo>
                  <a:lnTo>
                    <a:pt x="57270" y="3694939"/>
                  </a:lnTo>
                  <a:lnTo>
                    <a:pt x="74144" y="3739176"/>
                  </a:lnTo>
                  <a:lnTo>
                    <a:pt x="93006" y="3782274"/>
                  </a:lnTo>
                  <a:lnTo>
                    <a:pt x="113794" y="3824167"/>
                  </a:lnTo>
                  <a:lnTo>
                    <a:pt x="136446" y="3864789"/>
                  </a:lnTo>
                  <a:lnTo>
                    <a:pt x="160901" y="3904074"/>
                  </a:lnTo>
                  <a:lnTo>
                    <a:pt x="187097" y="3941956"/>
                  </a:lnTo>
                  <a:lnTo>
                    <a:pt x="214973" y="3978369"/>
                  </a:lnTo>
                  <a:lnTo>
                    <a:pt x="244466" y="4013247"/>
                  </a:lnTo>
                  <a:lnTo>
                    <a:pt x="275516" y="4046522"/>
                  </a:lnTo>
                  <a:lnTo>
                    <a:pt x="308059" y="4078131"/>
                  </a:lnTo>
                  <a:lnTo>
                    <a:pt x="342036" y="4108005"/>
                  </a:lnTo>
                  <a:lnTo>
                    <a:pt x="377383" y="4136080"/>
                  </a:lnTo>
                  <a:lnTo>
                    <a:pt x="414039" y="4162289"/>
                  </a:lnTo>
                  <a:lnTo>
                    <a:pt x="451943" y="4186565"/>
                  </a:lnTo>
                  <a:lnTo>
                    <a:pt x="491032" y="4208843"/>
                  </a:lnTo>
                  <a:lnTo>
                    <a:pt x="531246" y="4229057"/>
                  </a:lnTo>
                  <a:lnTo>
                    <a:pt x="572521" y="4247141"/>
                  </a:lnTo>
                  <a:lnTo>
                    <a:pt x="614798" y="4263028"/>
                  </a:lnTo>
                  <a:lnTo>
                    <a:pt x="658013" y="4276652"/>
                  </a:lnTo>
                  <a:lnTo>
                    <a:pt x="702106" y="4287947"/>
                  </a:lnTo>
                  <a:lnTo>
                    <a:pt x="747014" y="4296848"/>
                  </a:lnTo>
                  <a:lnTo>
                    <a:pt x="792676" y="4303287"/>
                  </a:lnTo>
                  <a:lnTo>
                    <a:pt x="839030" y="4307199"/>
                  </a:lnTo>
                  <a:lnTo>
                    <a:pt x="886014" y="4308518"/>
                  </a:lnTo>
                  <a:lnTo>
                    <a:pt x="939842" y="4306786"/>
                  </a:lnTo>
                  <a:lnTo>
                    <a:pt x="992828" y="4301657"/>
                  </a:lnTo>
                  <a:lnTo>
                    <a:pt x="1044878" y="4293230"/>
                  </a:lnTo>
                  <a:lnTo>
                    <a:pt x="1095901" y="4281605"/>
                  </a:lnTo>
                  <a:lnTo>
                    <a:pt x="1145803" y="4266880"/>
                  </a:lnTo>
                  <a:lnTo>
                    <a:pt x="1158705" y="4262184"/>
                  </a:lnTo>
                  <a:lnTo>
                    <a:pt x="886014" y="4262184"/>
                  </a:lnTo>
                  <a:lnTo>
                    <a:pt x="840009" y="4260845"/>
                  </a:lnTo>
                  <a:lnTo>
                    <a:pt x="794644" y="4256874"/>
                  </a:lnTo>
                  <a:lnTo>
                    <a:pt x="749983" y="4250341"/>
                  </a:lnTo>
                  <a:lnTo>
                    <a:pt x="706092" y="4241315"/>
                  </a:lnTo>
                  <a:lnTo>
                    <a:pt x="663035" y="4229865"/>
                  </a:lnTo>
                  <a:lnTo>
                    <a:pt x="620877" y="4216062"/>
                  </a:lnTo>
                  <a:lnTo>
                    <a:pt x="579681" y="4199973"/>
                  </a:lnTo>
                  <a:lnTo>
                    <a:pt x="539513" y="4181669"/>
                  </a:lnTo>
                  <a:lnTo>
                    <a:pt x="500437" y="4161219"/>
                  </a:lnTo>
                  <a:lnTo>
                    <a:pt x="462517" y="4138693"/>
                  </a:lnTo>
                  <a:lnTo>
                    <a:pt x="425818" y="4114159"/>
                  </a:lnTo>
                  <a:lnTo>
                    <a:pt x="390404" y="4087688"/>
                  </a:lnTo>
                  <a:lnTo>
                    <a:pt x="356341" y="4059348"/>
                  </a:lnTo>
                  <a:lnTo>
                    <a:pt x="323676" y="4029193"/>
                  </a:lnTo>
                  <a:lnTo>
                    <a:pt x="292522" y="3997341"/>
                  </a:lnTo>
                  <a:lnTo>
                    <a:pt x="262895" y="3963813"/>
                  </a:lnTo>
                  <a:lnTo>
                    <a:pt x="234877" y="3928693"/>
                  </a:lnTo>
                  <a:lnTo>
                    <a:pt x="208531" y="3892053"/>
                  </a:lnTo>
                  <a:lnTo>
                    <a:pt x="183922" y="3853960"/>
                  </a:lnTo>
                  <a:lnTo>
                    <a:pt x="161114" y="3814484"/>
                  </a:lnTo>
                  <a:lnTo>
                    <a:pt x="140173" y="3773696"/>
                  </a:lnTo>
                  <a:lnTo>
                    <a:pt x="121162" y="3731664"/>
                  </a:lnTo>
                  <a:lnTo>
                    <a:pt x="104146" y="3688457"/>
                  </a:lnTo>
                  <a:lnTo>
                    <a:pt x="89189" y="3644145"/>
                  </a:lnTo>
                  <a:lnTo>
                    <a:pt x="76357" y="3598798"/>
                  </a:lnTo>
                  <a:lnTo>
                    <a:pt x="65713" y="3552484"/>
                  </a:lnTo>
                  <a:lnTo>
                    <a:pt x="57322" y="3505273"/>
                  </a:lnTo>
                  <a:lnTo>
                    <a:pt x="51248" y="3457235"/>
                  </a:lnTo>
                  <a:lnTo>
                    <a:pt x="47557" y="3408439"/>
                  </a:lnTo>
                  <a:lnTo>
                    <a:pt x="46312" y="3358955"/>
                  </a:lnTo>
                  <a:lnTo>
                    <a:pt x="46312" y="0"/>
                  </a:lnTo>
                  <a:close/>
                </a:path>
                <a:path w="2649855" h="4309109" extrusionOk="0">
                  <a:moveTo>
                    <a:pt x="2649469" y="1703990"/>
                  </a:moveTo>
                  <a:lnTo>
                    <a:pt x="2598858" y="1705233"/>
                  </a:lnTo>
                  <a:lnTo>
                    <a:pt x="2548952" y="1708922"/>
                  </a:lnTo>
                  <a:lnTo>
                    <a:pt x="2499820" y="1714991"/>
                  </a:lnTo>
                  <a:lnTo>
                    <a:pt x="2451535" y="1723376"/>
                  </a:lnTo>
                  <a:lnTo>
                    <a:pt x="2404166" y="1734013"/>
                  </a:lnTo>
                  <a:lnTo>
                    <a:pt x="2357786" y="1746836"/>
                  </a:lnTo>
                  <a:lnTo>
                    <a:pt x="2312464" y="1761782"/>
                  </a:lnTo>
                  <a:lnTo>
                    <a:pt x="2268273" y="1778786"/>
                  </a:lnTo>
                  <a:lnTo>
                    <a:pt x="2225282" y="1797783"/>
                  </a:lnTo>
                  <a:lnTo>
                    <a:pt x="2183564" y="1818709"/>
                  </a:lnTo>
                  <a:lnTo>
                    <a:pt x="2143188" y="1841500"/>
                  </a:lnTo>
                  <a:lnTo>
                    <a:pt x="2104227" y="1866091"/>
                  </a:lnTo>
                  <a:lnTo>
                    <a:pt x="2066750" y="1892418"/>
                  </a:lnTo>
                  <a:lnTo>
                    <a:pt x="2030829" y="1920416"/>
                  </a:lnTo>
                  <a:lnTo>
                    <a:pt x="1996536" y="1950020"/>
                  </a:lnTo>
                  <a:lnTo>
                    <a:pt x="1963940" y="1981167"/>
                  </a:lnTo>
                  <a:lnTo>
                    <a:pt x="1933113" y="2013791"/>
                  </a:lnTo>
                  <a:lnTo>
                    <a:pt x="1904126" y="2047828"/>
                  </a:lnTo>
                  <a:lnTo>
                    <a:pt x="1877050" y="2083215"/>
                  </a:lnTo>
                  <a:lnTo>
                    <a:pt x="1851956" y="2119885"/>
                  </a:lnTo>
                  <a:lnTo>
                    <a:pt x="1828915" y="2157776"/>
                  </a:lnTo>
                  <a:lnTo>
                    <a:pt x="1807998" y="2196821"/>
                  </a:lnTo>
                  <a:lnTo>
                    <a:pt x="1789276" y="2236958"/>
                  </a:lnTo>
                  <a:lnTo>
                    <a:pt x="1772820" y="2278121"/>
                  </a:lnTo>
                  <a:lnTo>
                    <a:pt x="1758701" y="2320246"/>
                  </a:lnTo>
                  <a:lnTo>
                    <a:pt x="1746989" y="2363268"/>
                  </a:lnTo>
                  <a:lnTo>
                    <a:pt x="1737757" y="2407124"/>
                  </a:lnTo>
                  <a:lnTo>
                    <a:pt x="1731074" y="2451747"/>
                  </a:lnTo>
                  <a:lnTo>
                    <a:pt x="1727013" y="2497075"/>
                  </a:lnTo>
                  <a:lnTo>
                    <a:pt x="1725643" y="2543042"/>
                  </a:lnTo>
                  <a:lnTo>
                    <a:pt x="1725643" y="3358955"/>
                  </a:lnTo>
                  <a:lnTo>
                    <a:pt x="1724209" y="3412065"/>
                  </a:lnTo>
                  <a:lnTo>
                    <a:pt x="1719958" y="3464377"/>
                  </a:lnTo>
                  <a:lnTo>
                    <a:pt x="1712970" y="3515802"/>
                  </a:lnTo>
                  <a:lnTo>
                    <a:pt x="1703327" y="3566256"/>
                  </a:lnTo>
                  <a:lnTo>
                    <a:pt x="1691107" y="3615653"/>
                  </a:lnTo>
                  <a:lnTo>
                    <a:pt x="1676391" y="3663906"/>
                  </a:lnTo>
                  <a:lnTo>
                    <a:pt x="1659259" y="3710930"/>
                  </a:lnTo>
                  <a:lnTo>
                    <a:pt x="1639790" y="3756638"/>
                  </a:lnTo>
                  <a:lnTo>
                    <a:pt x="1618065" y="3800945"/>
                  </a:lnTo>
                  <a:lnTo>
                    <a:pt x="1594164" y="3843765"/>
                  </a:lnTo>
                  <a:lnTo>
                    <a:pt x="1568166" y="3885011"/>
                  </a:lnTo>
                  <a:lnTo>
                    <a:pt x="1540152" y="3924598"/>
                  </a:lnTo>
                  <a:lnTo>
                    <a:pt x="1510201" y="3962440"/>
                  </a:lnTo>
                  <a:lnTo>
                    <a:pt x="1478394" y="3998450"/>
                  </a:lnTo>
                  <a:lnTo>
                    <a:pt x="1444810" y="4032544"/>
                  </a:lnTo>
                  <a:lnTo>
                    <a:pt x="1409530" y="4064634"/>
                  </a:lnTo>
                  <a:lnTo>
                    <a:pt x="1372633" y="4094635"/>
                  </a:lnTo>
                  <a:lnTo>
                    <a:pt x="1334200" y="4122460"/>
                  </a:lnTo>
                  <a:lnTo>
                    <a:pt x="1299629" y="4144793"/>
                  </a:lnTo>
                  <a:lnTo>
                    <a:pt x="1242278" y="4176783"/>
                  </a:lnTo>
                  <a:lnTo>
                    <a:pt x="1195152" y="4198759"/>
                  </a:lnTo>
                  <a:lnTo>
                    <a:pt x="1146592" y="4217665"/>
                  </a:lnTo>
                  <a:lnTo>
                    <a:pt x="1096706" y="4233389"/>
                  </a:lnTo>
                  <a:lnTo>
                    <a:pt x="1045598" y="4245816"/>
                  </a:lnTo>
                  <a:lnTo>
                    <a:pt x="993377" y="4254834"/>
                  </a:lnTo>
                  <a:lnTo>
                    <a:pt x="940147" y="4260327"/>
                  </a:lnTo>
                  <a:lnTo>
                    <a:pt x="886014" y="4262184"/>
                  </a:lnTo>
                  <a:lnTo>
                    <a:pt x="1158705" y="4262184"/>
                  </a:lnTo>
                  <a:lnTo>
                    <a:pt x="1241879" y="4228532"/>
                  </a:lnTo>
                  <a:lnTo>
                    <a:pt x="1287866" y="4205107"/>
                  </a:lnTo>
                  <a:lnTo>
                    <a:pt x="1322777" y="4184915"/>
                  </a:lnTo>
                  <a:lnTo>
                    <a:pt x="1372810" y="4152013"/>
                  </a:lnTo>
                  <a:lnTo>
                    <a:pt x="1410065" y="4124167"/>
                  </a:lnTo>
                  <a:lnTo>
                    <a:pt x="1445899" y="4094367"/>
                  </a:lnTo>
                  <a:lnTo>
                    <a:pt x="1480244" y="4062685"/>
                  </a:lnTo>
                  <a:lnTo>
                    <a:pt x="1513031" y="4029193"/>
                  </a:lnTo>
                  <a:lnTo>
                    <a:pt x="1544194" y="3993963"/>
                  </a:lnTo>
                  <a:lnTo>
                    <a:pt x="1573665" y="3957069"/>
                  </a:lnTo>
                  <a:lnTo>
                    <a:pt x="1601375" y="3918583"/>
                  </a:lnTo>
                  <a:lnTo>
                    <a:pt x="1627257" y="3878577"/>
                  </a:lnTo>
                  <a:lnTo>
                    <a:pt x="1651244" y="3837124"/>
                  </a:lnTo>
                  <a:lnTo>
                    <a:pt x="1673267" y="3794296"/>
                  </a:lnTo>
                  <a:lnTo>
                    <a:pt x="1693260" y="3750166"/>
                  </a:lnTo>
                  <a:lnTo>
                    <a:pt x="1711154" y="3704806"/>
                  </a:lnTo>
                  <a:lnTo>
                    <a:pt x="1726882" y="3658290"/>
                  </a:lnTo>
                  <a:lnTo>
                    <a:pt x="1740376" y="3610689"/>
                  </a:lnTo>
                  <a:lnTo>
                    <a:pt x="1751568" y="3562076"/>
                  </a:lnTo>
                  <a:lnTo>
                    <a:pt x="1760391" y="3512523"/>
                  </a:lnTo>
                  <a:lnTo>
                    <a:pt x="1766777" y="3462104"/>
                  </a:lnTo>
                  <a:lnTo>
                    <a:pt x="1770658" y="3410890"/>
                  </a:lnTo>
                  <a:lnTo>
                    <a:pt x="1771966" y="3358955"/>
                  </a:lnTo>
                  <a:lnTo>
                    <a:pt x="1771966" y="2543042"/>
                  </a:lnTo>
                  <a:lnTo>
                    <a:pt x="1773358" y="2498127"/>
                  </a:lnTo>
                  <a:lnTo>
                    <a:pt x="1777484" y="2453861"/>
                  </a:lnTo>
                  <a:lnTo>
                    <a:pt x="1784269" y="2410311"/>
                  </a:lnTo>
                  <a:lnTo>
                    <a:pt x="1793638" y="2367544"/>
                  </a:lnTo>
                  <a:lnTo>
                    <a:pt x="1805518" y="2325629"/>
                  </a:lnTo>
                  <a:lnTo>
                    <a:pt x="1819832" y="2284632"/>
                  </a:lnTo>
                  <a:lnTo>
                    <a:pt x="1836507" y="2244621"/>
                  </a:lnTo>
                  <a:lnTo>
                    <a:pt x="1855469" y="2205663"/>
                  </a:lnTo>
                  <a:lnTo>
                    <a:pt x="1876641" y="2167826"/>
                  </a:lnTo>
                  <a:lnTo>
                    <a:pt x="1899950" y="2131177"/>
                  </a:lnTo>
                  <a:lnTo>
                    <a:pt x="1925321" y="2095785"/>
                  </a:lnTo>
                  <a:lnTo>
                    <a:pt x="1952679" y="2061715"/>
                  </a:lnTo>
                  <a:lnTo>
                    <a:pt x="1981949" y="2029036"/>
                  </a:lnTo>
                  <a:lnTo>
                    <a:pt x="2013058" y="1997814"/>
                  </a:lnTo>
                  <a:lnTo>
                    <a:pt x="2045930" y="1968119"/>
                  </a:lnTo>
                  <a:lnTo>
                    <a:pt x="2080490" y="1940016"/>
                  </a:lnTo>
                  <a:lnTo>
                    <a:pt x="2116665" y="1913573"/>
                  </a:lnTo>
                  <a:lnTo>
                    <a:pt x="2154378" y="1888859"/>
                  </a:lnTo>
                  <a:lnTo>
                    <a:pt x="2193557" y="1865940"/>
                  </a:lnTo>
                  <a:lnTo>
                    <a:pt x="2234125" y="1844883"/>
                  </a:lnTo>
                  <a:lnTo>
                    <a:pt x="2276008" y="1825756"/>
                  </a:lnTo>
                  <a:lnTo>
                    <a:pt x="2319133" y="1808628"/>
                  </a:lnTo>
                  <a:lnTo>
                    <a:pt x="2363423" y="1793564"/>
                  </a:lnTo>
                  <a:lnTo>
                    <a:pt x="2408804" y="1780632"/>
                  </a:lnTo>
                  <a:lnTo>
                    <a:pt x="2455203" y="1769901"/>
                  </a:lnTo>
                  <a:lnTo>
                    <a:pt x="2502543" y="1761437"/>
                  </a:lnTo>
                  <a:lnTo>
                    <a:pt x="2550750" y="1755308"/>
                  </a:lnTo>
                  <a:lnTo>
                    <a:pt x="2599750" y="1751580"/>
                  </a:lnTo>
                  <a:lnTo>
                    <a:pt x="2649469" y="1750323"/>
                  </a:lnTo>
                  <a:lnTo>
                    <a:pt x="2649469" y="170399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1"/>
            <p:cNvSpPr/>
            <p:nvPr/>
          </p:nvSpPr>
          <p:spPr>
            <a:xfrm>
              <a:off x="17852011" y="467926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75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1"/>
            <p:cNvSpPr/>
            <p:nvPr/>
          </p:nvSpPr>
          <p:spPr>
            <a:xfrm>
              <a:off x="15368883" y="4737164"/>
              <a:ext cx="2506345" cy="4854575"/>
            </a:xfrm>
            <a:custGeom>
              <a:avLst/>
              <a:gdLst/>
              <a:ahLst/>
              <a:cxnLst/>
              <a:rect l="l" t="t" r="r" b="b"/>
              <a:pathLst>
                <a:path w="2506344" h="4854575" extrusionOk="0">
                  <a:moveTo>
                    <a:pt x="1631981" y="4830376"/>
                  </a:moveTo>
                  <a:lnTo>
                    <a:pt x="1631039" y="4853538"/>
                  </a:lnTo>
                  <a:lnTo>
                    <a:pt x="1638779" y="4853815"/>
                  </a:lnTo>
                  <a:lnTo>
                    <a:pt x="1646542" y="4854007"/>
                  </a:lnTo>
                  <a:lnTo>
                    <a:pt x="1662116" y="4854155"/>
                  </a:lnTo>
                  <a:lnTo>
                    <a:pt x="1672807" y="4854124"/>
                  </a:lnTo>
                  <a:lnTo>
                    <a:pt x="1678095" y="4853998"/>
                  </a:lnTo>
                  <a:lnTo>
                    <a:pt x="1677595" y="4830940"/>
                  </a:lnTo>
                  <a:lnTo>
                    <a:pt x="1655557" y="4830940"/>
                  </a:lnTo>
                  <a:lnTo>
                    <a:pt x="1639831" y="4830636"/>
                  </a:lnTo>
                  <a:lnTo>
                    <a:pt x="1631981" y="4830376"/>
                  </a:lnTo>
                  <a:close/>
                </a:path>
                <a:path w="2506344" h="4854575" extrusionOk="0">
                  <a:moveTo>
                    <a:pt x="1677592" y="4830837"/>
                  </a:moveTo>
                  <a:lnTo>
                    <a:pt x="1655557" y="4830940"/>
                  </a:lnTo>
                  <a:lnTo>
                    <a:pt x="1677595" y="4830940"/>
                  </a:lnTo>
                  <a:close/>
                </a:path>
                <a:path w="2506344" h="4854575" extrusionOk="0">
                  <a:moveTo>
                    <a:pt x="1768469" y="4823371"/>
                  </a:moveTo>
                  <a:lnTo>
                    <a:pt x="1757208" y="4824915"/>
                  </a:lnTo>
                  <a:lnTo>
                    <a:pt x="1745898" y="4826282"/>
                  </a:lnTo>
                  <a:lnTo>
                    <a:pt x="1734539" y="4827476"/>
                  </a:lnTo>
                  <a:lnTo>
                    <a:pt x="1723130" y="4828502"/>
                  </a:lnTo>
                  <a:lnTo>
                    <a:pt x="1725036" y="4851600"/>
                  </a:lnTo>
                  <a:lnTo>
                    <a:pt x="1736791" y="4850529"/>
                  </a:lnTo>
                  <a:lnTo>
                    <a:pt x="1748504" y="4849292"/>
                  </a:lnTo>
                  <a:lnTo>
                    <a:pt x="1760166" y="4847890"/>
                  </a:lnTo>
                  <a:lnTo>
                    <a:pt x="1771768" y="4846323"/>
                  </a:lnTo>
                  <a:lnTo>
                    <a:pt x="1768469" y="4823371"/>
                  </a:lnTo>
                  <a:close/>
                </a:path>
                <a:path w="2506344" h="4854575" extrusionOk="0">
                  <a:moveTo>
                    <a:pt x="1541282" y="4821162"/>
                  </a:moveTo>
                  <a:lnTo>
                    <a:pt x="1572429" y="4848922"/>
                  </a:lnTo>
                  <a:lnTo>
                    <a:pt x="1584150" y="4850197"/>
                  </a:lnTo>
                  <a:lnTo>
                    <a:pt x="1586475" y="4827151"/>
                  </a:lnTo>
                  <a:lnTo>
                    <a:pt x="1575142" y="4825907"/>
                  </a:lnTo>
                  <a:lnTo>
                    <a:pt x="1563835" y="4824490"/>
                  </a:lnTo>
                  <a:lnTo>
                    <a:pt x="1552551" y="4822906"/>
                  </a:lnTo>
                  <a:lnTo>
                    <a:pt x="1541282" y="4821162"/>
                  </a:lnTo>
                  <a:close/>
                </a:path>
                <a:path w="2506344" h="4854575" extrusionOk="0">
                  <a:moveTo>
                    <a:pt x="1857713" y="4804879"/>
                  </a:moveTo>
                  <a:lnTo>
                    <a:pt x="1846717" y="4807779"/>
                  </a:lnTo>
                  <a:lnTo>
                    <a:pt x="1835661" y="4810521"/>
                  </a:lnTo>
                  <a:lnTo>
                    <a:pt x="1824550" y="4813102"/>
                  </a:lnTo>
                  <a:lnTo>
                    <a:pt x="1813389" y="4815518"/>
                  </a:lnTo>
                  <a:lnTo>
                    <a:pt x="1818091" y="4838177"/>
                  </a:lnTo>
                  <a:lnTo>
                    <a:pt x="1829606" y="4835691"/>
                  </a:lnTo>
                  <a:lnTo>
                    <a:pt x="1841064" y="4833028"/>
                  </a:lnTo>
                  <a:lnTo>
                    <a:pt x="1852467" y="4830196"/>
                  </a:lnTo>
                  <a:lnTo>
                    <a:pt x="1863817" y="4827203"/>
                  </a:lnTo>
                  <a:lnTo>
                    <a:pt x="1857713" y="4804879"/>
                  </a:lnTo>
                  <a:close/>
                </a:path>
                <a:path w="2506344" h="4854575" extrusionOk="0">
                  <a:moveTo>
                    <a:pt x="1452364" y="4800859"/>
                  </a:moveTo>
                  <a:lnTo>
                    <a:pt x="1479935" y="4832245"/>
                  </a:lnTo>
                  <a:lnTo>
                    <a:pt x="1491420" y="4834962"/>
                  </a:lnTo>
                  <a:lnTo>
                    <a:pt x="1496561" y="4812377"/>
                  </a:lnTo>
                  <a:lnTo>
                    <a:pt x="1485426" y="4809745"/>
                  </a:lnTo>
                  <a:lnTo>
                    <a:pt x="1474345" y="4806951"/>
                  </a:lnTo>
                  <a:lnTo>
                    <a:pt x="1463322" y="4803991"/>
                  </a:lnTo>
                  <a:lnTo>
                    <a:pt x="1452364" y="4800859"/>
                  </a:lnTo>
                  <a:close/>
                </a:path>
                <a:path w="2506344" h="4854575" extrusionOk="0">
                  <a:moveTo>
                    <a:pt x="1943961" y="4775666"/>
                  </a:moveTo>
                  <a:lnTo>
                    <a:pt x="1933377" y="4779877"/>
                  </a:lnTo>
                  <a:lnTo>
                    <a:pt x="1922735" y="4783932"/>
                  </a:lnTo>
                  <a:lnTo>
                    <a:pt x="1912037" y="4787831"/>
                  </a:lnTo>
                  <a:lnTo>
                    <a:pt x="1901282" y="4791571"/>
                  </a:lnTo>
                  <a:lnTo>
                    <a:pt x="1908685" y="4813507"/>
                  </a:lnTo>
                  <a:lnTo>
                    <a:pt x="1919788" y="4809649"/>
                  </a:lnTo>
                  <a:lnTo>
                    <a:pt x="1930833" y="4805629"/>
                  </a:lnTo>
                  <a:lnTo>
                    <a:pt x="1941812" y="4801446"/>
                  </a:lnTo>
                  <a:lnTo>
                    <a:pt x="1952715" y="4797100"/>
                  </a:lnTo>
                  <a:lnTo>
                    <a:pt x="1943961" y="4775666"/>
                  </a:lnTo>
                  <a:close/>
                </a:path>
                <a:path w="2506344" h="4854575" extrusionOk="0">
                  <a:moveTo>
                    <a:pt x="1366502" y="4769886"/>
                  </a:moveTo>
                  <a:lnTo>
                    <a:pt x="1390043" y="4804357"/>
                  </a:lnTo>
                  <a:lnTo>
                    <a:pt x="1401067" y="4808439"/>
                  </a:lnTo>
                  <a:lnTo>
                    <a:pt x="1408941" y="4786660"/>
                  </a:lnTo>
                  <a:lnTo>
                    <a:pt x="1398247" y="4782704"/>
                  </a:lnTo>
                  <a:lnTo>
                    <a:pt x="1387608" y="4778583"/>
                  </a:lnTo>
                  <a:lnTo>
                    <a:pt x="1377025" y="4774308"/>
                  </a:lnTo>
                  <a:lnTo>
                    <a:pt x="1366502" y="4769886"/>
                  </a:lnTo>
                  <a:close/>
                </a:path>
                <a:path w="2506344" h="4854575" extrusionOk="0">
                  <a:moveTo>
                    <a:pt x="2026231" y="4736306"/>
                  </a:moveTo>
                  <a:lnTo>
                    <a:pt x="2016209" y="4741755"/>
                  </a:lnTo>
                  <a:lnTo>
                    <a:pt x="2006106" y="4747050"/>
                  </a:lnTo>
                  <a:lnTo>
                    <a:pt x="1995925" y="4752198"/>
                  </a:lnTo>
                  <a:lnTo>
                    <a:pt x="1985667" y="4757205"/>
                  </a:lnTo>
                  <a:lnTo>
                    <a:pt x="1995666" y="4778084"/>
                  </a:lnTo>
                  <a:lnTo>
                    <a:pt x="2006223" y="4772942"/>
                  </a:lnTo>
                  <a:lnTo>
                    <a:pt x="2016708" y="4767642"/>
                  </a:lnTo>
                  <a:lnTo>
                    <a:pt x="2027121" y="4762182"/>
                  </a:lnTo>
                  <a:lnTo>
                    <a:pt x="2037466" y="4756556"/>
                  </a:lnTo>
                  <a:lnTo>
                    <a:pt x="2026231" y="4736306"/>
                  </a:lnTo>
                  <a:close/>
                </a:path>
                <a:path w="2506344" h="4854575" extrusionOk="0">
                  <a:moveTo>
                    <a:pt x="1284997" y="4728934"/>
                  </a:moveTo>
                  <a:lnTo>
                    <a:pt x="1273374" y="4748996"/>
                  </a:lnTo>
                  <a:lnTo>
                    <a:pt x="1283607" y="4754809"/>
                  </a:lnTo>
                  <a:lnTo>
                    <a:pt x="1293908" y="4760458"/>
                  </a:lnTo>
                  <a:lnTo>
                    <a:pt x="1304287" y="4765952"/>
                  </a:lnTo>
                  <a:lnTo>
                    <a:pt x="1314755" y="4771299"/>
                  </a:lnTo>
                  <a:lnTo>
                    <a:pt x="1325101" y="4750619"/>
                  </a:lnTo>
                  <a:lnTo>
                    <a:pt x="1314969" y="4745414"/>
                  </a:lnTo>
                  <a:lnTo>
                    <a:pt x="1304903" y="4740067"/>
                  </a:lnTo>
                  <a:lnTo>
                    <a:pt x="1294910" y="4734575"/>
                  </a:lnTo>
                  <a:lnTo>
                    <a:pt x="1284997" y="4728934"/>
                  </a:lnTo>
                  <a:close/>
                </a:path>
                <a:path w="2506344" h="4854575" extrusionOk="0">
                  <a:moveTo>
                    <a:pt x="2103558" y="4687616"/>
                  </a:moveTo>
                  <a:lnTo>
                    <a:pt x="2094181" y="4694183"/>
                  </a:lnTo>
                  <a:lnTo>
                    <a:pt x="2084724" y="4700612"/>
                  </a:lnTo>
                  <a:lnTo>
                    <a:pt x="2075184" y="4706901"/>
                  </a:lnTo>
                  <a:lnTo>
                    <a:pt x="2065560" y="4713050"/>
                  </a:lnTo>
                  <a:lnTo>
                    <a:pt x="2077926" y="4732651"/>
                  </a:lnTo>
                  <a:lnTo>
                    <a:pt x="2087811" y="4726316"/>
                  </a:lnTo>
                  <a:lnTo>
                    <a:pt x="2097623" y="4719841"/>
                  </a:lnTo>
                  <a:lnTo>
                    <a:pt x="2107350" y="4713228"/>
                  </a:lnTo>
                  <a:lnTo>
                    <a:pt x="2116982" y="4706474"/>
                  </a:lnTo>
                  <a:lnTo>
                    <a:pt x="2103558" y="4687616"/>
                  </a:lnTo>
                  <a:close/>
                </a:path>
                <a:path w="2506344" h="4854575" extrusionOk="0">
                  <a:moveTo>
                    <a:pt x="1208727" y="4678915"/>
                  </a:moveTo>
                  <a:lnTo>
                    <a:pt x="1194947" y="4697542"/>
                  </a:lnTo>
                  <a:lnTo>
                    <a:pt x="1204448" y="4704467"/>
                  </a:lnTo>
                  <a:lnTo>
                    <a:pt x="1214020" y="4711249"/>
                  </a:lnTo>
                  <a:lnTo>
                    <a:pt x="1223678" y="4717889"/>
                  </a:lnTo>
                  <a:lnTo>
                    <a:pt x="1233438" y="4724390"/>
                  </a:lnTo>
                  <a:lnTo>
                    <a:pt x="1246140" y="4705039"/>
                  </a:lnTo>
                  <a:lnTo>
                    <a:pt x="1236661" y="4698703"/>
                  </a:lnTo>
                  <a:lnTo>
                    <a:pt x="1227272" y="4692240"/>
                  </a:lnTo>
                  <a:lnTo>
                    <a:pt x="1217964" y="4685646"/>
                  </a:lnTo>
                  <a:lnTo>
                    <a:pt x="1208727" y="4678915"/>
                  </a:lnTo>
                  <a:close/>
                </a:path>
                <a:path w="2506344" h="4854575" extrusionOk="0">
                  <a:moveTo>
                    <a:pt x="2175012" y="4630508"/>
                  </a:moveTo>
                  <a:lnTo>
                    <a:pt x="2166428" y="4638093"/>
                  </a:lnTo>
                  <a:lnTo>
                    <a:pt x="2157737" y="4645549"/>
                  </a:lnTo>
                  <a:lnTo>
                    <a:pt x="2148949" y="4652872"/>
                  </a:lnTo>
                  <a:lnTo>
                    <a:pt x="2140070" y="4660057"/>
                  </a:lnTo>
                  <a:lnTo>
                    <a:pt x="2154541" y="4678150"/>
                  </a:lnTo>
                  <a:lnTo>
                    <a:pt x="2163650" y="4670760"/>
                  </a:lnTo>
                  <a:lnTo>
                    <a:pt x="2172683" y="4663233"/>
                  </a:lnTo>
                  <a:lnTo>
                    <a:pt x="2181624" y="4655579"/>
                  </a:lnTo>
                  <a:lnTo>
                    <a:pt x="2190456" y="4647806"/>
                  </a:lnTo>
                  <a:lnTo>
                    <a:pt x="2175012" y="4630508"/>
                  </a:lnTo>
                  <a:close/>
                </a:path>
                <a:path w="2506344" h="4854575" extrusionOk="0">
                  <a:moveTo>
                    <a:pt x="1138478" y="4620738"/>
                  </a:moveTo>
                  <a:lnTo>
                    <a:pt x="1122730" y="4637754"/>
                  </a:lnTo>
                  <a:lnTo>
                    <a:pt x="1131424" y="4645662"/>
                  </a:lnTo>
                  <a:lnTo>
                    <a:pt x="1140210" y="4653444"/>
                  </a:lnTo>
                  <a:lnTo>
                    <a:pt x="1149080" y="4661101"/>
                  </a:lnTo>
                  <a:lnTo>
                    <a:pt x="1158027" y="4668632"/>
                  </a:lnTo>
                  <a:lnTo>
                    <a:pt x="1172812" y="4650790"/>
                  </a:lnTo>
                  <a:lnTo>
                    <a:pt x="1164077" y="4643460"/>
                  </a:lnTo>
                  <a:lnTo>
                    <a:pt x="1155445" y="4636004"/>
                  </a:lnTo>
                  <a:lnTo>
                    <a:pt x="1146913" y="4628427"/>
                  </a:lnTo>
                  <a:lnTo>
                    <a:pt x="1138478" y="4620738"/>
                  </a:lnTo>
                  <a:close/>
                </a:path>
                <a:path w="2506344" h="4854575" extrusionOk="0">
                  <a:moveTo>
                    <a:pt x="2239973" y="4565965"/>
                  </a:moveTo>
                  <a:lnTo>
                    <a:pt x="2232230" y="4574412"/>
                  </a:lnTo>
                  <a:lnTo>
                    <a:pt x="2224381" y="4582755"/>
                  </a:lnTo>
                  <a:lnTo>
                    <a:pt x="2216427" y="4590988"/>
                  </a:lnTo>
                  <a:lnTo>
                    <a:pt x="2208372" y="4599106"/>
                  </a:lnTo>
                  <a:lnTo>
                    <a:pt x="2224707" y="4615513"/>
                  </a:lnTo>
                  <a:lnTo>
                    <a:pt x="2232955" y="4607199"/>
                  </a:lnTo>
                  <a:lnTo>
                    <a:pt x="2241113" y="4598752"/>
                  </a:lnTo>
                  <a:lnTo>
                    <a:pt x="2249183" y="4590184"/>
                  </a:lnTo>
                  <a:lnTo>
                    <a:pt x="2257166" y="4581504"/>
                  </a:lnTo>
                  <a:lnTo>
                    <a:pt x="2239973" y="4565965"/>
                  </a:lnTo>
                  <a:close/>
                </a:path>
                <a:path w="2506344" h="4854575" extrusionOk="0">
                  <a:moveTo>
                    <a:pt x="1074794" y="4555295"/>
                  </a:moveTo>
                  <a:lnTo>
                    <a:pt x="1057370" y="4570562"/>
                  </a:lnTo>
                  <a:lnTo>
                    <a:pt x="1065179" y="4579372"/>
                  </a:lnTo>
                  <a:lnTo>
                    <a:pt x="1073090" y="4588054"/>
                  </a:lnTo>
                  <a:lnTo>
                    <a:pt x="1081107" y="4596610"/>
                  </a:lnTo>
                  <a:lnTo>
                    <a:pt x="1089233" y="4605043"/>
                  </a:lnTo>
                  <a:lnTo>
                    <a:pt x="1105819" y="4588907"/>
                  </a:lnTo>
                  <a:lnTo>
                    <a:pt x="1097904" y="4580672"/>
                  </a:lnTo>
                  <a:lnTo>
                    <a:pt x="1090099" y="4572321"/>
                  </a:lnTo>
                  <a:lnTo>
                    <a:pt x="1082397" y="4563860"/>
                  </a:lnTo>
                  <a:lnTo>
                    <a:pt x="1074794" y="4555295"/>
                  </a:lnTo>
                  <a:close/>
                </a:path>
                <a:path w="2506344" h="4854575" extrusionOk="0">
                  <a:moveTo>
                    <a:pt x="2297804" y="4495119"/>
                  </a:moveTo>
                  <a:lnTo>
                    <a:pt x="2290961" y="4504304"/>
                  </a:lnTo>
                  <a:lnTo>
                    <a:pt x="2284016" y="4513390"/>
                  </a:lnTo>
                  <a:lnTo>
                    <a:pt x="2276966" y="4522379"/>
                  </a:lnTo>
                  <a:lnTo>
                    <a:pt x="2269805" y="4531275"/>
                  </a:lnTo>
                  <a:lnTo>
                    <a:pt x="2287731" y="4545934"/>
                  </a:lnTo>
                  <a:lnTo>
                    <a:pt x="2295077" y="4536808"/>
                  </a:lnTo>
                  <a:lnTo>
                    <a:pt x="2302318" y="4527583"/>
                  </a:lnTo>
                  <a:lnTo>
                    <a:pt x="2309451" y="4518253"/>
                  </a:lnTo>
                  <a:lnTo>
                    <a:pt x="2316473" y="4508815"/>
                  </a:lnTo>
                  <a:lnTo>
                    <a:pt x="2297804" y="4495119"/>
                  </a:lnTo>
                  <a:close/>
                </a:path>
                <a:path w="2506344" h="4854575" extrusionOk="0">
                  <a:moveTo>
                    <a:pt x="1018115" y="4483538"/>
                  </a:moveTo>
                  <a:lnTo>
                    <a:pt x="999268" y="4496962"/>
                  </a:lnTo>
                  <a:lnTo>
                    <a:pt x="1006109" y="4506501"/>
                  </a:lnTo>
                  <a:lnTo>
                    <a:pt x="1013081" y="4515941"/>
                  </a:lnTo>
                  <a:lnTo>
                    <a:pt x="1020168" y="4525278"/>
                  </a:lnTo>
                  <a:lnTo>
                    <a:pt x="1027350" y="4534511"/>
                  </a:lnTo>
                  <a:lnTo>
                    <a:pt x="1045528" y="4520155"/>
                  </a:lnTo>
                  <a:lnTo>
                    <a:pt x="1038519" y="4511160"/>
                  </a:lnTo>
                  <a:lnTo>
                    <a:pt x="1031613" y="4502055"/>
                  </a:lnTo>
                  <a:lnTo>
                    <a:pt x="1024812" y="4492845"/>
                  </a:lnTo>
                  <a:lnTo>
                    <a:pt x="1018115" y="4483538"/>
                  </a:lnTo>
                  <a:close/>
                </a:path>
                <a:path w="2506344" h="4854575" extrusionOk="0">
                  <a:moveTo>
                    <a:pt x="2348179" y="4418745"/>
                  </a:moveTo>
                  <a:lnTo>
                    <a:pt x="2342294" y="4428585"/>
                  </a:lnTo>
                  <a:lnTo>
                    <a:pt x="2336304" y="4438332"/>
                  </a:lnTo>
                  <a:lnTo>
                    <a:pt x="2330202" y="4447986"/>
                  </a:lnTo>
                  <a:lnTo>
                    <a:pt x="2323981" y="4457550"/>
                  </a:lnTo>
                  <a:lnTo>
                    <a:pt x="2343289" y="4470324"/>
                  </a:lnTo>
                  <a:lnTo>
                    <a:pt x="2349684" y="4460528"/>
                  </a:lnTo>
                  <a:lnTo>
                    <a:pt x="2355957" y="4450623"/>
                  </a:lnTo>
                  <a:lnTo>
                    <a:pt x="2362108" y="4440624"/>
                  </a:lnTo>
                  <a:lnTo>
                    <a:pt x="2368137" y="4430545"/>
                  </a:lnTo>
                  <a:lnTo>
                    <a:pt x="2348179" y="4418745"/>
                  </a:lnTo>
                  <a:close/>
                </a:path>
                <a:path w="2506344" h="4854575" extrusionOk="0">
                  <a:moveTo>
                    <a:pt x="968902" y="4406431"/>
                  </a:moveTo>
                  <a:lnTo>
                    <a:pt x="948787" y="4417886"/>
                  </a:lnTo>
                  <a:lnTo>
                    <a:pt x="954670" y="4428054"/>
                  </a:lnTo>
                  <a:lnTo>
                    <a:pt x="960676" y="4438141"/>
                  </a:lnTo>
                  <a:lnTo>
                    <a:pt x="966797" y="4448147"/>
                  </a:lnTo>
                  <a:lnTo>
                    <a:pt x="973027" y="4458073"/>
                  </a:lnTo>
                  <a:lnTo>
                    <a:pt x="992545" y="4445592"/>
                  </a:lnTo>
                  <a:lnTo>
                    <a:pt x="986480" y="4435936"/>
                  </a:lnTo>
                  <a:lnTo>
                    <a:pt x="980519" y="4426184"/>
                  </a:lnTo>
                  <a:lnTo>
                    <a:pt x="974661" y="4416346"/>
                  </a:lnTo>
                  <a:lnTo>
                    <a:pt x="968902" y="4406431"/>
                  </a:lnTo>
                  <a:close/>
                </a:path>
                <a:path w="2506344" h="4854575" extrusionOk="0">
                  <a:moveTo>
                    <a:pt x="2390869" y="4337794"/>
                  </a:moveTo>
                  <a:lnTo>
                    <a:pt x="2385959" y="4348168"/>
                  </a:lnTo>
                  <a:lnTo>
                    <a:pt x="2380927" y="4358462"/>
                  </a:lnTo>
                  <a:lnTo>
                    <a:pt x="2375744" y="4368755"/>
                  </a:lnTo>
                  <a:lnTo>
                    <a:pt x="2370545" y="4378809"/>
                  </a:lnTo>
                  <a:lnTo>
                    <a:pt x="2391026" y="4389594"/>
                  </a:lnTo>
                  <a:lnTo>
                    <a:pt x="2396394" y="4379219"/>
                  </a:lnTo>
                  <a:lnTo>
                    <a:pt x="2401706" y="4368676"/>
                  </a:lnTo>
                  <a:lnTo>
                    <a:pt x="2406835" y="4358211"/>
                  </a:lnTo>
                  <a:lnTo>
                    <a:pt x="2411884" y="4347595"/>
                  </a:lnTo>
                  <a:lnTo>
                    <a:pt x="2390869" y="4337794"/>
                  </a:lnTo>
                  <a:close/>
                </a:path>
                <a:path w="2506344" h="4854575" extrusionOk="0">
                  <a:moveTo>
                    <a:pt x="927427" y="4324800"/>
                  </a:moveTo>
                  <a:lnTo>
                    <a:pt x="906286" y="4334297"/>
                  </a:lnTo>
                  <a:lnTo>
                    <a:pt x="911190" y="4344992"/>
                  </a:lnTo>
                  <a:lnTo>
                    <a:pt x="916197" y="4355608"/>
                  </a:lnTo>
                  <a:lnTo>
                    <a:pt x="921305" y="4366149"/>
                  </a:lnTo>
                  <a:lnTo>
                    <a:pt x="926516" y="4376620"/>
                  </a:lnTo>
                  <a:lnTo>
                    <a:pt x="947185" y="4366128"/>
                  </a:lnTo>
                  <a:lnTo>
                    <a:pt x="942079" y="4355916"/>
                  </a:lnTo>
                  <a:lnTo>
                    <a:pt x="937082" y="4345621"/>
                  </a:lnTo>
                  <a:lnTo>
                    <a:pt x="932197" y="4335248"/>
                  </a:lnTo>
                  <a:lnTo>
                    <a:pt x="927427" y="4324800"/>
                  </a:lnTo>
                  <a:close/>
                </a:path>
                <a:path w="2506344" h="4854575" extrusionOk="0">
                  <a:moveTo>
                    <a:pt x="2425622" y="4253095"/>
                  </a:moveTo>
                  <a:lnTo>
                    <a:pt x="2421710" y="4263894"/>
                  </a:lnTo>
                  <a:lnTo>
                    <a:pt x="2417680" y="4274619"/>
                  </a:lnTo>
                  <a:lnTo>
                    <a:pt x="2413524" y="4285276"/>
                  </a:lnTo>
                  <a:lnTo>
                    <a:pt x="2409235" y="4295869"/>
                  </a:lnTo>
                  <a:lnTo>
                    <a:pt x="2430690" y="4304654"/>
                  </a:lnTo>
                  <a:lnTo>
                    <a:pt x="2435073" y="4293813"/>
                  </a:lnTo>
                  <a:lnTo>
                    <a:pt x="2439321" y="4282902"/>
                  </a:lnTo>
                  <a:lnTo>
                    <a:pt x="2443439" y="4271922"/>
                  </a:lnTo>
                  <a:lnTo>
                    <a:pt x="2447433" y="4260875"/>
                  </a:lnTo>
                  <a:lnTo>
                    <a:pt x="2425622" y="4253095"/>
                  </a:lnTo>
                  <a:close/>
                </a:path>
                <a:path w="2506344" h="4854575" extrusionOk="0">
                  <a:moveTo>
                    <a:pt x="893941" y="4239609"/>
                  </a:moveTo>
                  <a:lnTo>
                    <a:pt x="872004" y="4247043"/>
                  </a:lnTo>
                  <a:lnTo>
                    <a:pt x="875863" y="4258160"/>
                  </a:lnTo>
                  <a:lnTo>
                    <a:pt x="879835" y="4269207"/>
                  </a:lnTo>
                  <a:lnTo>
                    <a:pt x="883915" y="4280179"/>
                  </a:lnTo>
                  <a:lnTo>
                    <a:pt x="888098" y="4291073"/>
                  </a:lnTo>
                  <a:lnTo>
                    <a:pt x="909700" y="4282623"/>
                  </a:lnTo>
                  <a:lnTo>
                    <a:pt x="905587" y="4271982"/>
                  </a:lnTo>
                  <a:lnTo>
                    <a:pt x="901589" y="4261265"/>
                  </a:lnTo>
                  <a:lnTo>
                    <a:pt x="897706" y="4250473"/>
                  </a:lnTo>
                  <a:lnTo>
                    <a:pt x="893941" y="4239609"/>
                  </a:lnTo>
                  <a:close/>
                </a:path>
                <a:path w="2506344" h="4854575" extrusionOk="0">
                  <a:moveTo>
                    <a:pt x="2452249" y="4165517"/>
                  </a:moveTo>
                  <a:lnTo>
                    <a:pt x="2449362" y="4176633"/>
                  </a:lnTo>
                  <a:lnTo>
                    <a:pt x="2446353" y="4187691"/>
                  </a:lnTo>
                  <a:lnTo>
                    <a:pt x="2443225" y="4198683"/>
                  </a:lnTo>
                  <a:lnTo>
                    <a:pt x="2439978" y="4209599"/>
                  </a:lnTo>
                  <a:lnTo>
                    <a:pt x="2462144" y="4216363"/>
                  </a:lnTo>
                  <a:lnTo>
                    <a:pt x="2465451" y="4205154"/>
                  </a:lnTo>
                  <a:lnTo>
                    <a:pt x="2468648" y="4193891"/>
                  </a:lnTo>
                  <a:lnTo>
                    <a:pt x="2471738" y="4182572"/>
                  </a:lnTo>
                  <a:lnTo>
                    <a:pt x="2474720" y="4171192"/>
                  </a:lnTo>
                  <a:lnTo>
                    <a:pt x="2452249" y="4165517"/>
                  </a:lnTo>
                  <a:close/>
                </a:path>
                <a:path w="2506344" h="4854575" extrusionOk="0">
                  <a:moveTo>
                    <a:pt x="868633" y="4151653"/>
                  </a:moveTo>
                  <a:lnTo>
                    <a:pt x="846068" y="4157004"/>
                  </a:lnTo>
                  <a:lnTo>
                    <a:pt x="848861" y="4168424"/>
                  </a:lnTo>
                  <a:lnTo>
                    <a:pt x="851784" y="4179785"/>
                  </a:lnTo>
                  <a:lnTo>
                    <a:pt x="854831" y="4191084"/>
                  </a:lnTo>
                  <a:lnTo>
                    <a:pt x="857994" y="4202322"/>
                  </a:lnTo>
                  <a:lnTo>
                    <a:pt x="880234" y="4195924"/>
                  </a:lnTo>
                  <a:lnTo>
                    <a:pt x="877145" y="4184937"/>
                  </a:lnTo>
                  <a:lnTo>
                    <a:pt x="874178" y="4173899"/>
                  </a:lnTo>
                  <a:lnTo>
                    <a:pt x="871339" y="4162805"/>
                  </a:lnTo>
                  <a:lnTo>
                    <a:pt x="868633" y="4151653"/>
                  </a:lnTo>
                  <a:close/>
                </a:path>
                <a:path w="2506344" h="4854575" extrusionOk="0">
                  <a:moveTo>
                    <a:pt x="2470615" y="4075771"/>
                  </a:moveTo>
                  <a:lnTo>
                    <a:pt x="2468770" y="4087115"/>
                  </a:lnTo>
                  <a:lnTo>
                    <a:pt x="2466800" y="4098418"/>
                  </a:lnTo>
                  <a:lnTo>
                    <a:pt x="2464706" y="4109671"/>
                  </a:lnTo>
                  <a:lnTo>
                    <a:pt x="2462490" y="4120869"/>
                  </a:lnTo>
                  <a:lnTo>
                    <a:pt x="2485170" y="4125518"/>
                  </a:lnTo>
                  <a:lnTo>
                    <a:pt x="2487446" y="4114066"/>
                  </a:lnTo>
                  <a:lnTo>
                    <a:pt x="2489604" y="4102563"/>
                  </a:lnTo>
                  <a:lnTo>
                    <a:pt x="2491637" y="4091009"/>
                  </a:lnTo>
                  <a:lnTo>
                    <a:pt x="2493536" y="4079404"/>
                  </a:lnTo>
                  <a:lnTo>
                    <a:pt x="2470615" y="4075771"/>
                  </a:lnTo>
                  <a:close/>
                </a:path>
                <a:path w="2506344" h="4854575" extrusionOk="0">
                  <a:moveTo>
                    <a:pt x="851513" y="4061677"/>
                  </a:moveTo>
                  <a:lnTo>
                    <a:pt x="828592" y="4064965"/>
                  </a:lnTo>
                  <a:lnTo>
                    <a:pt x="830314" y="4076592"/>
                  </a:lnTo>
                  <a:lnTo>
                    <a:pt x="832176" y="4088167"/>
                  </a:lnTo>
                  <a:lnTo>
                    <a:pt x="834167" y="4099693"/>
                  </a:lnTo>
                  <a:lnTo>
                    <a:pt x="836278" y="4111173"/>
                  </a:lnTo>
                  <a:lnTo>
                    <a:pt x="859031" y="4106869"/>
                  </a:lnTo>
                  <a:lnTo>
                    <a:pt x="856962" y="4095647"/>
                  </a:lnTo>
                  <a:lnTo>
                    <a:pt x="855025" y="4084375"/>
                  </a:lnTo>
                  <a:lnTo>
                    <a:pt x="853210" y="4073053"/>
                  </a:lnTo>
                  <a:lnTo>
                    <a:pt x="851513" y="4061677"/>
                  </a:lnTo>
                  <a:close/>
                </a:path>
                <a:path w="2506344" h="4854575" extrusionOk="0">
                  <a:moveTo>
                    <a:pt x="2480814" y="3984789"/>
                  </a:moveTo>
                  <a:lnTo>
                    <a:pt x="2479998" y="3996252"/>
                  </a:lnTo>
                  <a:lnTo>
                    <a:pt x="2479046" y="4007669"/>
                  </a:lnTo>
                  <a:lnTo>
                    <a:pt x="2477962" y="4019049"/>
                  </a:lnTo>
                  <a:lnTo>
                    <a:pt x="2476751" y="4030400"/>
                  </a:lnTo>
                  <a:lnTo>
                    <a:pt x="2499777" y="4032987"/>
                  </a:lnTo>
                  <a:lnTo>
                    <a:pt x="2501003" y="4021374"/>
                  </a:lnTo>
                  <a:lnTo>
                    <a:pt x="2502105" y="4009723"/>
                  </a:lnTo>
                  <a:lnTo>
                    <a:pt x="2503080" y="3998036"/>
                  </a:lnTo>
                  <a:lnTo>
                    <a:pt x="2503923" y="3986318"/>
                  </a:lnTo>
                  <a:lnTo>
                    <a:pt x="2480814" y="3984789"/>
                  </a:lnTo>
                  <a:close/>
                </a:path>
                <a:path w="2506344" h="4854575" extrusionOk="0">
                  <a:moveTo>
                    <a:pt x="842613" y="3970528"/>
                  </a:moveTo>
                  <a:lnTo>
                    <a:pt x="819441" y="3971753"/>
                  </a:lnTo>
                  <a:lnTo>
                    <a:pt x="820127" y="3983480"/>
                  </a:lnTo>
                  <a:lnTo>
                    <a:pt x="820944" y="3995170"/>
                  </a:lnTo>
                  <a:lnTo>
                    <a:pt x="821889" y="4006826"/>
                  </a:lnTo>
                  <a:lnTo>
                    <a:pt x="822959" y="4018453"/>
                  </a:lnTo>
                  <a:lnTo>
                    <a:pt x="845995" y="4016181"/>
                  </a:lnTo>
                  <a:lnTo>
                    <a:pt x="844967" y="4004838"/>
                  </a:lnTo>
                  <a:lnTo>
                    <a:pt x="844048" y="3993445"/>
                  </a:lnTo>
                  <a:lnTo>
                    <a:pt x="843257" y="3982006"/>
                  </a:lnTo>
                  <a:lnTo>
                    <a:pt x="842613" y="3970528"/>
                  </a:lnTo>
                  <a:close/>
                </a:path>
                <a:path w="2506344" h="4854575" extrusionOk="0">
                  <a:moveTo>
                    <a:pt x="2506279" y="3892918"/>
                  </a:moveTo>
                  <a:lnTo>
                    <a:pt x="2483128" y="3892918"/>
                  </a:lnTo>
                  <a:lnTo>
                    <a:pt x="2483128" y="3923796"/>
                  </a:lnTo>
                  <a:lnTo>
                    <a:pt x="2483016" y="3931754"/>
                  </a:lnTo>
                  <a:lnTo>
                    <a:pt x="2482866" y="3939000"/>
                  </a:lnTo>
                  <a:lnTo>
                    <a:pt x="2506007" y="3939503"/>
                  </a:lnTo>
                  <a:lnTo>
                    <a:pt x="2506195" y="3931754"/>
                  </a:lnTo>
                  <a:lnTo>
                    <a:pt x="2506279" y="3892918"/>
                  </a:lnTo>
                  <a:close/>
                </a:path>
                <a:path w="2506344" h="4854575" extrusionOk="0">
                  <a:moveTo>
                    <a:pt x="841157" y="3878457"/>
                  </a:moveTo>
                  <a:lnTo>
                    <a:pt x="817996" y="3878457"/>
                  </a:lnTo>
                  <a:lnTo>
                    <a:pt x="818048" y="3924896"/>
                  </a:lnTo>
                  <a:lnTo>
                    <a:pt x="841199" y="3924718"/>
                  </a:lnTo>
                  <a:lnTo>
                    <a:pt x="841157" y="3878457"/>
                  </a:lnTo>
                  <a:close/>
                </a:path>
                <a:path w="2506344" h="4854575" extrusionOk="0">
                  <a:moveTo>
                    <a:pt x="2506279" y="3800208"/>
                  </a:moveTo>
                  <a:lnTo>
                    <a:pt x="2483128" y="3800208"/>
                  </a:lnTo>
                  <a:lnTo>
                    <a:pt x="2483128" y="3846563"/>
                  </a:lnTo>
                  <a:lnTo>
                    <a:pt x="2506279" y="3846563"/>
                  </a:lnTo>
                  <a:lnTo>
                    <a:pt x="2506279" y="3800208"/>
                  </a:lnTo>
                  <a:close/>
                </a:path>
                <a:path w="2506344" h="4854575" extrusionOk="0">
                  <a:moveTo>
                    <a:pt x="841157" y="3785769"/>
                  </a:moveTo>
                  <a:lnTo>
                    <a:pt x="817985" y="3785769"/>
                  </a:lnTo>
                  <a:lnTo>
                    <a:pt x="817985" y="3832124"/>
                  </a:lnTo>
                  <a:lnTo>
                    <a:pt x="841157" y="3832124"/>
                  </a:lnTo>
                  <a:lnTo>
                    <a:pt x="841157" y="3785769"/>
                  </a:lnTo>
                  <a:close/>
                </a:path>
                <a:path w="2506344" h="4854575" extrusionOk="0">
                  <a:moveTo>
                    <a:pt x="2506279" y="3707531"/>
                  </a:moveTo>
                  <a:lnTo>
                    <a:pt x="2483128" y="3707531"/>
                  </a:lnTo>
                  <a:lnTo>
                    <a:pt x="2483128" y="3753885"/>
                  </a:lnTo>
                  <a:lnTo>
                    <a:pt x="2506279" y="3753885"/>
                  </a:lnTo>
                  <a:lnTo>
                    <a:pt x="2506279" y="3707531"/>
                  </a:lnTo>
                  <a:close/>
                </a:path>
                <a:path w="2506344" h="4854575" extrusionOk="0">
                  <a:moveTo>
                    <a:pt x="841157" y="3693091"/>
                  </a:moveTo>
                  <a:lnTo>
                    <a:pt x="817985" y="3693091"/>
                  </a:lnTo>
                  <a:lnTo>
                    <a:pt x="817985" y="3739446"/>
                  </a:lnTo>
                  <a:lnTo>
                    <a:pt x="841157" y="3739446"/>
                  </a:lnTo>
                  <a:lnTo>
                    <a:pt x="841157" y="3693091"/>
                  </a:lnTo>
                  <a:close/>
                </a:path>
                <a:path w="2506344" h="4854575" extrusionOk="0">
                  <a:moveTo>
                    <a:pt x="2506279" y="3614842"/>
                  </a:moveTo>
                  <a:lnTo>
                    <a:pt x="2483128" y="3614842"/>
                  </a:lnTo>
                  <a:lnTo>
                    <a:pt x="2483128" y="3661197"/>
                  </a:lnTo>
                  <a:lnTo>
                    <a:pt x="2506279" y="3661197"/>
                  </a:lnTo>
                  <a:lnTo>
                    <a:pt x="2506279" y="3614842"/>
                  </a:lnTo>
                  <a:close/>
                </a:path>
                <a:path w="2506344" h="4854575" extrusionOk="0">
                  <a:moveTo>
                    <a:pt x="841157" y="3600434"/>
                  </a:moveTo>
                  <a:lnTo>
                    <a:pt x="817985" y="3600434"/>
                  </a:lnTo>
                  <a:lnTo>
                    <a:pt x="817985" y="3646758"/>
                  </a:lnTo>
                  <a:lnTo>
                    <a:pt x="841157" y="3646758"/>
                  </a:lnTo>
                  <a:lnTo>
                    <a:pt x="841157" y="3600434"/>
                  </a:lnTo>
                  <a:close/>
                </a:path>
                <a:path w="2506344" h="4854575" extrusionOk="0">
                  <a:moveTo>
                    <a:pt x="2506279" y="3522154"/>
                  </a:moveTo>
                  <a:lnTo>
                    <a:pt x="2483128" y="3522154"/>
                  </a:lnTo>
                  <a:lnTo>
                    <a:pt x="2483128" y="3568498"/>
                  </a:lnTo>
                  <a:lnTo>
                    <a:pt x="2506279" y="3568498"/>
                  </a:lnTo>
                  <a:lnTo>
                    <a:pt x="2506279" y="3522154"/>
                  </a:lnTo>
                  <a:close/>
                </a:path>
                <a:path w="2506344" h="4854575" extrusionOk="0">
                  <a:moveTo>
                    <a:pt x="841157" y="3507715"/>
                  </a:moveTo>
                  <a:lnTo>
                    <a:pt x="817985" y="3507715"/>
                  </a:lnTo>
                  <a:lnTo>
                    <a:pt x="817985" y="3554027"/>
                  </a:lnTo>
                  <a:lnTo>
                    <a:pt x="841157" y="3554027"/>
                  </a:lnTo>
                  <a:lnTo>
                    <a:pt x="841157" y="3507715"/>
                  </a:lnTo>
                  <a:close/>
                </a:path>
                <a:path w="2506344" h="4854575" extrusionOk="0">
                  <a:moveTo>
                    <a:pt x="2506279" y="3429466"/>
                  </a:moveTo>
                  <a:lnTo>
                    <a:pt x="2483128" y="3429466"/>
                  </a:lnTo>
                  <a:lnTo>
                    <a:pt x="2483128" y="3475862"/>
                  </a:lnTo>
                  <a:lnTo>
                    <a:pt x="2506279" y="3475862"/>
                  </a:lnTo>
                  <a:lnTo>
                    <a:pt x="2506279" y="3429466"/>
                  </a:lnTo>
                  <a:close/>
                </a:path>
                <a:path w="2506344" h="4854575" extrusionOk="0">
                  <a:moveTo>
                    <a:pt x="841157" y="3415037"/>
                  </a:moveTo>
                  <a:lnTo>
                    <a:pt x="817985" y="3415037"/>
                  </a:lnTo>
                  <a:lnTo>
                    <a:pt x="817985" y="3461360"/>
                  </a:lnTo>
                  <a:lnTo>
                    <a:pt x="841157" y="3461360"/>
                  </a:lnTo>
                  <a:lnTo>
                    <a:pt x="841157" y="3415037"/>
                  </a:lnTo>
                  <a:close/>
                </a:path>
                <a:path w="2506344" h="4854575" extrusionOk="0">
                  <a:moveTo>
                    <a:pt x="2506279" y="3336788"/>
                  </a:moveTo>
                  <a:lnTo>
                    <a:pt x="2483128" y="3336788"/>
                  </a:lnTo>
                  <a:lnTo>
                    <a:pt x="2483128" y="3383153"/>
                  </a:lnTo>
                  <a:lnTo>
                    <a:pt x="2506279" y="3383153"/>
                  </a:lnTo>
                  <a:lnTo>
                    <a:pt x="2506279" y="3336788"/>
                  </a:lnTo>
                  <a:close/>
                </a:path>
                <a:path w="2506344" h="4854575" extrusionOk="0">
                  <a:moveTo>
                    <a:pt x="841157" y="3322349"/>
                  </a:moveTo>
                  <a:lnTo>
                    <a:pt x="817985" y="3322349"/>
                  </a:lnTo>
                  <a:lnTo>
                    <a:pt x="817985" y="3368661"/>
                  </a:lnTo>
                  <a:lnTo>
                    <a:pt x="841157" y="3368661"/>
                  </a:lnTo>
                  <a:lnTo>
                    <a:pt x="841157" y="3322349"/>
                  </a:lnTo>
                  <a:close/>
                </a:path>
                <a:path w="2506344" h="4854575" extrusionOk="0">
                  <a:moveTo>
                    <a:pt x="2506279" y="3244100"/>
                  </a:moveTo>
                  <a:lnTo>
                    <a:pt x="2483128" y="3244100"/>
                  </a:lnTo>
                  <a:lnTo>
                    <a:pt x="2483128" y="3290454"/>
                  </a:lnTo>
                  <a:lnTo>
                    <a:pt x="2506279" y="3290454"/>
                  </a:lnTo>
                  <a:lnTo>
                    <a:pt x="2506279" y="3244100"/>
                  </a:lnTo>
                  <a:close/>
                </a:path>
                <a:path w="2506344" h="4854575" extrusionOk="0">
                  <a:moveTo>
                    <a:pt x="841157" y="3229660"/>
                  </a:moveTo>
                  <a:lnTo>
                    <a:pt x="817985" y="3229660"/>
                  </a:lnTo>
                  <a:lnTo>
                    <a:pt x="817985" y="3275984"/>
                  </a:lnTo>
                  <a:lnTo>
                    <a:pt x="841157" y="3275984"/>
                  </a:lnTo>
                  <a:lnTo>
                    <a:pt x="841157" y="3229660"/>
                  </a:lnTo>
                  <a:close/>
                </a:path>
                <a:path w="2506344" h="4854575" extrusionOk="0">
                  <a:moveTo>
                    <a:pt x="2506279" y="3151422"/>
                  </a:moveTo>
                  <a:lnTo>
                    <a:pt x="2483128" y="3151422"/>
                  </a:lnTo>
                  <a:lnTo>
                    <a:pt x="2483128" y="3197776"/>
                  </a:lnTo>
                  <a:lnTo>
                    <a:pt x="2506279" y="3197776"/>
                  </a:lnTo>
                  <a:lnTo>
                    <a:pt x="2506279" y="3151422"/>
                  </a:lnTo>
                  <a:close/>
                </a:path>
                <a:path w="2506344" h="4854575" extrusionOk="0">
                  <a:moveTo>
                    <a:pt x="841157" y="3136972"/>
                  </a:moveTo>
                  <a:lnTo>
                    <a:pt x="817985" y="3136972"/>
                  </a:lnTo>
                  <a:lnTo>
                    <a:pt x="817985" y="3183295"/>
                  </a:lnTo>
                  <a:lnTo>
                    <a:pt x="841157" y="3183295"/>
                  </a:lnTo>
                  <a:lnTo>
                    <a:pt x="841157" y="3136972"/>
                  </a:lnTo>
                  <a:close/>
                </a:path>
                <a:path w="2506344" h="4854575" extrusionOk="0">
                  <a:moveTo>
                    <a:pt x="2506279" y="3058723"/>
                  </a:moveTo>
                  <a:lnTo>
                    <a:pt x="2483128" y="3058723"/>
                  </a:lnTo>
                  <a:lnTo>
                    <a:pt x="2483128" y="3105046"/>
                  </a:lnTo>
                  <a:lnTo>
                    <a:pt x="2506279" y="3105046"/>
                  </a:lnTo>
                  <a:lnTo>
                    <a:pt x="2506279" y="3058723"/>
                  </a:lnTo>
                  <a:close/>
                </a:path>
                <a:path w="2506344" h="4854575" extrusionOk="0">
                  <a:moveTo>
                    <a:pt x="841157" y="3044294"/>
                  </a:moveTo>
                  <a:lnTo>
                    <a:pt x="817985" y="3044294"/>
                  </a:lnTo>
                  <a:lnTo>
                    <a:pt x="817985" y="3090617"/>
                  </a:lnTo>
                  <a:lnTo>
                    <a:pt x="841157" y="3090617"/>
                  </a:lnTo>
                  <a:lnTo>
                    <a:pt x="841157" y="3044294"/>
                  </a:lnTo>
                  <a:close/>
                </a:path>
                <a:path w="2506344" h="4854575" extrusionOk="0">
                  <a:moveTo>
                    <a:pt x="2506279" y="2966045"/>
                  </a:moveTo>
                  <a:lnTo>
                    <a:pt x="2483128" y="2966045"/>
                  </a:lnTo>
                  <a:lnTo>
                    <a:pt x="2483128" y="3012369"/>
                  </a:lnTo>
                  <a:lnTo>
                    <a:pt x="2506279" y="3012369"/>
                  </a:lnTo>
                  <a:lnTo>
                    <a:pt x="2506279" y="2966045"/>
                  </a:lnTo>
                  <a:close/>
                </a:path>
                <a:path w="2506344" h="4854575" extrusionOk="0">
                  <a:moveTo>
                    <a:pt x="841157" y="2951595"/>
                  </a:moveTo>
                  <a:lnTo>
                    <a:pt x="817985" y="2951595"/>
                  </a:lnTo>
                  <a:lnTo>
                    <a:pt x="817985" y="2997929"/>
                  </a:lnTo>
                  <a:lnTo>
                    <a:pt x="841157" y="2997929"/>
                  </a:lnTo>
                  <a:lnTo>
                    <a:pt x="841157" y="2951595"/>
                  </a:lnTo>
                  <a:close/>
                </a:path>
                <a:path w="2506344" h="4854575" extrusionOk="0">
                  <a:moveTo>
                    <a:pt x="2506279" y="2873357"/>
                  </a:moveTo>
                  <a:lnTo>
                    <a:pt x="2483128" y="2873357"/>
                  </a:lnTo>
                  <a:lnTo>
                    <a:pt x="2483128" y="2919670"/>
                  </a:lnTo>
                  <a:lnTo>
                    <a:pt x="2506279" y="2919670"/>
                  </a:lnTo>
                  <a:lnTo>
                    <a:pt x="2506279" y="2873357"/>
                  </a:lnTo>
                  <a:close/>
                </a:path>
                <a:path w="2506344" h="4854575" extrusionOk="0">
                  <a:moveTo>
                    <a:pt x="841157" y="2858886"/>
                  </a:moveTo>
                  <a:lnTo>
                    <a:pt x="817985" y="2858886"/>
                  </a:lnTo>
                  <a:lnTo>
                    <a:pt x="817985" y="2905230"/>
                  </a:lnTo>
                  <a:lnTo>
                    <a:pt x="841157" y="2905230"/>
                  </a:lnTo>
                  <a:lnTo>
                    <a:pt x="841157" y="2858886"/>
                  </a:lnTo>
                  <a:close/>
                </a:path>
                <a:path w="2506344" h="4854575" extrusionOk="0">
                  <a:moveTo>
                    <a:pt x="2506279" y="2780679"/>
                  </a:moveTo>
                  <a:lnTo>
                    <a:pt x="2483128" y="2780679"/>
                  </a:lnTo>
                  <a:lnTo>
                    <a:pt x="2483128" y="2827002"/>
                  </a:lnTo>
                  <a:lnTo>
                    <a:pt x="2506279" y="2827002"/>
                  </a:lnTo>
                  <a:lnTo>
                    <a:pt x="2506279" y="2780679"/>
                  </a:lnTo>
                  <a:close/>
                </a:path>
                <a:path w="2506344" h="4854575" extrusionOk="0">
                  <a:moveTo>
                    <a:pt x="841157" y="2766208"/>
                  </a:moveTo>
                  <a:lnTo>
                    <a:pt x="817985" y="2766208"/>
                  </a:lnTo>
                  <a:lnTo>
                    <a:pt x="817985" y="2812542"/>
                  </a:lnTo>
                  <a:lnTo>
                    <a:pt x="841157" y="2812542"/>
                  </a:lnTo>
                  <a:lnTo>
                    <a:pt x="841157" y="2766208"/>
                  </a:lnTo>
                  <a:close/>
                </a:path>
                <a:path w="2506344" h="4854575" extrusionOk="0">
                  <a:moveTo>
                    <a:pt x="2506279" y="2687960"/>
                  </a:moveTo>
                  <a:lnTo>
                    <a:pt x="2483128" y="2687960"/>
                  </a:lnTo>
                  <a:lnTo>
                    <a:pt x="2483128" y="2734314"/>
                  </a:lnTo>
                  <a:lnTo>
                    <a:pt x="2506279" y="2734314"/>
                  </a:lnTo>
                  <a:lnTo>
                    <a:pt x="2506279" y="2687960"/>
                  </a:lnTo>
                  <a:close/>
                </a:path>
                <a:path w="2506344" h="4854575" extrusionOk="0">
                  <a:moveTo>
                    <a:pt x="841157" y="2673520"/>
                  </a:moveTo>
                  <a:lnTo>
                    <a:pt x="817985" y="2673520"/>
                  </a:lnTo>
                  <a:lnTo>
                    <a:pt x="817985" y="2719833"/>
                  </a:lnTo>
                  <a:lnTo>
                    <a:pt x="841157" y="2719833"/>
                  </a:lnTo>
                  <a:lnTo>
                    <a:pt x="841157" y="2673520"/>
                  </a:lnTo>
                  <a:close/>
                </a:path>
                <a:path w="2506344" h="4854575" extrusionOk="0">
                  <a:moveTo>
                    <a:pt x="2506279" y="2595271"/>
                  </a:moveTo>
                  <a:lnTo>
                    <a:pt x="2483128" y="2595271"/>
                  </a:lnTo>
                  <a:lnTo>
                    <a:pt x="2483128" y="2641626"/>
                  </a:lnTo>
                  <a:lnTo>
                    <a:pt x="2506279" y="2641626"/>
                  </a:lnTo>
                  <a:lnTo>
                    <a:pt x="2506279" y="2595271"/>
                  </a:lnTo>
                  <a:close/>
                </a:path>
                <a:path w="2506344" h="4854575" extrusionOk="0">
                  <a:moveTo>
                    <a:pt x="841157" y="2580832"/>
                  </a:moveTo>
                  <a:lnTo>
                    <a:pt x="817985" y="2580832"/>
                  </a:lnTo>
                  <a:lnTo>
                    <a:pt x="817985" y="2627187"/>
                  </a:lnTo>
                  <a:lnTo>
                    <a:pt x="841157" y="2627187"/>
                  </a:lnTo>
                  <a:lnTo>
                    <a:pt x="841157" y="2580832"/>
                  </a:lnTo>
                  <a:close/>
                </a:path>
                <a:path w="2506344" h="4854575" extrusionOk="0">
                  <a:moveTo>
                    <a:pt x="2506279" y="2502614"/>
                  </a:moveTo>
                  <a:lnTo>
                    <a:pt x="2483128" y="2502614"/>
                  </a:lnTo>
                  <a:lnTo>
                    <a:pt x="2483128" y="2548938"/>
                  </a:lnTo>
                  <a:lnTo>
                    <a:pt x="2506279" y="2548938"/>
                  </a:lnTo>
                  <a:lnTo>
                    <a:pt x="2506279" y="2502614"/>
                  </a:lnTo>
                  <a:close/>
                </a:path>
                <a:path w="2506344" h="4854575" extrusionOk="0">
                  <a:moveTo>
                    <a:pt x="841157" y="2488154"/>
                  </a:moveTo>
                  <a:lnTo>
                    <a:pt x="817985" y="2488154"/>
                  </a:lnTo>
                  <a:lnTo>
                    <a:pt x="817985" y="2534509"/>
                  </a:lnTo>
                  <a:lnTo>
                    <a:pt x="841157" y="2534509"/>
                  </a:lnTo>
                  <a:lnTo>
                    <a:pt x="841157" y="2488154"/>
                  </a:lnTo>
                  <a:close/>
                </a:path>
                <a:path w="2506344" h="4854575" extrusionOk="0">
                  <a:moveTo>
                    <a:pt x="2506279" y="2409905"/>
                  </a:moveTo>
                  <a:lnTo>
                    <a:pt x="2483128" y="2409905"/>
                  </a:lnTo>
                  <a:lnTo>
                    <a:pt x="2483128" y="2456249"/>
                  </a:lnTo>
                  <a:lnTo>
                    <a:pt x="2506279" y="2456249"/>
                  </a:lnTo>
                  <a:lnTo>
                    <a:pt x="2506279" y="2409905"/>
                  </a:lnTo>
                  <a:close/>
                </a:path>
                <a:path w="2506344" h="4854575" extrusionOk="0">
                  <a:moveTo>
                    <a:pt x="841157" y="2395466"/>
                  </a:moveTo>
                  <a:lnTo>
                    <a:pt x="817985" y="2395466"/>
                  </a:lnTo>
                  <a:lnTo>
                    <a:pt x="817985" y="2441789"/>
                  </a:lnTo>
                  <a:lnTo>
                    <a:pt x="841157" y="2441789"/>
                  </a:lnTo>
                  <a:lnTo>
                    <a:pt x="841157" y="2395466"/>
                  </a:lnTo>
                  <a:close/>
                </a:path>
                <a:path w="2506344" h="4854575" extrusionOk="0">
                  <a:moveTo>
                    <a:pt x="2506279" y="2317196"/>
                  </a:moveTo>
                  <a:lnTo>
                    <a:pt x="2483128" y="2317196"/>
                  </a:lnTo>
                  <a:lnTo>
                    <a:pt x="2483128" y="2363572"/>
                  </a:lnTo>
                  <a:lnTo>
                    <a:pt x="2506279" y="2363572"/>
                  </a:lnTo>
                  <a:lnTo>
                    <a:pt x="2506279" y="2317196"/>
                  </a:lnTo>
                  <a:close/>
                </a:path>
                <a:path w="2506344" h="4854575" extrusionOk="0">
                  <a:moveTo>
                    <a:pt x="841157" y="2302778"/>
                  </a:moveTo>
                  <a:lnTo>
                    <a:pt x="817985" y="2302778"/>
                  </a:lnTo>
                  <a:lnTo>
                    <a:pt x="817985" y="2349111"/>
                  </a:lnTo>
                  <a:lnTo>
                    <a:pt x="841157" y="2349111"/>
                  </a:lnTo>
                  <a:lnTo>
                    <a:pt x="841157" y="2302778"/>
                  </a:lnTo>
                  <a:close/>
                </a:path>
                <a:path w="2506344" h="4854575" extrusionOk="0">
                  <a:moveTo>
                    <a:pt x="2506279" y="2224497"/>
                  </a:moveTo>
                  <a:lnTo>
                    <a:pt x="2483128" y="2224497"/>
                  </a:lnTo>
                  <a:lnTo>
                    <a:pt x="2483128" y="2270862"/>
                  </a:lnTo>
                  <a:lnTo>
                    <a:pt x="2506279" y="2270862"/>
                  </a:lnTo>
                  <a:lnTo>
                    <a:pt x="2506279" y="2224497"/>
                  </a:lnTo>
                  <a:close/>
                </a:path>
                <a:path w="2506344" h="4854575" extrusionOk="0">
                  <a:moveTo>
                    <a:pt x="841157" y="2210089"/>
                  </a:moveTo>
                  <a:lnTo>
                    <a:pt x="817985" y="2210089"/>
                  </a:lnTo>
                  <a:lnTo>
                    <a:pt x="817985" y="2256402"/>
                  </a:lnTo>
                  <a:lnTo>
                    <a:pt x="841157" y="2256402"/>
                  </a:lnTo>
                  <a:lnTo>
                    <a:pt x="841157" y="2210089"/>
                  </a:lnTo>
                  <a:close/>
                </a:path>
                <a:path w="2506344" h="4854575" extrusionOk="0">
                  <a:moveTo>
                    <a:pt x="2506279" y="2131830"/>
                  </a:moveTo>
                  <a:lnTo>
                    <a:pt x="2483128" y="2131830"/>
                  </a:lnTo>
                  <a:lnTo>
                    <a:pt x="2483128" y="2178205"/>
                  </a:lnTo>
                  <a:lnTo>
                    <a:pt x="2506279" y="2178205"/>
                  </a:lnTo>
                  <a:lnTo>
                    <a:pt x="2506279" y="2131830"/>
                  </a:lnTo>
                  <a:close/>
                </a:path>
                <a:path w="2506344" h="4854575" extrusionOk="0">
                  <a:moveTo>
                    <a:pt x="841157" y="2117411"/>
                  </a:moveTo>
                  <a:lnTo>
                    <a:pt x="817985" y="2117411"/>
                  </a:lnTo>
                  <a:lnTo>
                    <a:pt x="817985" y="2163735"/>
                  </a:lnTo>
                  <a:lnTo>
                    <a:pt x="841157" y="2163735"/>
                  </a:lnTo>
                  <a:lnTo>
                    <a:pt x="841157" y="2117411"/>
                  </a:lnTo>
                  <a:close/>
                </a:path>
                <a:path w="2506344" h="4854575" extrusionOk="0">
                  <a:moveTo>
                    <a:pt x="2506279" y="2039142"/>
                  </a:moveTo>
                  <a:lnTo>
                    <a:pt x="2483128" y="2039142"/>
                  </a:lnTo>
                  <a:lnTo>
                    <a:pt x="2483128" y="2085517"/>
                  </a:lnTo>
                  <a:lnTo>
                    <a:pt x="2506279" y="2085517"/>
                  </a:lnTo>
                  <a:lnTo>
                    <a:pt x="2506279" y="2039142"/>
                  </a:lnTo>
                  <a:close/>
                </a:path>
                <a:path w="2506344" h="4854575" extrusionOk="0">
                  <a:moveTo>
                    <a:pt x="841157" y="2024692"/>
                  </a:moveTo>
                  <a:lnTo>
                    <a:pt x="817985" y="2024692"/>
                  </a:lnTo>
                  <a:lnTo>
                    <a:pt x="817985" y="2071015"/>
                  </a:lnTo>
                  <a:lnTo>
                    <a:pt x="841157" y="2071015"/>
                  </a:lnTo>
                  <a:lnTo>
                    <a:pt x="841157" y="2024692"/>
                  </a:lnTo>
                  <a:close/>
                </a:path>
                <a:path w="2506344" h="4854575" extrusionOk="0">
                  <a:moveTo>
                    <a:pt x="2506279" y="1946453"/>
                  </a:moveTo>
                  <a:lnTo>
                    <a:pt x="2483128" y="1946453"/>
                  </a:lnTo>
                  <a:lnTo>
                    <a:pt x="2483128" y="1992797"/>
                  </a:lnTo>
                  <a:lnTo>
                    <a:pt x="2506279" y="1992797"/>
                  </a:lnTo>
                  <a:lnTo>
                    <a:pt x="2506279" y="1946453"/>
                  </a:lnTo>
                  <a:close/>
                </a:path>
                <a:path w="2506344" h="4854575" extrusionOk="0">
                  <a:moveTo>
                    <a:pt x="841157" y="1931983"/>
                  </a:moveTo>
                  <a:lnTo>
                    <a:pt x="817985" y="1931983"/>
                  </a:lnTo>
                  <a:lnTo>
                    <a:pt x="817985" y="1978369"/>
                  </a:lnTo>
                  <a:lnTo>
                    <a:pt x="841157" y="1978369"/>
                  </a:lnTo>
                  <a:lnTo>
                    <a:pt x="841157" y="1931983"/>
                  </a:lnTo>
                  <a:close/>
                </a:path>
                <a:path w="2506344" h="4854575" extrusionOk="0">
                  <a:moveTo>
                    <a:pt x="2506279" y="1853776"/>
                  </a:moveTo>
                  <a:lnTo>
                    <a:pt x="2483128" y="1853776"/>
                  </a:lnTo>
                  <a:lnTo>
                    <a:pt x="2483128" y="1900088"/>
                  </a:lnTo>
                  <a:lnTo>
                    <a:pt x="2506279" y="1900088"/>
                  </a:lnTo>
                  <a:lnTo>
                    <a:pt x="2506279" y="1853776"/>
                  </a:lnTo>
                  <a:close/>
                </a:path>
                <a:path w="2506344" h="4854575" extrusionOk="0">
                  <a:moveTo>
                    <a:pt x="841157" y="1839284"/>
                  </a:moveTo>
                  <a:lnTo>
                    <a:pt x="817985" y="1839284"/>
                  </a:lnTo>
                  <a:lnTo>
                    <a:pt x="817985" y="1885659"/>
                  </a:lnTo>
                  <a:lnTo>
                    <a:pt x="841157" y="1885659"/>
                  </a:lnTo>
                  <a:lnTo>
                    <a:pt x="841157" y="1839284"/>
                  </a:lnTo>
                  <a:close/>
                </a:path>
                <a:path w="2506344" h="4854575" extrusionOk="0">
                  <a:moveTo>
                    <a:pt x="2506279" y="1761087"/>
                  </a:moveTo>
                  <a:lnTo>
                    <a:pt x="2483128" y="1761087"/>
                  </a:lnTo>
                  <a:lnTo>
                    <a:pt x="2483128" y="1807379"/>
                  </a:lnTo>
                  <a:lnTo>
                    <a:pt x="2506279" y="1807379"/>
                  </a:lnTo>
                  <a:lnTo>
                    <a:pt x="2506279" y="1761087"/>
                  </a:lnTo>
                  <a:close/>
                </a:path>
                <a:path w="2506344" h="4854575" extrusionOk="0">
                  <a:moveTo>
                    <a:pt x="841157" y="1746606"/>
                  </a:moveTo>
                  <a:lnTo>
                    <a:pt x="817985" y="1746606"/>
                  </a:lnTo>
                  <a:lnTo>
                    <a:pt x="817985" y="1792982"/>
                  </a:lnTo>
                  <a:lnTo>
                    <a:pt x="841157" y="1792982"/>
                  </a:lnTo>
                  <a:lnTo>
                    <a:pt x="841157" y="1746606"/>
                  </a:lnTo>
                  <a:close/>
                </a:path>
                <a:path w="2506344" h="4854575" extrusionOk="0">
                  <a:moveTo>
                    <a:pt x="2506279" y="1668409"/>
                  </a:moveTo>
                  <a:lnTo>
                    <a:pt x="2483128" y="1668409"/>
                  </a:lnTo>
                  <a:lnTo>
                    <a:pt x="2483128" y="1714722"/>
                  </a:lnTo>
                  <a:lnTo>
                    <a:pt x="2506279" y="1714722"/>
                  </a:lnTo>
                  <a:lnTo>
                    <a:pt x="2506279" y="1668409"/>
                  </a:lnTo>
                  <a:close/>
                </a:path>
                <a:path w="2506344" h="4854575" extrusionOk="0">
                  <a:moveTo>
                    <a:pt x="841157" y="1653939"/>
                  </a:moveTo>
                  <a:lnTo>
                    <a:pt x="817985" y="1653939"/>
                  </a:lnTo>
                  <a:lnTo>
                    <a:pt x="817985" y="1700293"/>
                  </a:lnTo>
                  <a:lnTo>
                    <a:pt x="841157" y="1700293"/>
                  </a:lnTo>
                  <a:lnTo>
                    <a:pt x="841157" y="1653939"/>
                  </a:lnTo>
                  <a:close/>
                </a:path>
                <a:path w="2506344" h="4854575" extrusionOk="0">
                  <a:moveTo>
                    <a:pt x="2506279" y="1575700"/>
                  </a:moveTo>
                  <a:lnTo>
                    <a:pt x="2483128" y="1575700"/>
                  </a:lnTo>
                  <a:lnTo>
                    <a:pt x="2483128" y="1622013"/>
                  </a:lnTo>
                  <a:lnTo>
                    <a:pt x="2506279" y="1622013"/>
                  </a:lnTo>
                  <a:lnTo>
                    <a:pt x="2506279" y="1575700"/>
                  </a:lnTo>
                  <a:close/>
                </a:path>
                <a:path w="2506344" h="4854575" extrusionOk="0">
                  <a:moveTo>
                    <a:pt x="841157" y="1561250"/>
                  </a:moveTo>
                  <a:lnTo>
                    <a:pt x="817985" y="1561250"/>
                  </a:lnTo>
                  <a:lnTo>
                    <a:pt x="817985" y="1607574"/>
                  </a:lnTo>
                  <a:lnTo>
                    <a:pt x="841157" y="1607574"/>
                  </a:lnTo>
                  <a:lnTo>
                    <a:pt x="841157" y="1561250"/>
                  </a:lnTo>
                  <a:close/>
                </a:path>
                <a:path w="2506344" h="4854575" extrusionOk="0">
                  <a:moveTo>
                    <a:pt x="2506279" y="1483022"/>
                  </a:moveTo>
                  <a:lnTo>
                    <a:pt x="2483128" y="1483022"/>
                  </a:lnTo>
                  <a:lnTo>
                    <a:pt x="2483128" y="1529356"/>
                  </a:lnTo>
                  <a:lnTo>
                    <a:pt x="2506279" y="1529356"/>
                  </a:lnTo>
                  <a:lnTo>
                    <a:pt x="2506279" y="1483022"/>
                  </a:lnTo>
                  <a:close/>
                </a:path>
                <a:path w="2506344" h="4854575" extrusionOk="0">
                  <a:moveTo>
                    <a:pt x="841157" y="1468552"/>
                  </a:moveTo>
                  <a:lnTo>
                    <a:pt x="817985" y="1468552"/>
                  </a:lnTo>
                  <a:lnTo>
                    <a:pt x="817985" y="1514927"/>
                  </a:lnTo>
                  <a:lnTo>
                    <a:pt x="841157" y="1514927"/>
                  </a:lnTo>
                  <a:lnTo>
                    <a:pt x="841157" y="1468552"/>
                  </a:lnTo>
                  <a:close/>
                </a:path>
                <a:path w="2506344" h="4854575" extrusionOk="0">
                  <a:moveTo>
                    <a:pt x="2506279" y="1390345"/>
                  </a:moveTo>
                  <a:lnTo>
                    <a:pt x="2483128" y="1390345"/>
                  </a:lnTo>
                  <a:lnTo>
                    <a:pt x="2483128" y="1436657"/>
                  </a:lnTo>
                  <a:lnTo>
                    <a:pt x="2506279" y="1436657"/>
                  </a:lnTo>
                  <a:lnTo>
                    <a:pt x="2506279" y="1390345"/>
                  </a:lnTo>
                  <a:close/>
                </a:path>
                <a:path w="2506344" h="4854575" extrusionOk="0">
                  <a:moveTo>
                    <a:pt x="841157" y="1375863"/>
                  </a:moveTo>
                  <a:lnTo>
                    <a:pt x="817985" y="1375863"/>
                  </a:lnTo>
                  <a:lnTo>
                    <a:pt x="817985" y="1422228"/>
                  </a:lnTo>
                  <a:lnTo>
                    <a:pt x="841157" y="1422228"/>
                  </a:lnTo>
                  <a:lnTo>
                    <a:pt x="841157" y="1375863"/>
                  </a:lnTo>
                  <a:close/>
                </a:path>
                <a:path w="2506344" h="4854575" extrusionOk="0">
                  <a:moveTo>
                    <a:pt x="2506279" y="1297646"/>
                  </a:moveTo>
                  <a:lnTo>
                    <a:pt x="2483128" y="1297646"/>
                  </a:lnTo>
                  <a:lnTo>
                    <a:pt x="2483128" y="1343969"/>
                  </a:lnTo>
                  <a:lnTo>
                    <a:pt x="2506279" y="1343969"/>
                  </a:lnTo>
                  <a:lnTo>
                    <a:pt x="2506279" y="1297646"/>
                  </a:lnTo>
                  <a:close/>
                </a:path>
                <a:path w="2506344" h="4854575" extrusionOk="0">
                  <a:moveTo>
                    <a:pt x="838927" y="1282474"/>
                  </a:moveTo>
                  <a:lnTo>
                    <a:pt x="815828" y="1284044"/>
                  </a:lnTo>
                  <a:lnTo>
                    <a:pt x="816532" y="1295431"/>
                  </a:lnTo>
                  <a:lnTo>
                    <a:pt x="817100" y="1306851"/>
                  </a:lnTo>
                  <a:lnTo>
                    <a:pt x="817527" y="1318304"/>
                  </a:lnTo>
                  <a:lnTo>
                    <a:pt x="817807" y="1329791"/>
                  </a:lnTo>
                  <a:lnTo>
                    <a:pt x="840979" y="1329320"/>
                  </a:lnTo>
                  <a:lnTo>
                    <a:pt x="840673" y="1317546"/>
                  </a:lnTo>
                  <a:lnTo>
                    <a:pt x="840236" y="1305814"/>
                  </a:lnTo>
                  <a:lnTo>
                    <a:pt x="839657" y="1294124"/>
                  </a:lnTo>
                  <a:lnTo>
                    <a:pt x="838927" y="1282474"/>
                  </a:lnTo>
                  <a:close/>
                </a:path>
                <a:path w="2506344" h="4854575" extrusionOk="0">
                  <a:moveTo>
                    <a:pt x="2506279" y="1204937"/>
                  </a:moveTo>
                  <a:lnTo>
                    <a:pt x="2483128" y="1204937"/>
                  </a:lnTo>
                  <a:lnTo>
                    <a:pt x="2483128" y="1251291"/>
                  </a:lnTo>
                  <a:lnTo>
                    <a:pt x="2506279" y="1251291"/>
                  </a:lnTo>
                  <a:lnTo>
                    <a:pt x="2506279" y="1204937"/>
                  </a:lnTo>
                  <a:close/>
                </a:path>
                <a:path w="2506344" h="4854575" extrusionOk="0">
                  <a:moveTo>
                    <a:pt x="828048" y="1189325"/>
                  </a:moveTo>
                  <a:lnTo>
                    <a:pt x="805179" y="1193167"/>
                  </a:lnTo>
                  <a:lnTo>
                    <a:pt x="806988" y="1204416"/>
                  </a:lnTo>
                  <a:lnTo>
                    <a:pt x="808654" y="1215716"/>
                  </a:lnTo>
                  <a:lnTo>
                    <a:pt x="810193" y="1227064"/>
                  </a:lnTo>
                  <a:lnTo>
                    <a:pt x="811619" y="1238454"/>
                  </a:lnTo>
                  <a:lnTo>
                    <a:pt x="834592" y="1235773"/>
                  </a:lnTo>
                  <a:lnTo>
                    <a:pt x="833164" y="1224095"/>
                  </a:lnTo>
                  <a:lnTo>
                    <a:pt x="831591" y="1212463"/>
                  </a:lnTo>
                  <a:lnTo>
                    <a:pt x="829881" y="1200873"/>
                  </a:lnTo>
                  <a:lnTo>
                    <a:pt x="828048" y="1189325"/>
                  </a:lnTo>
                  <a:close/>
                </a:path>
                <a:path w="2506344" h="4854575" extrusionOk="0">
                  <a:moveTo>
                    <a:pt x="2506279" y="1112259"/>
                  </a:moveTo>
                  <a:lnTo>
                    <a:pt x="2483128" y="1112259"/>
                  </a:lnTo>
                  <a:lnTo>
                    <a:pt x="2483128" y="1158592"/>
                  </a:lnTo>
                  <a:lnTo>
                    <a:pt x="2506279" y="1158592"/>
                  </a:lnTo>
                  <a:lnTo>
                    <a:pt x="2506279" y="1112259"/>
                  </a:lnTo>
                  <a:close/>
                </a:path>
                <a:path w="2506344" h="4854575" extrusionOk="0">
                  <a:moveTo>
                    <a:pt x="808101" y="1097715"/>
                  </a:moveTo>
                  <a:lnTo>
                    <a:pt x="785745" y="1103736"/>
                  </a:lnTo>
                  <a:lnTo>
                    <a:pt x="788654" y="1114789"/>
                  </a:lnTo>
                  <a:lnTo>
                    <a:pt x="791420" y="1125876"/>
                  </a:lnTo>
                  <a:lnTo>
                    <a:pt x="794053" y="1137010"/>
                  </a:lnTo>
                  <a:lnTo>
                    <a:pt x="796562" y="1148205"/>
                  </a:lnTo>
                  <a:lnTo>
                    <a:pt x="819231" y="1143326"/>
                  </a:lnTo>
                  <a:lnTo>
                    <a:pt x="816650" y="1131827"/>
                  </a:lnTo>
                  <a:lnTo>
                    <a:pt x="813933" y="1120391"/>
                  </a:lnTo>
                  <a:lnTo>
                    <a:pt x="811082" y="1109019"/>
                  </a:lnTo>
                  <a:lnTo>
                    <a:pt x="808101" y="1097715"/>
                  </a:lnTo>
                  <a:close/>
                </a:path>
                <a:path w="2506344" h="4854575" extrusionOk="0">
                  <a:moveTo>
                    <a:pt x="2506279" y="1019560"/>
                  </a:moveTo>
                  <a:lnTo>
                    <a:pt x="2483128" y="1019560"/>
                  </a:lnTo>
                  <a:lnTo>
                    <a:pt x="2483128" y="1065925"/>
                  </a:lnTo>
                  <a:lnTo>
                    <a:pt x="2506279" y="1065925"/>
                  </a:lnTo>
                  <a:lnTo>
                    <a:pt x="2506279" y="1019560"/>
                  </a:lnTo>
                  <a:close/>
                </a:path>
                <a:path w="2506344" h="4854575" extrusionOk="0">
                  <a:moveTo>
                    <a:pt x="779232" y="1008534"/>
                  </a:moveTo>
                  <a:lnTo>
                    <a:pt x="757599" y="1016712"/>
                  </a:lnTo>
                  <a:lnTo>
                    <a:pt x="761582" y="1027425"/>
                  </a:lnTo>
                  <a:lnTo>
                    <a:pt x="765441" y="1038190"/>
                  </a:lnTo>
                  <a:lnTo>
                    <a:pt x="769172" y="1049015"/>
                  </a:lnTo>
                  <a:lnTo>
                    <a:pt x="772772" y="1059904"/>
                  </a:lnTo>
                  <a:lnTo>
                    <a:pt x="794782" y="1052774"/>
                  </a:lnTo>
                  <a:lnTo>
                    <a:pt x="791096" y="1041609"/>
                  </a:lnTo>
                  <a:lnTo>
                    <a:pt x="787278" y="1030513"/>
                  </a:lnTo>
                  <a:lnTo>
                    <a:pt x="783324" y="1019487"/>
                  </a:lnTo>
                  <a:lnTo>
                    <a:pt x="779232" y="1008534"/>
                  </a:lnTo>
                  <a:close/>
                </a:path>
                <a:path w="2506344" h="4854575" extrusionOk="0">
                  <a:moveTo>
                    <a:pt x="741642" y="922390"/>
                  </a:moveTo>
                  <a:lnTo>
                    <a:pt x="720920" y="932715"/>
                  </a:lnTo>
                  <a:lnTo>
                    <a:pt x="725945" y="942999"/>
                  </a:lnTo>
                  <a:lnTo>
                    <a:pt x="730853" y="953346"/>
                  </a:lnTo>
                  <a:lnTo>
                    <a:pt x="735637" y="963762"/>
                  </a:lnTo>
                  <a:lnTo>
                    <a:pt x="740291" y="974253"/>
                  </a:lnTo>
                  <a:lnTo>
                    <a:pt x="761495" y="964954"/>
                  </a:lnTo>
                  <a:lnTo>
                    <a:pt x="756743" y="954204"/>
                  </a:lnTo>
                  <a:lnTo>
                    <a:pt x="751843" y="943523"/>
                  </a:lnTo>
                  <a:lnTo>
                    <a:pt x="746706" y="932715"/>
                  </a:lnTo>
                  <a:lnTo>
                    <a:pt x="741642" y="922390"/>
                  </a:lnTo>
                  <a:close/>
                </a:path>
                <a:path w="2506344" h="4854575" extrusionOk="0">
                  <a:moveTo>
                    <a:pt x="2506279" y="926882"/>
                  </a:moveTo>
                  <a:lnTo>
                    <a:pt x="2483128" y="926882"/>
                  </a:lnTo>
                  <a:lnTo>
                    <a:pt x="2483128" y="973216"/>
                  </a:lnTo>
                  <a:lnTo>
                    <a:pt x="2506279" y="973216"/>
                  </a:lnTo>
                  <a:lnTo>
                    <a:pt x="2506279" y="926882"/>
                  </a:lnTo>
                  <a:close/>
                </a:path>
                <a:path w="2506344" h="4854575" extrusionOk="0">
                  <a:moveTo>
                    <a:pt x="695696" y="840477"/>
                  </a:moveTo>
                  <a:lnTo>
                    <a:pt x="676105" y="852780"/>
                  </a:lnTo>
                  <a:lnTo>
                    <a:pt x="682116" y="862514"/>
                  </a:lnTo>
                  <a:lnTo>
                    <a:pt x="688013" y="872324"/>
                  </a:lnTo>
                  <a:lnTo>
                    <a:pt x="693804" y="882212"/>
                  </a:lnTo>
                  <a:lnTo>
                    <a:pt x="699497" y="892182"/>
                  </a:lnTo>
                  <a:lnTo>
                    <a:pt x="719653" y="880894"/>
                  </a:lnTo>
                  <a:lnTo>
                    <a:pt x="713853" y="870647"/>
                  </a:lnTo>
                  <a:lnTo>
                    <a:pt x="707922" y="860505"/>
                  </a:lnTo>
                  <a:lnTo>
                    <a:pt x="701867" y="850452"/>
                  </a:lnTo>
                  <a:lnTo>
                    <a:pt x="695696" y="840477"/>
                  </a:lnTo>
                  <a:close/>
                </a:path>
                <a:path w="2506344" h="4854575" extrusionOk="0">
                  <a:moveTo>
                    <a:pt x="2506279" y="834194"/>
                  </a:moveTo>
                  <a:lnTo>
                    <a:pt x="2483128" y="834194"/>
                  </a:lnTo>
                  <a:lnTo>
                    <a:pt x="2483128" y="880549"/>
                  </a:lnTo>
                  <a:lnTo>
                    <a:pt x="2506279" y="880549"/>
                  </a:lnTo>
                  <a:lnTo>
                    <a:pt x="2506279" y="834194"/>
                  </a:lnTo>
                  <a:close/>
                </a:path>
                <a:path w="2506344" h="4854575" extrusionOk="0">
                  <a:moveTo>
                    <a:pt x="641812" y="763568"/>
                  </a:moveTo>
                  <a:lnTo>
                    <a:pt x="623530" y="777787"/>
                  </a:lnTo>
                  <a:lnTo>
                    <a:pt x="630490" y="786864"/>
                  </a:lnTo>
                  <a:lnTo>
                    <a:pt x="637343" y="796029"/>
                  </a:lnTo>
                  <a:lnTo>
                    <a:pt x="644087" y="805274"/>
                  </a:lnTo>
                  <a:lnTo>
                    <a:pt x="650723" y="814592"/>
                  </a:lnTo>
                  <a:lnTo>
                    <a:pt x="669717" y="801357"/>
                  </a:lnTo>
                  <a:lnTo>
                    <a:pt x="662903" y="791774"/>
                  </a:lnTo>
                  <a:lnTo>
                    <a:pt x="655981" y="782282"/>
                  </a:lnTo>
                  <a:lnTo>
                    <a:pt x="648951" y="772880"/>
                  </a:lnTo>
                  <a:lnTo>
                    <a:pt x="641812" y="763568"/>
                  </a:lnTo>
                  <a:close/>
                </a:path>
                <a:path w="2506344" h="4854575" extrusionOk="0">
                  <a:moveTo>
                    <a:pt x="2506279" y="741516"/>
                  </a:moveTo>
                  <a:lnTo>
                    <a:pt x="2483128" y="741516"/>
                  </a:lnTo>
                  <a:lnTo>
                    <a:pt x="2483128" y="787871"/>
                  </a:lnTo>
                  <a:lnTo>
                    <a:pt x="2506279" y="787871"/>
                  </a:lnTo>
                  <a:lnTo>
                    <a:pt x="2506279" y="741516"/>
                  </a:lnTo>
                  <a:close/>
                </a:path>
                <a:path w="2506344" h="4854575" extrusionOk="0">
                  <a:moveTo>
                    <a:pt x="580558" y="692481"/>
                  </a:moveTo>
                  <a:lnTo>
                    <a:pt x="563773" y="708439"/>
                  </a:lnTo>
                  <a:lnTo>
                    <a:pt x="571623" y="716771"/>
                  </a:lnTo>
                  <a:lnTo>
                    <a:pt x="579364" y="725201"/>
                  </a:lnTo>
                  <a:lnTo>
                    <a:pt x="587003" y="733731"/>
                  </a:lnTo>
                  <a:lnTo>
                    <a:pt x="594547" y="742364"/>
                  </a:lnTo>
                  <a:lnTo>
                    <a:pt x="612096" y="727202"/>
                  </a:lnTo>
                  <a:lnTo>
                    <a:pt x="604363" y="718371"/>
                  </a:lnTo>
                  <a:lnTo>
                    <a:pt x="596527" y="709642"/>
                  </a:lnTo>
                  <a:lnTo>
                    <a:pt x="588591" y="701012"/>
                  </a:lnTo>
                  <a:lnTo>
                    <a:pt x="580558" y="692481"/>
                  </a:lnTo>
                  <a:close/>
                </a:path>
                <a:path w="2506344" h="4854575" extrusionOk="0">
                  <a:moveTo>
                    <a:pt x="2506279" y="648828"/>
                  </a:moveTo>
                  <a:lnTo>
                    <a:pt x="2483128" y="648828"/>
                  </a:lnTo>
                  <a:lnTo>
                    <a:pt x="2483128" y="695183"/>
                  </a:lnTo>
                  <a:lnTo>
                    <a:pt x="2506279" y="695183"/>
                  </a:lnTo>
                  <a:lnTo>
                    <a:pt x="2506279" y="648828"/>
                  </a:lnTo>
                  <a:close/>
                </a:path>
                <a:path w="2506344" h="4854575" extrusionOk="0">
                  <a:moveTo>
                    <a:pt x="512445" y="627823"/>
                  </a:moveTo>
                  <a:lnTo>
                    <a:pt x="497429" y="645467"/>
                  </a:lnTo>
                  <a:lnTo>
                    <a:pt x="506068" y="652950"/>
                  </a:lnTo>
                  <a:lnTo>
                    <a:pt x="514603" y="660554"/>
                  </a:lnTo>
                  <a:lnTo>
                    <a:pt x="523046" y="668274"/>
                  </a:lnTo>
                  <a:lnTo>
                    <a:pt x="531407" y="676105"/>
                  </a:lnTo>
                  <a:lnTo>
                    <a:pt x="547313" y="659267"/>
                  </a:lnTo>
                  <a:lnTo>
                    <a:pt x="538744" y="651246"/>
                  </a:lnTo>
                  <a:lnTo>
                    <a:pt x="530079" y="643329"/>
                  </a:lnTo>
                  <a:lnTo>
                    <a:pt x="521313" y="635521"/>
                  </a:lnTo>
                  <a:lnTo>
                    <a:pt x="512445" y="627823"/>
                  </a:lnTo>
                  <a:close/>
                </a:path>
                <a:path w="2506344" h="4854575" extrusionOk="0">
                  <a:moveTo>
                    <a:pt x="438154" y="570558"/>
                  </a:moveTo>
                  <a:lnTo>
                    <a:pt x="424992" y="589605"/>
                  </a:lnTo>
                  <a:lnTo>
                    <a:pt x="434355" y="596175"/>
                  </a:lnTo>
                  <a:lnTo>
                    <a:pt x="443629" y="602862"/>
                  </a:lnTo>
                  <a:lnTo>
                    <a:pt x="452814" y="609661"/>
                  </a:lnTo>
                  <a:lnTo>
                    <a:pt x="461912" y="616567"/>
                  </a:lnTo>
                  <a:lnTo>
                    <a:pt x="476069" y="598254"/>
                  </a:lnTo>
                  <a:lnTo>
                    <a:pt x="466734" y="591151"/>
                  </a:lnTo>
                  <a:lnTo>
                    <a:pt x="457308" y="584166"/>
                  </a:lnTo>
                  <a:lnTo>
                    <a:pt x="447783" y="577302"/>
                  </a:lnTo>
                  <a:lnTo>
                    <a:pt x="438154" y="570558"/>
                  </a:lnTo>
                  <a:close/>
                </a:path>
                <a:path w="2506344" h="4854575" extrusionOk="0">
                  <a:moveTo>
                    <a:pt x="2506279" y="556140"/>
                  </a:moveTo>
                  <a:lnTo>
                    <a:pt x="2483128" y="556140"/>
                  </a:lnTo>
                  <a:lnTo>
                    <a:pt x="2483128" y="602494"/>
                  </a:lnTo>
                  <a:lnTo>
                    <a:pt x="2506279" y="602494"/>
                  </a:lnTo>
                  <a:lnTo>
                    <a:pt x="2506279" y="556140"/>
                  </a:lnTo>
                  <a:close/>
                </a:path>
                <a:path w="2506344" h="4854575" extrusionOk="0">
                  <a:moveTo>
                    <a:pt x="358460" y="521177"/>
                  </a:moveTo>
                  <a:lnTo>
                    <a:pt x="347329" y="541480"/>
                  </a:lnTo>
                  <a:lnTo>
                    <a:pt x="357309" y="547046"/>
                  </a:lnTo>
                  <a:lnTo>
                    <a:pt x="367210" y="552748"/>
                  </a:lnTo>
                  <a:lnTo>
                    <a:pt x="377033" y="558586"/>
                  </a:lnTo>
                  <a:lnTo>
                    <a:pt x="386784" y="564558"/>
                  </a:lnTo>
                  <a:lnTo>
                    <a:pt x="398951" y="544831"/>
                  </a:lnTo>
                  <a:lnTo>
                    <a:pt x="388959" y="538723"/>
                  </a:lnTo>
                  <a:lnTo>
                    <a:pt x="378874" y="532745"/>
                  </a:lnTo>
                  <a:lnTo>
                    <a:pt x="368705" y="526896"/>
                  </a:lnTo>
                  <a:lnTo>
                    <a:pt x="358460" y="521177"/>
                  </a:lnTo>
                  <a:close/>
                </a:path>
                <a:path w="2506344" h="4854575" extrusionOk="0">
                  <a:moveTo>
                    <a:pt x="274106" y="480383"/>
                  </a:moveTo>
                  <a:lnTo>
                    <a:pt x="265143" y="501712"/>
                  </a:lnTo>
                  <a:lnTo>
                    <a:pt x="275649" y="506223"/>
                  </a:lnTo>
                  <a:lnTo>
                    <a:pt x="286082" y="510865"/>
                  </a:lnTo>
                  <a:lnTo>
                    <a:pt x="296457" y="515634"/>
                  </a:lnTo>
                  <a:lnTo>
                    <a:pt x="306786" y="520528"/>
                  </a:lnTo>
                  <a:lnTo>
                    <a:pt x="316848" y="499670"/>
                  </a:lnTo>
                  <a:lnTo>
                    <a:pt x="306264" y="494657"/>
                  </a:lnTo>
                  <a:lnTo>
                    <a:pt x="295607" y="489759"/>
                  </a:lnTo>
                  <a:lnTo>
                    <a:pt x="284886" y="484996"/>
                  </a:lnTo>
                  <a:lnTo>
                    <a:pt x="274106" y="480383"/>
                  </a:lnTo>
                  <a:close/>
                </a:path>
                <a:path w="2506344" h="4854575" extrusionOk="0">
                  <a:moveTo>
                    <a:pt x="2506279" y="463451"/>
                  </a:moveTo>
                  <a:lnTo>
                    <a:pt x="2483128" y="463451"/>
                  </a:lnTo>
                  <a:lnTo>
                    <a:pt x="2483128" y="509764"/>
                  </a:lnTo>
                  <a:lnTo>
                    <a:pt x="2506279" y="509764"/>
                  </a:lnTo>
                  <a:lnTo>
                    <a:pt x="2506279" y="463451"/>
                  </a:lnTo>
                  <a:close/>
                </a:path>
                <a:path w="2506344" h="4854575" extrusionOk="0">
                  <a:moveTo>
                    <a:pt x="186015" y="448666"/>
                  </a:moveTo>
                  <a:lnTo>
                    <a:pt x="179345" y="470823"/>
                  </a:lnTo>
                  <a:lnTo>
                    <a:pt x="190261" y="474207"/>
                  </a:lnTo>
                  <a:lnTo>
                    <a:pt x="201114" y="477721"/>
                  </a:lnTo>
                  <a:lnTo>
                    <a:pt x="211904" y="481372"/>
                  </a:lnTo>
                  <a:lnTo>
                    <a:pt x="222631" y="485168"/>
                  </a:lnTo>
                  <a:lnTo>
                    <a:pt x="230474" y="463357"/>
                  </a:lnTo>
                  <a:lnTo>
                    <a:pt x="219460" y="459471"/>
                  </a:lnTo>
                  <a:lnTo>
                    <a:pt x="208378" y="455729"/>
                  </a:lnTo>
                  <a:lnTo>
                    <a:pt x="197229" y="452128"/>
                  </a:lnTo>
                  <a:lnTo>
                    <a:pt x="186015" y="448666"/>
                  </a:lnTo>
                  <a:close/>
                </a:path>
                <a:path w="2506344" h="4854575" extrusionOk="0">
                  <a:moveTo>
                    <a:pt x="94845" y="426363"/>
                  </a:moveTo>
                  <a:lnTo>
                    <a:pt x="90541" y="449096"/>
                  </a:lnTo>
                  <a:lnTo>
                    <a:pt x="101810" y="451310"/>
                  </a:lnTo>
                  <a:lnTo>
                    <a:pt x="113007" y="453656"/>
                  </a:lnTo>
                  <a:lnTo>
                    <a:pt x="124140" y="456143"/>
                  </a:lnTo>
                  <a:lnTo>
                    <a:pt x="135221" y="458781"/>
                  </a:lnTo>
                  <a:lnTo>
                    <a:pt x="140739" y="436311"/>
                  </a:lnTo>
                  <a:lnTo>
                    <a:pt x="129351" y="433605"/>
                  </a:lnTo>
                  <a:lnTo>
                    <a:pt x="117910" y="431047"/>
                  </a:lnTo>
                  <a:lnTo>
                    <a:pt x="106410" y="428633"/>
                  </a:lnTo>
                  <a:lnTo>
                    <a:pt x="94845" y="426363"/>
                  </a:lnTo>
                  <a:close/>
                </a:path>
                <a:path w="2506344" h="4854575" extrusionOk="0">
                  <a:moveTo>
                    <a:pt x="1821" y="413819"/>
                  </a:moveTo>
                  <a:lnTo>
                    <a:pt x="0" y="436950"/>
                  </a:lnTo>
                  <a:lnTo>
                    <a:pt x="11407" y="437943"/>
                  </a:lnTo>
                  <a:lnTo>
                    <a:pt x="22780" y="439086"/>
                  </a:lnTo>
                  <a:lnTo>
                    <a:pt x="34124" y="440377"/>
                  </a:lnTo>
                  <a:lnTo>
                    <a:pt x="45443" y="441819"/>
                  </a:lnTo>
                  <a:lnTo>
                    <a:pt x="48501" y="418845"/>
                  </a:lnTo>
                  <a:lnTo>
                    <a:pt x="36890" y="417387"/>
                  </a:lnTo>
                  <a:lnTo>
                    <a:pt x="25240" y="416054"/>
                  </a:lnTo>
                  <a:lnTo>
                    <a:pt x="13550" y="414859"/>
                  </a:lnTo>
                  <a:lnTo>
                    <a:pt x="1821" y="413819"/>
                  </a:lnTo>
                  <a:close/>
                </a:path>
                <a:path w="2506344" h="4854575" extrusionOk="0">
                  <a:moveTo>
                    <a:pt x="2506279" y="370763"/>
                  </a:moveTo>
                  <a:lnTo>
                    <a:pt x="2483128" y="370763"/>
                  </a:lnTo>
                  <a:lnTo>
                    <a:pt x="2483128" y="417097"/>
                  </a:lnTo>
                  <a:lnTo>
                    <a:pt x="2506279" y="417097"/>
                  </a:lnTo>
                  <a:lnTo>
                    <a:pt x="2506279" y="370763"/>
                  </a:lnTo>
                  <a:close/>
                </a:path>
                <a:path w="2506344" h="4854575" extrusionOk="0">
                  <a:moveTo>
                    <a:pt x="2506279" y="278075"/>
                  </a:moveTo>
                  <a:lnTo>
                    <a:pt x="2483128" y="278075"/>
                  </a:lnTo>
                  <a:lnTo>
                    <a:pt x="2483128" y="324377"/>
                  </a:lnTo>
                  <a:lnTo>
                    <a:pt x="2506279" y="324377"/>
                  </a:lnTo>
                  <a:lnTo>
                    <a:pt x="2506279" y="278075"/>
                  </a:lnTo>
                  <a:close/>
                </a:path>
                <a:path w="2506344" h="4854575" extrusionOk="0">
                  <a:moveTo>
                    <a:pt x="2506279" y="185397"/>
                  </a:moveTo>
                  <a:lnTo>
                    <a:pt x="2483128" y="185397"/>
                  </a:lnTo>
                  <a:lnTo>
                    <a:pt x="2483128" y="231720"/>
                  </a:lnTo>
                  <a:lnTo>
                    <a:pt x="2506279" y="231720"/>
                  </a:lnTo>
                  <a:lnTo>
                    <a:pt x="2506279" y="185397"/>
                  </a:lnTo>
                  <a:close/>
                </a:path>
                <a:path w="2506344" h="4854575" extrusionOk="0">
                  <a:moveTo>
                    <a:pt x="2506279" y="92709"/>
                  </a:moveTo>
                  <a:lnTo>
                    <a:pt x="2483128" y="92709"/>
                  </a:lnTo>
                  <a:lnTo>
                    <a:pt x="2483128" y="139032"/>
                  </a:lnTo>
                  <a:lnTo>
                    <a:pt x="2506279" y="139032"/>
                  </a:lnTo>
                  <a:lnTo>
                    <a:pt x="2506279" y="92709"/>
                  </a:lnTo>
                  <a:close/>
                </a:path>
                <a:path w="2506344" h="4854575" extrusionOk="0">
                  <a:moveTo>
                    <a:pt x="2506279" y="0"/>
                  </a:moveTo>
                  <a:lnTo>
                    <a:pt x="2483128" y="0"/>
                  </a:lnTo>
                  <a:lnTo>
                    <a:pt x="2483128" y="46354"/>
                  </a:lnTo>
                  <a:lnTo>
                    <a:pt x="2506279" y="46354"/>
                  </a:lnTo>
                  <a:lnTo>
                    <a:pt x="2506279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134;p1"/>
            <p:cNvSpPr/>
            <p:nvPr/>
          </p:nvSpPr>
          <p:spPr>
            <a:xfrm>
              <a:off x="15297838" y="5148052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0" y="0"/>
                  </a:moveTo>
                  <a:lnTo>
                    <a:pt x="0" y="23161"/>
                  </a:lnTo>
                  <a:lnTo>
                    <a:pt x="15287" y="23245"/>
                  </a:lnTo>
                  <a:lnTo>
                    <a:pt x="22847" y="23465"/>
                  </a:lnTo>
                  <a:lnTo>
                    <a:pt x="23496" y="303"/>
                  </a:lnTo>
                  <a:lnTo>
                    <a:pt x="15674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135;p1"/>
            <p:cNvSpPr/>
            <p:nvPr/>
          </p:nvSpPr>
          <p:spPr>
            <a:xfrm>
              <a:off x="17863633" y="10"/>
              <a:ext cx="0" cy="4667885"/>
            </a:xfrm>
            <a:custGeom>
              <a:avLst/>
              <a:gdLst/>
              <a:ahLst/>
              <a:cxnLst/>
              <a:rect l="l" t="t" r="r" b="b"/>
              <a:pathLst>
                <a:path w="120000" h="4667885" extrusionOk="0">
                  <a:moveTo>
                    <a:pt x="0" y="0"/>
                  </a:moveTo>
                  <a:lnTo>
                    <a:pt x="0" y="4667658"/>
                  </a:lnTo>
                </a:path>
              </a:pathLst>
            </a:custGeom>
            <a:noFill/>
            <a:ln w="4630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1"/>
            <p:cNvSpPr/>
            <p:nvPr/>
          </p:nvSpPr>
          <p:spPr>
            <a:xfrm>
              <a:off x="19347102" y="10"/>
              <a:ext cx="0" cy="2402205"/>
            </a:xfrm>
            <a:custGeom>
              <a:avLst/>
              <a:gdLst/>
              <a:ahLst/>
              <a:cxnLst/>
              <a:rect l="l" t="t" r="r" b="b"/>
              <a:pathLst>
                <a:path w="120000" h="2402205" extrusionOk="0">
                  <a:moveTo>
                    <a:pt x="0" y="0"/>
                  </a:moveTo>
                  <a:lnTo>
                    <a:pt x="0" y="2401832"/>
                  </a:lnTo>
                </a:path>
              </a:pathLst>
            </a:custGeom>
            <a:noFill/>
            <a:ln w="46325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37;p1"/>
            <p:cNvSpPr/>
            <p:nvPr/>
          </p:nvSpPr>
          <p:spPr>
            <a:xfrm>
              <a:off x="19727263" y="4093676"/>
              <a:ext cx="328295" cy="63500"/>
            </a:xfrm>
            <a:custGeom>
              <a:avLst/>
              <a:gdLst/>
              <a:ahLst/>
              <a:cxnLst/>
              <a:rect l="l" t="t" r="r" b="b"/>
              <a:pathLst>
                <a:path w="328294" h="63500" extrusionOk="0">
                  <a:moveTo>
                    <a:pt x="186538" y="39946"/>
                  </a:moveTo>
                  <a:lnTo>
                    <a:pt x="185795" y="63055"/>
                  </a:lnTo>
                  <a:lnTo>
                    <a:pt x="191439" y="63265"/>
                  </a:lnTo>
                  <a:lnTo>
                    <a:pt x="202810" y="63359"/>
                  </a:lnTo>
                  <a:lnTo>
                    <a:pt x="210555" y="63298"/>
                  </a:lnTo>
                  <a:lnTo>
                    <a:pt x="218291" y="63117"/>
                  </a:lnTo>
                  <a:lnTo>
                    <a:pt x="226004" y="62815"/>
                  </a:lnTo>
                  <a:lnTo>
                    <a:pt x="233678" y="62396"/>
                  </a:lnTo>
                  <a:lnTo>
                    <a:pt x="232296" y="40121"/>
                  </a:lnTo>
                  <a:lnTo>
                    <a:pt x="191669" y="40103"/>
                  </a:lnTo>
                  <a:lnTo>
                    <a:pt x="186538" y="39946"/>
                  </a:lnTo>
                  <a:close/>
                </a:path>
                <a:path w="328294" h="63500" extrusionOk="0">
                  <a:moveTo>
                    <a:pt x="232244" y="39286"/>
                  </a:moveTo>
                  <a:lnTo>
                    <a:pt x="224715" y="39677"/>
                  </a:lnTo>
                  <a:lnTo>
                    <a:pt x="217150" y="39955"/>
                  </a:lnTo>
                  <a:lnTo>
                    <a:pt x="209562" y="40121"/>
                  </a:lnTo>
                  <a:lnTo>
                    <a:pt x="232296" y="40121"/>
                  </a:lnTo>
                  <a:lnTo>
                    <a:pt x="232244" y="39286"/>
                  </a:lnTo>
                  <a:close/>
                </a:path>
                <a:path w="328294" h="63500" extrusionOk="0">
                  <a:moveTo>
                    <a:pt x="96049" y="28334"/>
                  </a:moveTo>
                  <a:lnTo>
                    <a:pt x="126272" y="57603"/>
                  </a:lnTo>
                  <a:lnTo>
                    <a:pt x="138069" y="59265"/>
                  </a:lnTo>
                  <a:lnTo>
                    <a:pt x="141000" y="36281"/>
                  </a:lnTo>
                  <a:lnTo>
                    <a:pt x="129757" y="34704"/>
                  </a:lnTo>
                  <a:lnTo>
                    <a:pt x="118493" y="32849"/>
                  </a:lnTo>
                  <a:lnTo>
                    <a:pt x="107246" y="30724"/>
                  </a:lnTo>
                  <a:lnTo>
                    <a:pt x="96049" y="28334"/>
                  </a:lnTo>
                  <a:close/>
                </a:path>
                <a:path w="328294" h="63500" extrusionOk="0">
                  <a:moveTo>
                    <a:pt x="322346" y="25161"/>
                  </a:moveTo>
                  <a:lnTo>
                    <a:pt x="311215" y="27851"/>
                  </a:lnTo>
                  <a:lnTo>
                    <a:pt x="300036" y="30288"/>
                  </a:lnTo>
                  <a:lnTo>
                    <a:pt x="288840" y="32460"/>
                  </a:lnTo>
                  <a:lnTo>
                    <a:pt x="277656" y="34354"/>
                  </a:lnTo>
                  <a:lnTo>
                    <a:pt x="281227" y="57244"/>
                  </a:lnTo>
                  <a:lnTo>
                    <a:pt x="292931" y="55251"/>
                  </a:lnTo>
                  <a:lnTo>
                    <a:pt x="304673" y="52970"/>
                  </a:lnTo>
                  <a:lnTo>
                    <a:pt x="316404" y="50413"/>
                  </a:lnTo>
                  <a:lnTo>
                    <a:pt x="328073" y="47590"/>
                  </a:lnTo>
                  <a:lnTo>
                    <a:pt x="322346" y="25161"/>
                  </a:lnTo>
                  <a:close/>
                </a:path>
                <a:path w="328294" h="63500" extrusionOk="0">
                  <a:moveTo>
                    <a:pt x="9203" y="0"/>
                  </a:moveTo>
                  <a:lnTo>
                    <a:pt x="33475" y="34363"/>
                  </a:lnTo>
                  <a:lnTo>
                    <a:pt x="44773" y="38187"/>
                  </a:lnTo>
                  <a:lnTo>
                    <a:pt x="51998" y="16167"/>
                  </a:lnTo>
                  <a:lnTo>
                    <a:pt x="41177" y="12513"/>
                  </a:lnTo>
                  <a:lnTo>
                    <a:pt x="30412" y="8586"/>
                  </a:lnTo>
                  <a:lnTo>
                    <a:pt x="19742" y="4407"/>
                  </a:lnTo>
                  <a:lnTo>
                    <a:pt x="9203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38;p1"/>
            <p:cNvSpPr/>
            <p:nvPr/>
          </p:nvSpPr>
          <p:spPr>
            <a:xfrm>
              <a:off x="19335473" y="2473254"/>
              <a:ext cx="768985" cy="1654175"/>
            </a:xfrm>
            <a:custGeom>
              <a:avLst/>
              <a:gdLst/>
              <a:ahLst/>
              <a:cxnLst/>
              <a:rect l="l" t="t" r="r" b="b"/>
              <a:pathLst>
                <a:path w="768984" h="1654175" extrusionOk="0">
                  <a:moveTo>
                    <a:pt x="768615" y="1628233"/>
                  </a:moveTo>
                  <a:lnTo>
                    <a:pt x="765023" y="1629604"/>
                  </a:lnTo>
                  <a:lnTo>
                    <a:pt x="761421" y="1630934"/>
                  </a:lnTo>
                  <a:lnTo>
                    <a:pt x="757840" y="1632212"/>
                  </a:lnTo>
                  <a:lnTo>
                    <a:pt x="765589" y="1654033"/>
                  </a:lnTo>
                  <a:lnTo>
                    <a:pt x="768615" y="1652944"/>
                  </a:lnTo>
                  <a:lnTo>
                    <a:pt x="768615" y="1628233"/>
                  </a:lnTo>
                  <a:close/>
                </a:path>
                <a:path w="768984" h="1654175" extrusionOk="0">
                  <a:moveTo>
                    <a:pt x="320430" y="1577051"/>
                  </a:moveTo>
                  <a:lnTo>
                    <a:pt x="307760" y="1596464"/>
                  </a:lnTo>
                  <a:lnTo>
                    <a:pt x="317902" y="1602931"/>
                  </a:lnTo>
                  <a:lnTo>
                    <a:pt x="328140" y="1609172"/>
                  </a:lnTo>
                  <a:lnTo>
                    <a:pt x="338439" y="1615163"/>
                  </a:lnTo>
                  <a:lnTo>
                    <a:pt x="348764" y="1620882"/>
                  </a:lnTo>
                  <a:lnTo>
                    <a:pt x="359779" y="1600516"/>
                  </a:lnTo>
                  <a:lnTo>
                    <a:pt x="349869" y="1595025"/>
                  </a:lnTo>
                  <a:lnTo>
                    <a:pt x="339983" y="1589267"/>
                  </a:lnTo>
                  <a:lnTo>
                    <a:pt x="330157" y="1583266"/>
                  </a:lnTo>
                  <a:lnTo>
                    <a:pt x="320430" y="1577051"/>
                  </a:lnTo>
                  <a:close/>
                </a:path>
                <a:path w="768984" h="1654175" extrusionOk="0">
                  <a:moveTo>
                    <a:pt x="248097" y="1520770"/>
                  </a:moveTo>
                  <a:lnTo>
                    <a:pt x="232495" y="1537869"/>
                  </a:lnTo>
                  <a:lnTo>
                    <a:pt x="241378" y="1545837"/>
                  </a:lnTo>
                  <a:lnTo>
                    <a:pt x="250432" y="1553641"/>
                  </a:lnTo>
                  <a:lnTo>
                    <a:pt x="259627" y="1561252"/>
                  </a:lnTo>
                  <a:lnTo>
                    <a:pt x="268934" y="1568643"/>
                  </a:lnTo>
                  <a:lnTo>
                    <a:pt x="283153" y="1550371"/>
                  </a:lnTo>
                  <a:lnTo>
                    <a:pt x="274231" y="1543265"/>
                  </a:lnTo>
                  <a:lnTo>
                    <a:pt x="265393" y="1535944"/>
                  </a:lnTo>
                  <a:lnTo>
                    <a:pt x="256671" y="1528436"/>
                  </a:lnTo>
                  <a:lnTo>
                    <a:pt x="248097" y="1520770"/>
                  </a:lnTo>
                  <a:close/>
                </a:path>
                <a:path w="768984" h="1654175" extrusionOk="0">
                  <a:moveTo>
                    <a:pt x="185072" y="1453955"/>
                  </a:moveTo>
                  <a:lnTo>
                    <a:pt x="167115" y="1468573"/>
                  </a:lnTo>
                  <a:lnTo>
                    <a:pt x="174749" y="1477756"/>
                  </a:lnTo>
                  <a:lnTo>
                    <a:pt x="182542" y="1486812"/>
                  </a:lnTo>
                  <a:lnTo>
                    <a:pt x="190476" y="1495700"/>
                  </a:lnTo>
                  <a:lnTo>
                    <a:pt x="198527" y="1504383"/>
                  </a:lnTo>
                  <a:lnTo>
                    <a:pt x="215354" y="1488530"/>
                  </a:lnTo>
                  <a:lnTo>
                    <a:pt x="207594" y="1480146"/>
                  </a:lnTo>
                  <a:lnTo>
                    <a:pt x="199942" y="1471569"/>
                  </a:lnTo>
                  <a:lnTo>
                    <a:pt x="192426" y="1462828"/>
                  </a:lnTo>
                  <a:lnTo>
                    <a:pt x="185072" y="1453955"/>
                  </a:lnTo>
                  <a:close/>
                </a:path>
                <a:path w="768984" h="1654175" extrusionOk="0">
                  <a:moveTo>
                    <a:pt x="132079" y="1378764"/>
                  </a:moveTo>
                  <a:lnTo>
                    <a:pt x="112289" y="1390784"/>
                  </a:lnTo>
                  <a:lnTo>
                    <a:pt x="118547" y="1400896"/>
                  </a:lnTo>
                  <a:lnTo>
                    <a:pt x="124992" y="1410930"/>
                  </a:lnTo>
                  <a:lnTo>
                    <a:pt x="131604" y="1420855"/>
                  </a:lnTo>
                  <a:lnTo>
                    <a:pt x="138362" y="1430637"/>
                  </a:lnTo>
                  <a:lnTo>
                    <a:pt x="157314" y="1417255"/>
                  </a:lnTo>
                  <a:lnTo>
                    <a:pt x="150775" y="1407820"/>
                  </a:lnTo>
                  <a:lnTo>
                    <a:pt x="144379" y="1398241"/>
                  </a:lnTo>
                  <a:lnTo>
                    <a:pt x="138141" y="1388546"/>
                  </a:lnTo>
                  <a:lnTo>
                    <a:pt x="132079" y="1378764"/>
                  </a:lnTo>
                  <a:close/>
                </a:path>
                <a:path w="768984" h="1654175" extrusionOk="0">
                  <a:moveTo>
                    <a:pt x="89463" y="1297133"/>
                  </a:moveTo>
                  <a:lnTo>
                    <a:pt x="68301" y="1306504"/>
                  </a:lnTo>
                  <a:lnTo>
                    <a:pt x="73231" y="1317397"/>
                  </a:lnTo>
                  <a:lnTo>
                    <a:pt x="78313" y="1328167"/>
                  </a:lnTo>
                  <a:lnTo>
                    <a:pt x="83546" y="1338818"/>
                  </a:lnTo>
                  <a:lnTo>
                    <a:pt x="88929" y="1349351"/>
                  </a:lnTo>
                  <a:lnTo>
                    <a:pt x="109462" y="1338629"/>
                  </a:lnTo>
                  <a:lnTo>
                    <a:pt x="104240" y="1328427"/>
                  </a:lnTo>
                  <a:lnTo>
                    <a:pt x="99164" y="1318113"/>
                  </a:lnTo>
                  <a:lnTo>
                    <a:pt x="94237" y="1307682"/>
                  </a:lnTo>
                  <a:lnTo>
                    <a:pt x="89463" y="1297133"/>
                  </a:lnTo>
                  <a:close/>
                </a:path>
                <a:path w="768984" h="1654175" extrusionOk="0">
                  <a:moveTo>
                    <a:pt x="57349" y="1210717"/>
                  </a:moveTo>
                  <a:lnTo>
                    <a:pt x="35182" y="1217449"/>
                  </a:lnTo>
                  <a:lnTo>
                    <a:pt x="38730" y="1228854"/>
                  </a:lnTo>
                  <a:lnTo>
                    <a:pt x="42443" y="1240158"/>
                  </a:lnTo>
                  <a:lnTo>
                    <a:pt x="46314" y="1251372"/>
                  </a:lnTo>
                  <a:lnTo>
                    <a:pt x="50333" y="1262506"/>
                  </a:lnTo>
                  <a:lnTo>
                    <a:pt x="72060" y="1254443"/>
                  </a:lnTo>
                  <a:lnTo>
                    <a:pt x="68155" y="1243660"/>
                  </a:lnTo>
                  <a:lnTo>
                    <a:pt x="64394" y="1232772"/>
                  </a:lnTo>
                  <a:lnTo>
                    <a:pt x="60788" y="1221788"/>
                  </a:lnTo>
                  <a:lnTo>
                    <a:pt x="57349" y="1210717"/>
                  </a:lnTo>
                  <a:close/>
                </a:path>
                <a:path w="768984" h="1654175" extrusionOk="0">
                  <a:moveTo>
                    <a:pt x="35779" y="1121033"/>
                  </a:moveTo>
                  <a:lnTo>
                    <a:pt x="12973" y="1125159"/>
                  </a:lnTo>
                  <a:lnTo>
                    <a:pt x="15176" y="1136889"/>
                  </a:lnTo>
                  <a:lnTo>
                    <a:pt x="17530" y="1148550"/>
                  </a:lnTo>
                  <a:lnTo>
                    <a:pt x="20038" y="1160137"/>
                  </a:lnTo>
                  <a:lnTo>
                    <a:pt x="22700" y="1171650"/>
                  </a:lnTo>
                  <a:lnTo>
                    <a:pt x="45213" y="1166205"/>
                  </a:lnTo>
                  <a:lnTo>
                    <a:pt x="42624" y="1155039"/>
                  </a:lnTo>
                  <a:lnTo>
                    <a:pt x="40193" y="1143784"/>
                  </a:lnTo>
                  <a:lnTo>
                    <a:pt x="37914" y="1132447"/>
                  </a:lnTo>
                  <a:lnTo>
                    <a:pt x="35779" y="1121033"/>
                  </a:lnTo>
                  <a:close/>
                </a:path>
                <a:path w="768984" h="1654175" extrusionOk="0">
                  <a:moveTo>
                    <a:pt x="24795" y="1029466"/>
                  </a:moveTo>
                  <a:lnTo>
                    <a:pt x="1643" y="1030921"/>
                  </a:lnTo>
                  <a:lnTo>
                    <a:pt x="2491" y="1042833"/>
                  </a:lnTo>
                  <a:lnTo>
                    <a:pt x="3494" y="1054679"/>
                  </a:lnTo>
                  <a:lnTo>
                    <a:pt x="4650" y="1066463"/>
                  </a:lnTo>
                  <a:lnTo>
                    <a:pt x="5957" y="1078187"/>
                  </a:lnTo>
                  <a:lnTo>
                    <a:pt x="28993" y="1075433"/>
                  </a:lnTo>
                  <a:lnTo>
                    <a:pt x="27695" y="1064021"/>
                  </a:lnTo>
                  <a:lnTo>
                    <a:pt x="26564" y="1052559"/>
                  </a:lnTo>
                  <a:lnTo>
                    <a:pt x="25598" y="1041042"/>
                  </a:lnTo>
                  <a:lnTo>
                    <a:pt x="24795" y="1029466"/>
                  </a:lnTo>
                  <a:close/>
                </a:path>
                <a:path w="768984" h="1654175" extrusionOk="0">
                  <a:moveTo>
                    <a:pt x="23182" y="936547"/>
                  </a:moveTo>
                  <a:lnTo>
                    <a:pt x="0" y="936547"/>
                  </a:lnTo>
                  <a:lnTo>
                    <a:pt x="0" y="983456"/>
                  </a:lnTo>
                  <a:lnTo>
                    <a:pt x="23182" y="983341"/>
                  </a:lnTo>
                  <a:lnTo>
                    <a:pt x="23182" y="936547"/>
                  </a:lnTo>
                  <a:close/>
                </a:path>
                <a:path w="768984" h="1654175" extrusionOk="0">
                  <a:moveTo>
                    <a:pt x="23182" y="842885"/>
                  </a:moveTo>
                  <a:lnTo>
                    <a:pt x="0" y="842885"/>
                  </a:lnTo>
                  <a:lnTo>
                    <a:pt x="0" y="889732"/>
                  </a:lnTo>
                  <a:lnTo>
                    <a:pt x="23182" y="889732"/>
                  </a:lnTo>
                  <a:lnTo>
                    <a:pt x="23182" y="842885"/>
                  </a:lnTo>
                  <a:close/>
                </a:path>
                <a:path w="768984" h="1654175" extrusionOk="0">
                  <a:moveTo>
                    <a:pt x="23182" y="749244"/>
                  </a:moveTo>
                  <a:lnTo>
                    <a:pt x="0" y="749244"/>
                  </a:lnTo>
                  <a:lnTo>
                    <a:pt x="0" y="796101"/>
                  </a:lnTo>
                  <a:lnTo>
                    <a:pt x="23182" y="796101"/>
                  </a:lnTo>
                  <a:lnTo>
                    <a:pt x="23182" y="749244"/>
                  </a:lnTo>
                  <a:close/>
                </a:path>
                <a:path w="768984" h="1654175" extrusionOk="0">
                  <a:moveTo>
                    <a:pt x="23182" y="655613"/>
                  </a:moveTo>
                  <a:lnTo>
                    <a:pt x="0" y="655613"/>
                  </a:lnTo>
                  <a:lnTo>
                    <a:pt x="0" y="702439"/>
                  </a:lnTo>
                  <a:lnTo>
                    <a:pt x="23182" y="702439"/>
                  </a:lnTo>
                  <a:lnTo>
                    <a:pt x="23182" y="655613"/>
                  </a:lnTo>
                  <a:close/>
                </a:path>
                <a:path w="768984" h="1654175" extrusionOk="0">
                  <a:moveTo>
                    <a:pt x="23182" y="561941"/>
                  </a:moveTo>
                  <a:lnTo>
                    <a:pt x="0" y="561941"/>
                  </a:lnTo>
                  <a:lnTo>
                    <a:pt x="0" y="608766"/>
                  </a:lnTo>
                  <a:lnTo>
                    <a:pt x="23182" y="608766"/>
                  </a:lnTo>
                  <a:lnTo>
                    <a:pt x="23182" y="561941"/>
                  </a:lnTo>
                  <a:close/>
                </a:path>
                <a:path w="768984" h="1654175" extrusionOk="0">
                  <a:moveTo>
                    <a:pt x="23182" y="468278"/>
                  </a:moveTo>
                  <a:lnTo>
                    <a:pt x="0" y="468278"/>
                  </a:lnTo>
                  <a:lnTo>
                    <a:pt x="0" y="515094"/>
                  </a:lnTo>
                  <a:lnTo>
                    <a:pt x="23182" y="515094"/>
                  </a:lnTo>
                  <a:lnTo>
                    <a:pt x="23182" y="468278"/>
                  </a:lnTo>
                  <a:close/>
                </a:path>
                <a:path w="768984" h="1654175" extrusionOk="0">
                  <a:moveTo>
                    <a:pt x="23182" y="374616"/>
                  </a:moveTo>
                  <a:lnTo>
                    <a:pt x="0" y="374616"/>
                  </a:lnTo>
                  <a:lnTo>
                    <a:pt x="0" y="421442"/>
                  </a:lnTo>
                  <a:lnTo>
                    <a:pt x="23182" y="421442"/>
                  </a:lnTo>
                  <a:lnTo>
                    <a:pt x="23182" y="374616"/>
                  </a:lnTo>
                  <a:close/>
                </a:path>
                <a:path w="768984" h="1654175" extrusionOk="0">
                  <a:moveTo>
                    <a:pt x="23182" y="280965"/>
                  </a:moveTo>
                  <a:lnTo>
                    <a:pt x="0" y="280965"/>
                  </a:lnTo>
                  <a:lnTo>
                    <a:pt x="0" y="327780"/>
                  </a:lnTo>
                  <a:lnTo>
                    <a:pt x="23182" y="327780"/>
                  </a:lnTo>
                  <a:lnTo>
                    <a:pt x="23182" y="280965"/>
                  </a:lnTo>
                  <a:close/>
                </a:path>
                <a:path w="768984" h="1654175" extrusionOk="0">
                  <a:moveTo>
                    <a:pt x="23182" y="187313"/>
                  </a:moveTo>
                  <a:lnTo>
                    <a:pt x="0" y="187313"/>
                  </a:lnTo>
                  <a:lnTo>
                    <a:pt x="0" y="234128"/>
                  </a:lnTo>
                  <a:lnTo>
                    <a:pt x="23182" y="234128"/>
                  </a:lnTo>
                  <a:lnTo>
                    <a:pt x="23182" y="187313"/>
                  </a:lnTo>
                  <a:close/>
                </a:path>
                <a:path w="768984" h="1654175" extrusionOk="0">
                  <a:moveTo>
                    <a:pt x="23182" y="93651"/>
                  </a:moveTo>
                  <a:lnTo>
                    <a:pt x="0" y="93651"/>
                  </a:lnTo>
                  <a:lnTo>
                    <a:pt x="0" y="140477"/>
                  </a:lnTo>
                  <a:lnTo>
                    <a:pt x="23182" y="140477"/>
                  </a:lnTo>
                  <a:lnTo>
                    <a:pt x="23182" y="93651"/>
                  </a:lnTo>
                  <a:close/>
                </a:path>
                <a:path w="768984" h="1654175" extrusionOk="0">
                  <a:moveTo>
                    <a:pt x="23182" y="0"/>
                  </a:moveTo>
                  <a:lnTo>
                    <a:pt x="0" y="0"/>
                  </a:lnTo>
                  <a:lnTo>
                    <a:pt x="0" y="46846"/>
                  </a:lnTo>
                  <a:lnTo>
                    <a:pt x="23182" y="46846"/>
                  </a:lnTo>
                  <a:lnTo>
                    <a:pt x="23182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1"/>
            <p:cNvSpPr/>
            <p:nvPr/>
          </p:nvSpPr>
          <p:spPr>
            <a:xfrm>
              <a:off x="19335495" y="2413429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82" y="0"/>
                  </a:lnTo>
                </a:path>
              </a:pathLst>
            </a:custGeom>
            <a:noFill/>
            <a:ln w="23150" cap="flat" cmpd="sng">
              <a:solidFill>
                <a:srgbClr val="2A2A6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1"/>
            <p:cNvSpPr/>
            <p:nvPr/>
          </p:nvSpPr>
          <p:spPr>
            <a:xfrm>
              <a:off x="14554563" y="1555366"/>
              <a:ext cx="463550" cy="463550"/>
            </a:xfrm>
            <a:custGeom>
              <a:avLst/>
              <a:gdLst/>
              <a:ahLst/>
              <a:cxnLst/>
              <a:rect l="l" t="t" r="r" b="b"/>
              <a:pathLst>
                <a:path w="463550" h="463550" extrusionOk="0">
                  <a:moveTo>
                    <a:pt x="231584" y="0"/>
                  </a:moveTo>
                  <a:lnTo>
                    <a:pt x="184905" y="4705"/>
                  </a:lnTo>
                  <a:lnTo>
                    <a:pt x="141432" y="18200"/>
                  </a:lnTo>
                  <a:lnTo>
                    <a:pt x="102093" y="39555"/>
                  </a:lnTo>
                  <a:lnTo>
                    <a:pt x="67821" y="67836"/>
                  </a:lnTo>
                  <a:lnTo>
                    <a:pt x="39545" y="102115"/>
                  </a:lnTo>
                  <a:lnTo>
                    <a:pt x="18195" y="141458"/>
                  </a:lnTo>
                  <a:lnTo>
                    <a:pt x="4704" y="184935"/>
                  </a:lnTo>
                  <a:lnTo>
                    <a:pt x="0" y="231615"/>
                  </a:lnTo>
                  <a:lnTo>
                    <a:pt x="4704" y="278289"/>
                  </a:lnTo>
                  <a:lnTo>
                    <a:pt x="18195" y="321761"/>
                  </a:lnTo>
                  <a:lnTo>
                    <a:pt x="39545" y="361100"/>
                  </a:lnTo>
                  <a:lnTo>
                    <a:pt x="67821" y="395376"/>
                  </a:lnTo>
                  <a:lnTo>
                    <a:pt x="102093" y="423657"/>
                  </a:lnTo>
                  <a:lnTo>
                    <a:pt x="141432" y="445010"/>
                  </a:lnTo>
                  <a:lnTo>
                    <a:pt x="184905" y="458505"/>
                  </a:lnTo>
                  <a:lnTo>
                    <a:pt x="231584" y="463211"/>
                  </a:lnTo>
                  <a:lnTo>
                    <a:pt x="278261" y="458505"/>
                  </a:lnTo>
                  <a:lnTo>
                    <a:pt x="321735" y="445010"/>
                  </a:lnTo>
                  <a:lnTo>
                    <a:pt x="361077" y="423657"/>
                  </a:lnTo>
                  <a:lnTo>
                    <a:pt x="395354" y="395376"/>
                  </a:lnTo>
                  <a:lnTo>
                    <a:pt x="423635" y="361100"/>
                  </a:lnTo>
                  <a:lnTo>
                    <a:pt x="444989" y="321761"/>
                  </a:lnTo>
                  <a:lnTo>
                    <a:pt x="458484" y="278289"/>
                  </a:lnTo>
                  <a:lnTo>
                    <a:pt x="463190" y="231615"/>
                  </a:lnTo>
                  <a:lnTo>
                    <a:pt x="458484" y="184935"/>
                  </a:lnTo>
                  <a:lnTo>
                    <a:pt x="444989" y="141458"/>
                  </a:lnTo>
                  <a:lnTo>
                    <a:pt x="423635" y="102115"/>
                  </a:lnTo>
                  <a:lnTo>
                    <a:pt x="395354" y="67836"/>
                  </a:lnTo>
                  <a:lnTo>
                    <a:pt x="361077" y="39555"/>
                  </a:lnTo>
                  <a:lnTo>
                    <a:pt x="321735" y="18200"/>
                  </a:lnTo>
                  <a:lnTo>
                    <a:pt x="278261" y="4705"/>
                  </a:lnTo>
                  <a:lnTo>
                    <a:pt x="231584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"/>
            <p:cNvSpPr/>
            <p:nvPr/>
          </p:nvSpPr>
          <p:spPr>
            <a:xfrm>
              <a:off x="13047372" y="10702553"/>
              <a:ext cx="340995" cy="340995"/>
            </a:xfrm>
            <a:custGeom>
              <a:avLst/>
              <a:gdLst/>
              <a:ahLst/>
              <a:cxnLst/>
              <a:rect l="l" t="t" r="r" b="b"/>
              <a:pathLst>
                <a:path w="340994" h="340995" extrusionOk="0">
                  <a:moveTo>
                    <a:pt x="170235" y="0"/>
                  </a:moveTo>
                  <a:lnTo>
                    <a:pt x="124973" y="6080"/>
                  </a:lnTo>
                  <a:lnTo>
                    <a:pt x="84305" y="23241"/>
                  </a:lnTo>
                  <a:lnTo>
                    <a:pt x="49853" y="49857"/>
                  </a:lnTo>
                  <a:lnTo>
                    <a:pt x="23237" y="84305"/>
                  </a:lnTo>
                  <a:lnTo>
                    <a:pt x="6079" y="124962"/>
                  </a:lnTo>
                  <a:lnTo>
                    <a:pt x="0" y="170204"/>
                  </a:lnTo>
                  <a:lnTo>
                    <a:pt x="6079" y="215454"/>
                  </a:lnTo>
                  <a:lnTo>
                    <a:pt x="23237" y="256115"/>
                  </a:lnTo>
                  <a:lnTo>
                    <a:pt x="49853" y="290564"/>
                  </a:lnTo>
                  <a:lnTo>
                    <a:pt x="84305" y="317179"/>
                  </a:lnTo>
                  <a:lnTo>
                    <a:pt x="124973" y="334338"/>
                  </a:lnTo>
                  <a:lnTo>
                    <a:pt x="170235" y="340418"/>
                  </a:lnTo>
                  <a:lnTo>
                    <a:pt x="215488" y="334338"/>
                  </a:lnTo>
                  <a:lnTo>
                    <a:pt x="256154" y="317179"/>
                  </a:lnTo>
                  <a:lnTo>
                    <a:pt x="290611" y="290564"/>
                  </a:lnTo>
                  <a:lnTo>
                    <a:pt x="317234" y="256115"/>
                  </a:lnTo>
                  <a:lnTo>
                    <a:pt x="334399" y="215454"/>
                  </a:lnTo>
                  <a:lnTo>
                    <a:pt x="340481" y="170204"/>
                  </a:lnTo>
                  <a:lnTo>
                    <a:pt x="334399" y="124962"/>
                  </a:lnTo>
                  <a:lnTo>
                    <a:pt x="317234" y="84305"/>
                  </a:lnTo>
                  <a:lnTo>
                    <a:pt x="290611" y="49857"/>
                  </a:lnTo>
                  <a:lnTo>
                    <a:pt x="256154" y="23241"/>
                  </a:lnTo>
                  <a:lnTo>
                    <a:pt x="215488" y="6080"/>
                  </a:lnTo>
                  <a:lnTo>
                    <a:pt x="170235" y="0"/>
                  </a:lnTo>
                  <a:close/>
                </a:path>
              </a:pathLst>
            </a:custGeom>
            <a:solidFill>
              <a:srgbClr val="2A2A6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1"/>
            <p:cNvSpPr/>
            <p:nvPr/>
          </p:nvSpPr>
          <p:spPr>
            <a:xfrm>
              <a:off x="16345261" y="662597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1"/>
            <p:cNvSpPr/>
            <p:nvPr/>
          </p:nvSpPr>
          <p:spPr>
            <a:xfrm>
              <a:off x="13104040" y="6683702"/>
              <a:ext cx="3264535" cy="4239895"/>
            </a:xfrm>
            <a:custGeom>
              <a:avLst/>
              <a:gdLst/>
              <a:ahLst/>
              <a:cxnLst/>
              <a:rect l="l" t="t" r="r" b="b"/>
              <a:pathLst>
                <a:path w="3264534" h="4239895" extrusionOk="0">
                  <a:moveTo>
                    <a:pt x="2313165" y="4215013"/>
                  </a:moveTo>
                  <a:lnTo>
                    <a:pt x="2301841" y="4215621"/>
                  </a:lnTo>
                  <a:lnTo>
                    <a:pt x="2290474" y="4216079"/>
                  </a:lnTo>
                  <a:lnTo>
                    <a:pt x="2279068" y="4216386"/>
                  </a:lnTo>
                  <a:lnTo>
                    <a:pt x="2267627" y="4216541"/>
                  </a:lnTo>
                  <a:lnTo>
                    <a:pt x="2267847" y="4239703"/>
                  </a:lnTo>
                  <a:lnTo>
                    <a:pt x="2279570" y="4239553"/>
                  </a:lnTo>
                  <a:lnTo>
                    <a:pt x="2291270" y="4239237"/>
                  </a:lnTo>
                  <a:lnTo>
                    <a:pt x="2302939" y="4238763"/>
                  </a:lnTo>
                  <a:lnTo>
                    <a:pt x="2314568" y="4238143"/>
                  </a:lnTo>
                  <a:lnTo>
                    <a:pt x="2313165" y="4215013"/>
                  </a:lnTo>
                  <a:close/>
                </a:path>
                <a:path w="3264534" h="4239895" extrusionOk="0">
                  <a:moveTo>
                    <a:pt x="2176750" y="4212363"/>
                  </a:moveTo>
                  <a:lnTo>
                    <a:pt x="2209341" y="4238164"/>
                  </a:lnTo>
                  <a:lnTo>
                    <a:pt x="2221052" y="4238781"/>
                  </a:lnTo>
                  <a:lnTo>
                    <a:pt x="2222120" y="4215683"/>
                  </a:lnTo>
                  <a:lnTo>
                    <a:pt x="2210732" y="4215076"/>
                  </a:lnTo>
                  <a:lnTo>
                    <a:pt x="2199372" y="4214321"/>
                  </a:lnTo>
                  <a:lnTo>
                    <a:pt x="2188044" y="4213418"/>
                  </a:lnTo>
                  <a:lnTo>
                    <a:pt x="2176750" y="4212363"/>
                  </a:lnTo>
                  <a:close/>
                </a:path>
                <a:path w="3264534" h="4239895" extrusionOk="0">
                  <a:moveTo>
                    <a:pt x="2403528" y="4204625"/>
                  </a:moveTo>
                  <a:lnTo>
                    <a:pt x="2392348" y="4206460"/>
                  </a:lnTo>
                  <a:lnTo>
                    <a:pt x="2381113" y="4208137"/>
                  </a:lnTo>
                  <a:lnTo>
                    <a:pt x="2369827" y="4209663"/>
                  </a:lnTo>
                  <a:lnTo>
                    <a:pt x="2358493" y="4211044"/>
                  </a:lnTo>
                  <a:lnTo>
                    <a:pt x="2361111" y="4234049"/>
                  </a:lnTo>
                  <a:lnTo>
                    <a:pt x="2372782" y="4232633"/>
                  </a:lnTo>
                  <a:lnTo>
                    <a:pt x="2384385" y="4231059"/>
                  </a:lnTo>
                  <a:lnTo>
                    <a:pt x="2395929" y="4229328"/>
                  </a:lnTo>
                  <a:lnTo>
                    <a:pt x="2407424" y="4227441"/>
                  </a:lnTo>
                  <a:lnTo>
                    <a:pt x="2403528" y="4204625"/>
                  </a:lnTo>
                  <a:close/>
                </a:path>
                <a:path w="3264534" h="4239895" extrusionOk="0">
                  <a:moveTo>
                    <a:pt x="2086711" y="4198385"/>
                  </a:moveTo>
                  <a:lnTo>
                    <a:pt x="2116472" y="4227622"/>
                  </a:lnTo>
                  <a:lnTo>
                    <a:pt x="2128039" y="4229504"/>
                  </a:lnTo>
                  <a:lnTo>
                    <a:pt x="2131652" y="4206583"/>
                  </a:lnTo>
                  <a:lnTo>
                    <a:pt x="2120363" y="4204759"/>
                  </a:lnTo>
                  <a:lnTo>
                    <a:pt x="2109111" y="4202786"/>
                  </a:lnTo>
                  <a:lnTo>
                    <a:pt x="2097894" y="4200663"/>
                  </a:lnTo>
                  <a:lnTo>
                    <a:pt x="2086711" y="4198385"/>
                  </a:lnTo>
                  <a:close/>
                </a:path>
                <a:path w="3264534" h="4239895" extrusionOk="0">
                  <a:moveTo>
                    <a:pt x="2492196" y="4184595"/>
                  </a:moveTo>
                  <a:lnTo>
                    <a:pt x="2481279" y="4187611"/>
                  </a:lnTo>
                  <a:lnTo>
                    <a:pt x="2470295" y="4190484"/>
                  </a:lnTo>
                  <a:lnTo>
                    <a:pt x="2459261" y="4193209"/>
                  </a:lnTo>
                  <a:lnTo>
                    <a:pt x="2448197" y="4195778"/>
                  </a:lnTo>
                  <a:lnTo>
                    <a:pt x="2453286" y="4218353"/>
                  </a:lnTo>
                  <a:lnTo>
                    <a:pt x="2464668" y="4215706"/>
                  </a:lnTo>
                  <a:lnTo>
                    <a:pt x="2475993" y="4212916"/>
                  </a:lnTo>
                  <a:lnTo>
                    <a:pt x="2487266" y="4209980"/>
                  </a:lnTo>
                  <a:lnTo>
                    <a:pt x="2498489" y="4206898"/>
                  </a:lnTo>
                  <a:lnTo>
                    <a:pt x="2492196" y="4184595"/>
                  </a:lnTo>
                  <a:close/>
                </a:path>
                <a:path w="3264534" h="4239895" extrusionOk="0">
                  <a:moveTo>
                    <a:pt x="1998745" y="4174888"/>
                  </a:moveTo>
                  <a:lnTo>
                    <a:pt x="2025134" y="4207107"/>
                  </a:lnTo>
                  <a:lnTo>
                    <a:pt x="2036409" y="4210217"/>
                  </a:lnTo>
                  <a:lnTo>
                    <a:pt x="2042398" y="4187851"/>
                  </a:lnTo>
                  <a:lnTo>
                    <a:pt x="2031415" y="4184826"/>
                  </a:lnTo>
                  <a:lnTo>
                    <a:pt x="2020481" y="4181656"/>
                  </a:lnTo>
                  <a:lnTo>
                    <a:pt x="2009593" y="4178343"/>
                  </a:lnTo>
                  <a:lnTo>
                    <a:pt x="1998745" y="4174888"/>
                  </a:lnTo>
                  <a:close/>
                </a:path>
                <a:path w="3264534" h="4239895" extrusionOk="0">
                  <a:moveTo>
                    <a:pt x="2578267" y="4155276"/>
                  </a:moveTo>
                  <a:lnTo>
                    <a:pt x="2567670" y="4159430"/>
                  </a:lnTo>
                  <a:lnTo>
                    <a:pt x="2557029" y="4163443"/>
                  </a:lnTo>
                  <a:lnTo>
                    <a:pt x="2546329" y="4167315"/>
                  </a:lnTo>
                  <a:lnTo>
                    <a:pt x="2535556" y="4171045"/>
                  </a:lnTo>
                  <a:lnTo>
                    <a:pt x="2543032" y="4192982"/>
                  </a:lnTo>
                  <a:lnTo>
                    <a:pt x="2554068" y="4189152"/>
                  </a:lnTo>
                  <a:lnTo>
                    <a:pt x="2565051" y="4185170"/>
                  </a:lnTo>
                  <a:lnTo>
                    <a:pt x="2575984" y="4181040"/>
                  </a:lnTo>
                  <a:lnTo>
                    <a:pt x="2586874" y="4176762"/>
                  </a:lnTo>
                  <a:lnTo>
                    <a:pt x="2578267" y="4155276"/>
                  </a:lnTo>
                  <a:close/>
                </a:path>
                <a:path w="3264534" h="4239895" extrusionOk="0">
                  <a:moveTo>
                    <a:pt x="1913700" y="4142292"/>
                  </a:moveTo>
                  <a:lnTo>
                    <a:pt x="1936599" y="4177076"/>
                  </a:lnTo>
                  <a:lnTo>
                    <a:pt x="1947500" y="4181338"/>
                  </a:lnTo>
                  <a:lnTo>
                    <a:pt x="1955793" y="4159705"/>
                  </a:lnTo>
                  <a:lnTo>
                    <a:pt x="1945179" y="4155543"/>
                  </a:lnTo>
                  <a:lnTo>
                    <a:pt x="1934621" y="4151254"/>
                  </a:lnTo>
                  <a:lnTo>
                    <a:pt x="1924126" y="4146837"/>
                  </a:lnTo>
                  <a:lnTo>
                    <a:pt x="1913700" y="4142292"/>
                  </a:lnTo>
                  <a:close/>
                </a:path>
                <a:path w="3264534" h="4239895" extrusionOk="0">
                  <a:moveTo>
                    <a:pt x="2661060" y="4117194"/>
                  </a:moveTo>
                  <a:lnTo>
                    <a:pt x="2650897" y="4122429"/>
                  </a:lnTo>
                  <a:lnTo>
                    <a:pt x="2640674" y="4127535"/>
                  </a:lnTo>
                  <a:lnTo>
                    <a:pt x="2630399" y="4132509"/>
                  </a:lnTo>
                  <a:lnTo>
                    <a:pt x="2620077" y="4137350"/>
                  </a:lnTo>
                  <a:lnTo>
                    <a:pt x="2629804" y="4158386"/>
                  </a:lnTo>
                  <a:lnTo>
                    <a:pt x="2640386" y="4153402"/>
                  </a:lnTo>
                  <a:lnTo>
                    <a:pt x="2650911" y="4148306"/>
                  </a:lnTo>
                  <a:lnTo>
                    <a:pt x="2661377" y="4143091"/>
                  </a:lnTo>
                  <a:lnTo>
                    <a:pt x="2671782" y="4137748"/>
                  </a:lnTo>
                  <a:lnTo>
                    <a:pt x="2661060" y="4117194"/>
                  </a:lnTo>
                  <a:close/>
                </a:path>
                <a:path w="3264534" h="4239895" extrusionOk="0">
                  <a:moveTo>
                    <a:pt x="1832541" y="4101246"/>
                  </a:moveTo>
                  <a:lnTo>
                    <a:pt x="1821054" y="4121371"/>
                  </a:lnTo>
                  <a:lnTo>
                    <a:pt x="1831254" y="4127088"/>
                  </a:lnTo>
                  <a:lnTo>
                    <a:pt x="1841497" y="4132676"/>
                  </a:lnTo>
                  <a:lnTo>
                    <a:pt x="1851801" y="4138132"/>
                  </a:lnTo>
                  <a:lnTo>
                    <a:pt x="1862184" y="4143454"/>
                  </a:lnTo>
                  <a:lnTo>
                    <a:pt x="1872634" y="4122774"/>
                  </a:lnTo>
                  <a:lnTo>
                    <a:pt x="1862519" y="4117594"/>
                  </a:lnTo>
                  <a:lnTo>
                    <a:pt x="1852465" y="4112277"/>
                  </a:lnTo>
                  <a:lnTo>
                    <a:pt x="1842473" y="4106828"/>
                  </a:lnTo>
                  <a:lnTo>
                    <a:pt x="1832541" y="4101246"/>
                  </a:lnTo>
                  <a:close/>
                </a:path>
                <a:path w="3264534" h="4239895" extrusionOk="0">
                  <a:moveTo>
                    <a:pt x="2739686" y="4070944"/>
                  </a:moveTo>
                  <a:lnTo>
                    <a:pt x="2730078" y="4077138"/>
                  </a:lnTo>
                  <a:lnTo>
                    <a:pt x="2720402" y="4083222"/>
                  </a:lnTo>
                  <a:lnTo>
                    <a:pt x="2710662" y="4089198"/>
                  </a:lnTo>
                  <a:lnTo>
                    <a:pt x="2700860" y="4095069"/>
                  </a:lnTo>
                  <a:lnTo>
                    <a:pt x="2712618" y="4115005"/>
                  </a:lnTo>
                  <a:lnTo>
                    <a:pt x="2722665" y="4109021"/>
                  </a:lnTo>
                  <a:lnTo>
                    <a:pt x="2732641" y="4102910"/>
                  </a:lnTo>
                  <a:lnTo>
                    <a:pt x="2742551" y="4096671"/>
                  </a:lnTo>
                  <a:lnTo>
                    <a:pt x="2752397" y="4090304"/>
                  </a:lnTo>
                  <a:lnTo>
                    <a:pt x="2739686" y="4070944"/>
                  </a:lnTo>
                  <a:close/>
                </a:path>
                <a:path w="3264534" h="4239895" extrusionOk="0">
                  <a:moveTo>
                    <a:pt x="1755862" y="4052400"/>
                  </a:moveTo>
                  <a:lnTo>
                    <a:pt x="1742533" y="4071321"/>
                  </a:lnTo>
                  <a:lnTo>
                    <a:pt x="1752102" y="4077989"/>
                  </a:lnTo>
                  <a:lnTo>
                    <a:pt x="1761731" y="4084535"/>
                  </a:lnTo>
                  <a:lnTo>
                    <a:pt x="1771431" y="4090963"/>
                  </a:lnTo>
                  <a:lnTo>
                    <a:pt x="1781212" y="4097278"/>
                  </a:lnTo>
                  <a:lnTo>
                    <a:pt x="1793652" y="4077739"/>
                  </a:lnTo>
                  <a:lnTo>
                    <a:pt x="1784122" y="4071579"/>
                  </a:lnTo>
                  <a:lnTo>
                    <a:pt x="1774647" y="4065301"/>
                  </a:lnTo>
                  <a:lnTo>
                    <a:pt x="1765227" y="4058908"/>
                  </a:lnTo>
                  <a:lnTo>
                    <a:pt x="1755862" y="4052400"/>
                  </a:lnTo>
                  <a:close/>
                </a:path>
                <a:path w="3264534" h="4239895" extrusionOk="0">
                  <a:moveTo>
                    <a:pt x="2813683" y="4017228"/>
                  </a:moveTo>
                  <a:lnTo>
                    <a:pt x="2804682" y="4024333"/>
                  </a:lnTo>
                  <a:lnTo>
                    <a:pt x="2795626" y="4031324"/>
                  </a:lnTo>
                  <a:lnTo>
                    <a:pt x="2786508" y="4038202"/>
                  </a:lnTo>
                  <a:lnTo>
                    <a:pt x="2777318" y="4044965"/>
                  </a:lnTo>
                  <a:lnTo>
                    <a:pt x="2790878" y="4063719"/>
                  </a:lnTo>
                  <a:lnTo>
                    <a:pt x="2800305" y="4056799"/>
                  </a:lnTo>
                  <a:lnTo>
                    <a:pt x="2809653" y="4049754"/>
                  </a:lnTo>
                  <a:lnTo>
                    <a:pt x="2818933" y="4042590"/>
                  </a:lnTo>
                  <a:lnTo>
                    <a:pt x="2828154" y="4035311"/>
                  </a:lnTo>
                  <a:lnTo>
                    <a:pt x="2813683" y="4017228"/>
                  </a:lnTo>
                  <a:close/>
                </a:path>
                <a:path w="3264534" h="4239895" extrusionOk="0">
                  <a:moveTo>
                    <a:pt x="1683854" y="3996370"/>
                  </a:moveTo>
                  <a:lnTo>
                    <a:pt x="1668797" y="4013930"/>
                  </a:lnTo>
                  <a:lnTo>
                    <a:pt x="1677751" y="4021499"/>
                  </a:lnTo>
                  <a:lnTo>
                    <a:pt x="1686761" y="4028945"/>
                  </a:lnTo>
                  <a:lnTo>
                    <a:pt x="1695836" y="4036273"/>
                  </a:lnTo>
                  <a:lnTo>
                    <a:pt x="1704984" y="4043489"/>
                  </a:lnTo>
                  <a:lnTo>
                    <a:pt x="1719235" y="4025217"/>
                  </a:lnTo>
                  <a:lnTo>
                    <a:pt x="1710279" y="4018168"/>
                  </a:lnTo>
                  <a:lnTo>
                    <a:pt x="1701403" y="4011013"/>
                  </a:lnTo>
                  <a:lnTo>
                    <a:pt x="1692598" y="4003749"/>
                  </a:lnTo>
                  <a:lnTo>
                    <a:pt x="1683854" y="3996370"/>
                  </a:lnTo>
                  <a:close/>
                </a:path>
                <a:path w="3264534" h="4239895" extrusionOk="0">
                  <a:moveTo>
                    <a:pt x="2882268" y="3957104"/>
                  </a:moveTo>
                  <a:lnTo>
                    <a:pt x="2873970" y="3964977"/>
                  </a:lnTo>
                  <a:lnTo>
                    <a:pt x="2865589" y="3972738"/>
                  </a:lnTo>
                  <a:lnTo>
                    <a:pt x="2857131" y="3980400"/>
                  </a:lnTo>
                  <a:lnTo>
                    <a:pt x="2848604" y="3987972"/>
                  </a:lnTo>
                  <a:lnTo>
                    <a:pt x="2863891" y="4005364"/>
                  </a:lnTo>
                  <a:lnTo>
                    <a:pt x="2872609" y="3997645"/>
                  </a:lnTo>
                  <a:lnTo>
                    <a:pt x="2881247" y="3989814"/>
                  </a:lnTo>
                  <a:lnTo>
                    <a:pt x="2889798" y="3981871"/>
                  </a:lnTo>
                  <a:lnTo>
                    <a:pt x="2898257" y="3973816"/>
                  </a:lnTo>
                  <a:lnTo>
                    <a:pt x="2882268" y="3957104"/>
                  </a:lnTo>
                  <a:close/>
                </a:path>
                <a:path w="3264534" h="4239895" extrusionOk="0">
                  <a:moveTo>
                    <a:pt x="1617186" y="3934005"/>
                  </a:moveTo>
                  <a:lnTo>
                    <a:pt x="1600673" y="3950225"/>
                  </a:lnTo>
                  <a:lnTo>
                    <a:pt x="1608903" y="3958549"/>
                  </a:lnTo>
                  <a:lnTo>
                    <a:pt x="1617199" y="3966762"/>
                  </a:lnTo>
                  <a:lnTo>
                    <a:pt x="1625570" y="3974864"/>
                  </a:lnTo>
                  <a:lnTo>
                    <a:pt x="1634023" y="3982852"/>
                  </a:lnTo>
                  <a:lnTo>
                    <a:pt x="1649845" y="3965921"/>
                  </a:lnTo>
                  <a:lnTo>
                    <a:pt x="1641574" y="3958102"/>
                  </a:lnTo>
                  <a:lnTo>
                    <a:pt x="1633378" y="3950179"/>
                  </a:lnTo>
                  <a:lnTo>
                    <a:pt x="1625250" y="3942148"/>
                  </a:lnTo>
                  <a:lnTo>
                    <a:pt x="1617186" y="3934005"/>
                  </a:lnTo>
                  <a:close/>
                </a:path>
                <a:path w="3264534" h="4239895" extrusionOk="0">
                  <a:moveTo>
                    <a:pt x="2945344" y="3891085"/>
                  </a:moveTo>
                  <a:lnTo>
                    <a:pt x="2937753" y="3899650"/>
                  </a:lnTo>
                  <a:lnTo>
                    <a:pt x="2930086" y="3908117"/>
                  </a:lnTo>
                  <a:lnTo>
                    <a:pt x="2922336" y="3916493"/>
                  </a:lnTo>
                  <a:lnTo>
                    <a:pt x="2914497" y="3924781"/>
                  </a:lnTo>
                  <a:lnTo>
                    <a:pt x="2931251" y="3940791"/>
                  </a:lnTo>
                  <a:lnTo>
                    <a:pt x="2939238" y="3932330"/>
                  </a:lnTo>
                  <a:lnTo>
                    <a:pt x="2947149" y="3923771"/>
                  </a:lnTo>
                  <a:lnTo>
                    <a:pt x="2954988" y="3915121"/>
                  </a:lnTo>
                  <a:lnTo>
                    <a:pt x="2962757" y="3906383"/>
                  </a:lnTo>
                  <a:lnTo>
                    <a:pt x="2945344" y="3891085"/>
                  </a:lnTo>
                  <a:close/>
                </a:path>
                <a:path w="3264534" h="4239895" extrusionOk="0">
                  <a:moveTo>
                    <a:pt x="1556214" y="3866133"/>
                  </a:moveTo>
                  <a:lnTo>
                    <a:pt x="1538330" y="3880824"/>
                  </a:lnTo>
                  <a:lnTo>
                    <a:pt x="1545813" y="3889827"/>
                  </a:lnTo>
                  <a:lnTo>
                    <a:pt x="1553385" y="3898728"/>
                  </a:lnTo>
                  <a:lnTo>
                    <a:pt x="1561042" y="3907524"/>
                  </a:lnTo>
                  <a:lnTo>
                    <a:pt x="1568779" y="3916215"/>
                  </a:lnTo>
                  <a:lnTo>
                    <a:pt x="1586014" y="3900729"/>
                  </a:lnTo>
                  <a:lnTo>
                    <a:pt x="1578460" y="3892221"/>
                  </a:lnTo>
                  <a:lnTo>
                    <a:pt x="1570973" y="3883616"/>
                  </a:lnTo>
                  <a:lnTo>
                    <a:pt x="1563556" y="3874918"/>
                  </a:lnTo>
                  <a:lnTo>
                    <a:pt x="1556214" y="3866133"/>
                  </a:lnTo>
                  <a:close/>
                </a:path>
                <a:path w="3264534" h="4239895" extrusionOk="0">
                  <a:moveTo>
                    <a:pt x="3002652" y="3819967"/>
                  </a:moveTo>
                  <a:lnTo>
                    <a:pt x="2995807" y="3829134"/>
                  </a:lnTo>
                  <a:lnTo>
                    <a:pt x="2988863" y="3838214"/>
                  </a:lnTo>
                  <a:lnTo>
                    <a:pt x="2981826" y="3847209"/>
                  </a:lnTo>
                  <a:lnTo>
                    <a:pt x="2974705" y="3856123"/>
                  </a:lnTo>
                  <a:lnTo>
                    <a:pt x="2992767" y="3870625"/>
                  </a:lnTo>
                  <a:lnTo>
                    <a:pt x="3000015" y="3861542"/>
                  </a:lnTo>
                  <a:lnTo>
                    <a:pt x="3007179" y="3852361"/>
                  </a:lnTo>
                  <a:lnTo>
                    <a:pt x="3014255" y="3843090"/>
                  </a:lnTo>
                  <a:lnTo>
                    <a:pt x="3021237" y="3833736"/>
                  </a:lnTo>
                  <a:lnTo>
                    <a:pt x="3002652" y="3819967"/>
                  </a:lnTo>
                  <a:close/>
                </a:path>
                <a:path w="3264534" h="4239895" extrusionOk="0">
                  <a:moveTo>
                    <a:pt x="1501043" y="3793298"/>
                  </a:moveTo>
                  <a:lnTo>
                    <a:pt x="1482017" y="3806512"/>
                  </a:lnTo>
                  <a:lnTo>
                    <a:pt x="1488742" y="3816081"/>
                  </a:lnTo>
                  <a:lnTo>
                    <a:pt x="1495552" y="3825562"/>
                  </a:lnTo>
                  <a:lnTo>
                    <a:pt x="1502451" y="3834956"/>
                  </a:lnTo>
                  <a:lnTo>
                    <a:pt x="1509440" y="3844259"/>
                  </a:lnTo>
                  <a:lnTo>
                    <a:pt x="1527880" y="3830281"/>
                  </a:lnTo>
                  <a:lnTo>
                    <a:pt x="1521039" y="3821167"/>
                  </a:lnTo>
                  <a:lnTo>
                    <a:pt x="1514288" y="3811966"/>
                  </a:lnTo>
                  <a:lnTo>
                    <a:pt x="1507624" y="3802676"/>
                  </a:lnTo>
                  <a:lnTo>
                    <a:pt x="1501043" y="3793298"/>
                  </a:lnTo>
                  <a:close/>
                </a:path>
                <a:path w="3264534" h="4239895" extrusionOk="0">
                  <a:moveTo>
                    <a:pt x="3053969" y="3744388"/>
                  </a:moveTo>
                  <a:lnTo>
                    <a:pt x="3047880" y="3754089"/>
                  </a:lnTo>
                  <a:lnTo>
                    <a:pt x="3041692" y="3763702"/>
                  </a:lnTo>
                  <a:lnTo>
                    <a:pt x="3035410" y="3773228"/>
                  </a:lnTo>
                  <a:lnTo>
                    <a:pt x="3029038" y="3782670"/>
                  </a:lnTo>
                  <a:lnTo>
                    <a:pt x="3048200" y="3795727"/>
                  </a:lnTo>
                  <a:lnTo>
                    <a:pt x="3054689" y="3786059"/>
                  </a:lnTo>
                  <a:lnTo>
                    <a:pt x="3061097" y="3776326"/>
                  </a:lnTo>
                  <a:lnTo>
                    <a:pt x="3067416" y="3766523"/>
                  </a:lnTo>
                  <a:lnTo>
                    <a:pt x="3073634" y="3756650"/>
                  </a:lnTo>
                  <a:lnTo>
                    <a:pt x="3053969" y="3744388"/>
                  </a:lnTo>
                  <a:close/>
                </a:path>
                <a:path w="3264534" h="4239895" extrusionOk="0">
                  <a:moveTo>
                    <a:pt x="1451851" y="3716284"/>
                  </a:moveTo>
                  <a:lnTo>
                    <a:pt x="1431862" y="3727949"/>
                  </a:lnTo>
                  <a:lnTo>
                    <a:pt x="1437782" y="3738029"/>
                  </a:lnTo>
                  <a:lnTo>
                    <a:pt x="1443814" y="3748024"/>
                  </a:lnTo>
                  <a:lnTo>
                    <a:pt x="1449941" y="3757937"/>
                  </a:lnTo>
                  <a:lnTo>
                    <a:pt x="1456144" y="3767770"/>
                  </a:lnTo>
                  <a:lnTo>
                    <a:pt x="1475661" y="3755267"/>
                  </a:lnTo>
                  <a:lnTo>
                    <a:pt x="1469579" y="3745642"/>
                  </a:lnTo>
                  <a:lnTo>
                    <a:pt x="1463575" y="3735933"/>
                  </a:lnTo>
                  <a:lnTo>
                    <a:pt x="1457662" y="3726145"/>
                  </a:lnTo>
                  <a:lnTo>
                    <a:pt x="1451851" y="3716284"/>
                  </a:lnTo>
                  <a:close/>
                </a:path>
                <a:path w="3264534" h="4239895" extrusionOk="0">
                  <a:moveTo>
                    <a:pt x="3099245" y="3665008"/>
                  </a:moveTo>
                  <a:lnTo>
                    <a:pt x="3093918" y="3675140"/>
                  </a:lnTo>
                  <a:lnTo>
                    <a:pt x="3088492" y="3685208"/>
                  </a:lnTo>
                  <a:lnTo>
                    <a:pt x="3082972" y="3695207"/>
                  </a:lnTo>
                  <a:lnTo>
                    <a:pt x="3077361" y="3705133"/>
                  </a:lnTo>
                  <a:lnTo>
                    <a:pt x="3097486" y="3716619"/>
                  </a:lnTo>
                  <a:lnTo>
                    <a:pt x="3103198" y="3706488"/>
                  </a:lnTo>
                  <a:lnTo>
                    <a:pt x="3108818" y="3696281"/>
                  </a:lnTo>
                  <a:lnTo>
                    <a:pt x="3114349" y="3686005"/>
                  </a:lnTo>
                  <a:lnTo>
                    <a:pt x="3119789" y="3675668"/>
                  </a:lnTo>
                  <a:lnTo>
                    <a:pt x="3099245" y="3665008"/>
                  </a:lnTo>
                  <a:close/>
                </a:path>
                <a:path w="3264534" h="4239895" extrusionOk="0">
                  <a:moveTo>
                    <a:pt x="1408836" y="3635637"/>
                  </a:moveTo>
                  <a:lnTo>
                    <a:pt x="1387978" y="3645710"/>
                  </a:lnTo>
                  <a:lnTo>
                    <a:pt x="1393122" y="3656208"/>
                  </a:lnTo>
                  <a:lnTo>
                    <a:pt x="1398359" y="3666637"/>
                  </a:lnTo>
                  <a:lnTo>
                    <a:pt x="1403688" y="3676995"/>
                  </a:lnTo>
                  <a:lnTo>
                    <a:pt x="1409108" y="3687280"/>
                  </a:lnTo>
                  <a:lnTo>
                    <a:pt x="1429548" y="3676380"/>
                  </a:lnTo>
                  <a:lnTo>
                    <a:pt x="1424234" y="3666296"/>
                  </a:lnTo>
                  <a:lnTo>
                    <a:pt x="1419007" y="3656146"/>
                  </a:lnTo>
                  <a:lnTo>
                    <a:pt x="1413873" y="3645928"/>
                  </a:lnTo>
                  <a:lnTo>
                    <a:pt x="1408836" y="3635637"/>
                  </a:lnTo>
                  <a:close/>
                </a:path>
                <a:path w="3264534" h="4239895" extrusionOk="0">
                  <a:moveTo>
                    <a:pt x="3138291" y="3582341"/>
                  </a:moveTo>
                  <a:lnTo>
                    <a:pt x="3133758" y="3592847"/>
                  </a:lnTo>
                  <a:lnTo>
                    <a:pt x="3129118" y="3603301"/>
                  </a:lnTo>
                  <a:lnTo>
                    <a:pt x="3124381" y="3613695"/>
                  </a:lnTo>
                  <a:lnTo>
                    <a:pt x="3119559" y="3624025"/>
                  </a:lnTo>
                  <a:lnTo>
                    <a:pt x="3140459" y="3633952"/>
                  </a:lnTo>
                  <a:lnTo>
                    <a:pt x="3145386" y="3623409"/>
                  </a:lnTo>
                  <a:lnTo>
                    <a:pt x="3150220" y="3612800"/>
                  </a:lnTo>
                  <a:lnTo>
                    <a:pt x="3154957" y="3602129"/>
                  </a:lnTo>
                  <a:lnTo>
                    <a:pt x="3159589" y="3591398"/>
                  </a:lnTo>
                  <a:lnTo>
                    <a:pt x="3138291" y="3582341"/>
                  </a:lnTo>
                  <a:close/>
                </a:path>
                <a:path w="3264534" h="4239895" extrusionOk="0">
                  <a:moveTo>
                    <a:pt x="1371968" y="3551923"/>
                  </a:moveTo>
                  <a:lnTo>
                    <a:pt x="1350440" y="3560467"/>
                  </a:lnTo>
                  <a:lnTo>
                    <a:pt x="1354801" y="3571313"/>
                  </a:lnTo>
                  <a:lnTo>
                    <a:pt x="1359254" y="3582095"/>
                  </a:lnTo>
                  <a:lnTo>
                    <a:pt x="1363789" y="3592805"/>
                  </a:lnTo>
                  <a:lnTo>
                    <a:pt x="1368398" y="3603440"/>
                  </a:lnTo>
                  <a:lnTo>
                    <a:pt x="1389612" y="3594131"/>
                  </a:lnTo>
                  <a:lnTo>
                    <a:pt x="1385064" y="3583666"/>
                  </a:lnTo>
                  <a:lnTo>
                    <a:pt x="1380609" y="3573145"/>
                  </a:lnTo>
                  <a:lnTo>
                    <a:pt x="1376245" y="3562564"/>
                  </a:lnTo>
                  <a:lnTo>
                    <a:pt x="1371968" y="3551923"/>
                  </a:lnTo>
                  <a:close/>
                </a:path>
                <a:path w="3264534" h="4239895" extrusionOk="0">
                  <a:moveTo>
                    <a:pt x="3171180" y="3496961"/>
                  </a:moveTo>
                  <a:lnTo>
                    <a:pt x="3167387" y="3507786"/>
                  </a:lnTo>
                  <a:lnTo>
                    <a:pt x="3163504" y="3518559"/>
                  </a:lnTo>
                  <a:lnTo>
                    <a:pt x="3159541" y="3529286"/>
                  </a:lnTo>
                  <a:lnTo>
                    <a:pt x="3155506" y="3539975"/>
                  </a:lnTo>
                  <a:lnTo>
                    <a:pt x="3177138" y="3548237"/>
                  </a:lnTo>
                  <a:lnTo>
                    <a:pt x="3181249" y="3537379"/>
                  </a:lnTo>
                  <a:lnTo>
                    <a:pt x="3185273" y="3526465"/>
                  </a:lnTo>
                  <a:lnTo>
                    <a:pt x="3189208" y="3515501"/>
                  </a:lnTo>
                  <a:lnTo>
                    <a:pt x="3193054" y="3504490"/>
                  </a:lnTo>
                  <a:lnTo>
                    <a:pt x="3171180" y="3496961"/>
                  </a:lnTo>
                  <a:close/>
                </a:path>
                <a:path w="3264534" h="4239895" extrusionOk="0">
                  <a:moveTo>
                    <a:pt x="1341393" y="3465726"/>
                  </a:moveTo>
                  <a:lnTo>
                    <a:pt x="1319300" y="3472700"/>
                  </a:lnTo>
                  <a:lnTo>
                    <a:pt x="1322860" y="3483840"/>
                  </a:lnTo>
                  <a:lnTo>
                    <a:pt x="1326510" y="3494913"/>
                  </a:lnTo>
                  <a:lnTo>
                    <a:pt x="1330256" y="3505920"/>
                  </a:lnTo>
                  <a:lnTo>
                    <a:pt x="1334105" y="3516866"/>
                  </a:lnTo>
                  <a:lnTo>
                    <a:pt x="1355885" y="3509139"/>
                  </a:lnTo>
                  <a:lnTo>
                    <a:pt x="1352144" y="3498355"/>
                  </a:lnTo>
                  <a:lnTo>
                    <a:pt x="1348478" y="3487531"/>
                  </a:lnTo>
                  <a:lnTo>
                    <a:pt x="1344893" y="3476658"/>
                  </a:lnTo>
                  <a:lnTo>
                    <a:pt x="1341393" y="3465726"/>
                  </a:lnTo>
                  <a:close/>
                </a:path>
                <a:path w="3264534" h="4239895" extrusionOk="0">
                  <a:moveTo>
                    <a:pt x="3197693" y="3409445"/>
                  </a:moveTo>
                  <a:lnTo>
                    <a:pt x="3194713" y="3420513"/>
                  </a:lnTo>
                  <a:lnTo>
                    <a:pt x="3191624" y="3431546"/>
                  </a:lnTo>
                  <a:lnTo>
                    <a:pt x="3188438" y="3442533"/>
                  </a:lnTo>
                  <a:lnTo>
                    <a:pt x="3185170" y="3453465"/>
                  </a:lnTo>
                  <a:lnTo>
                    <a:pt x="3207357" y="3460156"/>
                  </a:lnTo>
                  <a:lnTo>
                    <a:pt x="3210670" y="3449028"/>
                  </a:lnTo>
                  <a:lnTo>
                    <a:pt x="3213895" y="3437853"/>
                  </a:lnTo>
                  <a:lnTo>
                    <a:pt x="3217024" y="3426631"/>
                  </a:lnTo>
                  <a:lnTo>
                    <a:pt x="3220048" y="3415361"/>
                  </a:lnTo>
                  <a:lnTo>
                    <a:pt x="3197693" y="3409445"/>
                  </a:lnTo>
                  <a:close/>
                </a:path>
                <a:path w="3264534" h="4239895" extrusionOk="0">
                  <a:moveTo>
                    <a:pt x="1317101" y="3377530"/>
                  </a:moveTo>
                  <a:lnTo>
                    <a:pt x="1294599" y="3382902"/>
                  </a:lnTo>
                  <a:lnTo>
                    <a:pt x="1297337" y="3394259"/>
                  </a:lnTo>
                  <a:lnTo>
                    <a:pt x="1300176" y="3405567"/>
                  </a:lnTo>
                  <a:lnTo>
                    <a:pt x="1303111" y="3416823"/>
                  </a:lnTo>
                  <a:lnTo>
                    <a:pt x="1306138" y="3428021"/>
                  </a:lnTo>
                  <a:lnTo>
                    <a:pt x="1328483" y="3421885"/>
                  </a:lnTo>
                  <a:lnTo>
                    <a:pt x="1325488" y="3410873"/>
                  </a:lnTo>
                  <a:lnTo>
                    <a:pt x="1322603" y="3399817"/>
                  </a:lnTo>
                  <a:lnTo>
                    <a:pt x="1319813" y="3388707"/>
                  </a:lnTo>
                  <a:lnTo>
                    <a:pt x="1317101" y="3377530"/>
                  </a:lnTo>
                  <a:close/>
                </a:path>
                <a:path w="3264534" h="4239895" extrusionOk="0">
                  <a:moveTo>
                    <a:pt x="3217933" y="3320202"/>
                  </a:moveTo>
                  <a:lnTo>
                    <a:pt x="3215725" y="3331448"/>
                  </a:lnTo>
                  <a:lnTo>
                    <a:pt x="3213427" y="3342661"/>
                  </a:lnTo>
                  <a:lnTo>
                    <a:pt x="3211043" y="3353841"/>
                  </a:lnTo>
                  <a:lnTo>
                    <a:pt x="3208582" y="3364986"/>
                  </a:lnTo>
                  <a:lnTo>
                    <a:pt x="3231147" y="3370085"/>
                  </a:lnTo>
                  <a:lnTo>
                    <a:pt x="3233675" y="3358775"/>
                  </a:lnTo>
                  <a:lnTo>
                    <a:pt x="3236108" y="3347412"/>
                  </a:lnTo>
                  <a:lnTo>
                    <a:pt x="3238451" y="3335996"/>
                  </a:lnTo>
                  <a:lnTo>
                    <a:pt x="3240707" y="3324527"/>
                  </a:lnTo>
                  <a:lnTo>
                    <a:pt x="3217933" y="3320202"/>
                  </a:lnTo>
                  <a:close/>
                </a:path>
                <a:path w="3264534" h="4239895" extrusionOk="0">
                  <a:moveTo>
                    <a:pt x="1299133" y="3287847"/>
                  </a:moveTo>
                  <a:lnTo>
                    <a:pt x="1276317" y="3291596"/>
                  </a:lnTo>
                  <a:lnTo>
                    <a:pt x="1278251" y="3303134"/>
                  </a:lnTo>
                  <a:lnTo>
                    <a:pt x="1280283" y="3314617"/>
                  </a:lnTo>
                  <a:lnTo>
                    <a:pt x="1282413" y="3326047"/>
                  </a:lnTo>
                  <a:lnTo>
                    <a:pt x="1284641" y="3337427"/>
                  </a:lnTo>
                  <a:lnTo>
                    <a:pt x="1307342" y="3332851"/>
                  </a:lnTo>
                  <a:lnTo>
                    <a:pt x="1305149" y="3321658"/>
                  </a:lnTo>
                  <a:lnTo>
                    <a:pt x="1303049" y="3310427"/>
                  </a:lnTo>
                  <a:lnTo>
                    <a:pt x="1301043" y="3299158"/>
                  </a:lnTo>
                  <a:lnTo>
                    <a:pt x="1299133" y="3287847"/>
                  </a:lnTo>
                  <a:close/>
                </a:path>
                <a:path w="3264534" h="4239895" extrusionOk="0">
                  <a:moveTo>
                    <a:pt x="3231880" y="3229786"/>
                  </a:moveTo>
                  <a:lnTo>
                    <a:pt x="3230474" y="3241189"/>
                  </a:lnTo>
                  <a:lnTo>
                    <a:pt x="3228965" y="3252546"/>
                  </a:lnTo>
                  <a:lnTo>
                    <a:pt x="3227364" y="3263857"/>
                  </a:lnTo>
                  <a:lnTo>
                    <a:pt x="3225681" y="3275125"/>
                  </a:lnTo>
                  <a:lnTo>
                    <a:pt x="3248571" y="3278664"/>
                  </a:lnTo>
                  <a:lnTo>
                    <a:pt x="3250293" y="3267190"/>
                  </a:lnTo>
                  <a:lnTo>
                    <a:pt x="3251921" y="3255674"/>
                  </a:lnTo>
                  <a:lnTo>
                    <a:pt x="3253448" y="3244124"/>
                  </a:lnTo>
                  <a:lnTo>
                    <a:pt x="3254864" y="3232550"/>
                  </a:lnTo>
                  <a:lnTo>
                    <a:pt x="3231880" y="3229786"/>
                  </a:lnTo>
                  <a:close/>
                </a:path>
                <a:path w="3264534" h="4239895" extrusionOk="0">
                  <a:moveTo>
                    <a:pt x="1287426" y="3197096"/>
                  </a:moveTo>
                  <a:lnTo>
                    <a:pt x="1264359" y="3199284"/>
                  </a:lnTo>
                  <a:lnTo>
                    <a:pt x="1265514" y="3210917"/>
                  </a:lnTo>
                  <a:lnTo>
                    <a:pt x="1266746" y="3222509"/>
                  </a:lnTo>
                  <a:lnTo>
                    <a:pt x="1268072" y="3234061"/>
                  </a:lnTo>
                  <a:lnTo>
                    <a:pt x="1269511" y="3245576"/>
                  </a:lnTo>
                  <a:lnTo>
                    <a:pt x="1292505" y="3242592"/>
                  </a:lnTo>
                  <a:lnTo>
                    <a:pt x="1291084" y="3231282"/>
                  </a:lnTo>
                  <a:lnTo>
                    <a:pt x="1289769" y="3219926"/>
                  </a:lnTo>
                  <a:lnTo>
                    <a:pt x="1288553" y="3208529"/>
                  </a:lnTo>
                  <a:lnTo>
                    <a:pt x="1287426" y="3197096"/>
                  </a:lnTo>
                  <a:close/>
                </a:path>
                <a:path w="3264534" h="4239895" extrusionOk="0">
                  <a:moveTo>
                    <a:pt x="3239587" y="3138606"/>
                  </a:moveTo>
                  <a:lnTo>
                    <a:pt x="3238880" y="3151405"/>
                  </a:lnTo>
                  <a:lnTo>
                    <a:pt x="3238252" y="3161487"/>
                  </a:lnTo>
                  <a:lnTo>
                    <a:pt x="3237446" y="3172885"/>
                  </a:lnTo>
                  <a:lnTo>
                    <a:pt x="3236540" y="3184259"/>
                  </a:lnTo>
                  <a:lnTo>
                    <a:pt x="3259597" y="3186227"/>
                  </a:lnTo>
                  <a:lnTo>
                    <a:pt x="3260533" y="3174647"/>
                  </a:lnTo>
                  <a:lnTo>
                    <a:pt x="3261366" y="3163041"/>
                  </a:lnTo>
                  <a:lnTo>
                    <a:pt x="3262097" y="3151405"/>
                  </a:lnTo>
                  <a:lnTo>
                    <a:pt x="3262727" y="3139736"/>
                  </a:lnTo>
                  <a:lnTo>
                    <a:pt x="3239587" y="3138606"/>
                  </a:lnTo>
                  <a:close/>
                </a:path>
                <a:path w="3264534" h="4239895" extrusionOk="0">
                  <a:moveTo>
                    <a:pt x="1281950" y="3105769"/>
                  </a:moveTo>
                  <a:lnTo>
                    <a:pt x="1258799" y="3106376"/>
                  </a:lnTo>
                  <a:lnTo>
                    <a:pt x="1259153" y="3118039"/>
                  </a:lnTo>
                  <a:lnTo>
                    <a:pt x="1259605" y="3129684"/>
                  </a:lnTo>
                  <a:lnTo>
                    <a:pt x="1260159" y="3141306"/>
                  </a:lnTo>
                  <a:lnTo>
                    <a:pt x="1260820" y="3152898"/>
                  </a:lnTo>
                  <a:lnTo>
                    <a:pt x="1283960" y="3151474"/>
                  </a:lnTo>
                  <a:lnTo>
                    <a:pt x="1283299" y="3140099"/>
                  </a:lnTo>
                  <a:lnTo>
                    <a:pt x="1282751" y="3128688"/>
                  </a:lnTo>
                  <a:lnTo>
                    <a:pt x="1282305" y="3117244"/>
                  </a:lnTo>
                  <a:lnTo>
                    <a:pt x="1281950" y="3105769"/>
                  </a:lnTo>
                  <a:close/>
                </a:path>
                <a:path w="3264534" h="4239895" extrusionOk="0">
                  <a:moveTo>
                    <a:pt x="3264466" y="3046901"/>
                  </a:moveTo>
                  <a:lnTo>
                    <a:pt x="3241325" y="3046901"/>
                  </a:lnTo>
                  <a:lnTo>
                    <a:pt x="3241241" y="3085340"/>
                  </a:lnTo>
                  <a:lnTo>
                    <a:pt x="3241136" y="3092890"/>
                  </a:lnTo>
                  <a:lnTo>
                    <a:pt x="3264308" y="3093267"/>
                  </a:lnTo>
                  <a:lnTo>
                    <a:pt x="3264389" y="3085340"/>
                  </a:lnTo>
                  <a:lnTo>
                    <a:pt x="3264466" y="3046901"/>
                  </a:lnTo>
                  <a:close/>
                </a:path>
                <a:path w="3264534" h="4239895" extrusionOk="0">
                  <a:moveTo>
                    <a:pt x="1281510" y="3013740"/>
                  </a:moveTo>
                  <a:lnTo>
                    <a:pt x="1258328" y="3013740"/>
                  </a:lnTo>
                  <a:lnTo>
                    <a:pt x="1258328" y="3059896"/>
                  </a:lnTo>
                  <a:lnTo>
                    <a:pt x="1281510" y="3059896"/>
                  </a:lnTo>
                  <a:lnTo>
                    <a:pt x="1281510" y="3013740"/>
                  </a:lnTo>
                  <a:close/>
                </a:path>
                <a:path w="3264534" h="4239895" extrusionOk="0">
                  <a:moveTo>
                    <a:pt x="3264476" y="2954569"/>
                  </a:moveTo>
                  <a:lnTo>
                    <a:pt x="3241325" y="2954569"/>
                  </a:lnTo>
                  <a:lnTo>
                    <a:pt x="3241325" y="3000756"/>
                  </a:lnTo>
                  <a:lnTo>
                    <a:pt x="3264476" y="3000756"/>
                  </a:lnTo>
                  <a:lnTo>
                    <a:pt x="3264476" y="2954569"/>
                  </a:lnTo>
                  <a:close/>
                </a:path>
                <a:path w="3264534" h="4239895" extrusionOk="0">
                  <a:moveTo>
                    <a:pt x="1281510" y="2921397"/>
                  </a:moveTo>
                  <a:lnTo>
                    <a:pt x="1258328" y="2921397"/>
                  </a:lnTo>
                  <a:lnTo>
                    <a:pt x="1258328" y="2967585"/>
                  </a:lnTo>
                  <a:lnTo>
                    <a:pt x="1281510" y="2967585"/>
                  </a:lnTo>
                  <a:lnTo>
                    <a:pt x="1281510" y="2921397"/>
                  </a:lnTo>
                  <a:close/>
                </a:path>
                <a:path w="3264534" h="4239895" extrusionOk="0">
                  <a:moveTo>
                    <a:pt x="3264476" y="2862216"/>
                  </a:moveTo>
                  <a:lnTo>
                    <a:pt x="3241325" y="2862216"/>
                  </a:lnTo>
                  <a:lnTo>
                    <a:pt x="3241325" y="2908372"/>
                  </a:lnTo>
                  <a:lnTo>
                    <a:pt x="3264476" y="2908372"/>
                  </a:lnTo>
                  <a:lnTo>
                    <a:pt x="3264476" y="2862216"/>
                  </a:lnTo>
                  <a:close/>
                </a:path>
                <a:path w="3264534" h="4239895" extrusionOk="0">
                  <a:moveTo>
                    <a:pt x="1281510" y="2829065"/>
                  </a:moveTo>
                  <a:lnTo>
                    <a:pt x="1258328" y="2829065"/>
                  </a:lnTo>
                  <a:lnTo>
                    <a:pt x="1258328" y="2875231"/>
                  </a:lnTo>
                  <a:lnTo>
                    <a:pt x="1281510" y="2875231"/>
                  </a:lnTo>
                  <a:lnTo>
                    <a:pt x="1281510" y="2829065"/>
                  </a:lnTo>
                  <a:close/>
                </a:path>
                <a:path w="3264534" h="4239895" extrusionOk="0">
                  <a:moveTo>
                    <a:pt x="3264476" y="2769905"/>
                  </a:moveTo>
                  <a:lnTo>
                    <a:pt x="3241325" y="2769905"/>
                  </a:lnTo>
                  <a:lnTo>
                    <a:pt x="3241325" y="2816071"/>
                  </a:lnTo>
                  <a:lnTo>
                    <a:pt x="3264476" y="2816071"/>
                  </a:lnTo>
                  <a:lnTo>
                    <a:pt x="3264476" y="2769905"/>
                  </a:lnTo>
                  <a:close/>
                </a:path>
                <a:path w="3264534" h="4239895" extrusionOk="0">
                  <a:moveTo>
                    <a:pt x="1281510" y="2736743"/>
                  </a:moveTo>
                  <a:lnTo>
                    <a:pt x="1258328" y="2736743"/>
                  </a:lnTo>
                  <a:lnTo>
                    <a:pt x="1258328" y="2782920"/>
                  </a:lnTo>
                  <a:lnTo>
                    <a:pt x="1281510" y="2782920"/>
                  </a:lnTo>
                  <a:lnTo>
                    <a:pt x="1281510" y="2736743"/>
                  </a:lnTo>
                  <a:close/>
                </a:path>
                <a:path w="3264534" h="4239895" extrusionOk="0">
                  <a:moveTo>
                    <a:pt x="3264476" y="2677583"/>
                  </a:moveTo>
                  <a:lnTo>
                    <a:pt x="3241325" y="2677583"/>
                  </a:lnTo>
                  <a:lnTo>
                    <a:pt x="3241325" y="2723749"/>
                  </a:lnTo>
                  <a:lnTo>
                    <a:pt x="3264476" y="2723749"/>
                  </a:lnTo>
                  <a:lnTo>
                    <a:pt x="3264476" y="2677583"/>
                  </a:lnTo>
                  <a:close/>
                </a:path>
                <a:path w="3264534" h="4239895" extrusionOk="0">
                  <a:moveTo>
                    <a:pt x="1281510" y="2644390"/>
                  </a:moveTo>
                  <a:lnTo>
                    <a:pt x="1258328" y="2644390"/>
                  </a:lnTo>
                  <a:lnTo>
                    <a:pt x="1258328" y="2690598"/>
                  </a:lnTo>
                  <a:lnTo>
                    <a:pt x="1281510" y="2690598"/>
                  </a:lnTo>
                  <a:lnTo>
                    <a:pt x="1281510" y="2644390"/>
                  </a:lnTo>
                  <a:close/>
                </a:path>
                <a:path w="3264534" h="4239895" extrusionOk="0">
                  <a:moveTo>
                    <a:pt x="3264476" y="2585230"/>
                  </a:moveTo>
                  <a:lnTo>
                    <a:pt x="3241325" y="2585230"/>
                  </a:lnTo>
                  <a:lnTo>
                    <a:pt x="3241325" y="2631438"/>
                  </a:lnTo>
                  <a:lnTo>
                    <a:pt x="3264476" y="2631438"/>
                  </a:lnTo>
                  <a:lnTo>
                    <a:pt x="3264476" y="2585230"/>
                  </a:lnTo>
                  <a:close/>
                </a:path>
                <a:path w="3264534" h="4239895" extrusionOk="0">
                  <a:moveTo>
                    <a:pt x="1281510" y="2552079"/>
                  </a:moveTo>
                  <a:lnTo>
                    <a:pt x="1258328" y="2552079"/>
                  </a:lnTo>
                  <a:lnTo>
                    <a:pt x="1258328" y="2598255"/>
                  </a:lnTo>
                  <a:lnTo>
                    <a:pt x="1281510" y="2598255"/>
                  </a:lnTo>
                  <a:lnTo>
                    <a:pt x="1281510" y="2552079"/>
                  </a:lnTo>
                  <a:close/>
                </a:path>
                <a:path w="3264534" h="4239895" extrusionOk="0">
                  <a:moveTo>
                    <a:pt x="3264476" y="2492908"/>
                  </a:moveTo>
                  <a:lnTo>
                    <a:pt x="3241325" y="2492908"/>
                  </a:lnTo>
                  <a:lnTo>
                    <a:pt x="3241325" y="2539084"/>
                  </a:lnTo>
                  <a:lnTo>
                    <a:pt x="3264476" y="2539084"/>
                  </a:lnTo>
                  <a:lnTo>
                    <a:pt x="3264476" y="2492908"/>
                  </a:lnTo>
                  <a:close/>
                </a:path>
                <a:path w="3264534" h="4239895" extrusionOk="0">
                  <a:moveTo>
                    <a:pt x="1281510" y="2459747"/>
                  </a:moveTo>
                  <a:lnTo>
                    <a:pt x="1258328" y="2459747"/>
                  </a:lnTo>
                  <a:lnTo>
                    <a:pt x="1258328" y="2505934"/>
                  </a:lnTo>
                  <a:lnTo>
                    <a:pt x="1281510" y="2505934"/>
                  </a:lnTo>
                  <a:lnTo>
                    <a:pt x="1281510" y="2459747"/>
                  </a:lnTo>
                  <a:close/>
                </a:path>
                <a:path w="3264534" h="4239895" extrusionOk="0">
                  <a:moveTo>
                    <a:pt x="3264476" y="2400597"/>
                  </a:moveTo>
                  <a:lnTo>
                    <a:pt x="3241325" y="2400597"/>
                  </a:lnTo>
                  <a:lnTo>
                    <a:pt x="3241325" y="2446773"/>
                  </a:lnTo>
                  <a:lnTo>
                    <a:pt x="3264476" y="2446773"/>
                  </a:lnTo>
                  <a:lnTo>
                    <a:pt x="3264476" y="2400597"/>
                  </a:lnTo>
                  <a:close/>
                </a:path>
                <a:path w="3264534" h="4239895" extrusionOk="0">
                  <a:moveTo>
                    <a:pt x="1281510" y="2367435"/>
                  </a:moveTo>
                  <a:lnTo>
                    <a:pt x="1258328" y="2367435"/>
                  </a:lnTo>
                  <a:lnTo>
                    <a:pt x="1258328" y="2413591"/>
                  </a:lnTo>
                  <a:lnTo>
                    <a:pt x="1281510" y="2413591"/>
                  </a:lnTo>
                  <a:lnTo>
                    <a:pt x="1281510" y="2367435"/>
                  </a:lnTo>
                  <a:close/>
                </a:path>
                <a:path w="3264534" h="4239895" extrusionOk="0">
                  <a:moveTo>
                    <a:pt x="3264476" y="2308254"/>
                  </a:moveTo>
                  <a:lnTo>
                    <a:pt x="3241325" y="2308254"/>
                  </a:lnTo>
                  <a:lnTo>
                    <a:pt x="3241325" y="2354420"/>
                  </a:lnTo>
                  <a:lnTo>
                    <a:pt x="3264476" y="2354420"/>
                  </a:lnTo>
                  <a:lnTo>
                    <a:pt x="3264476" y="2308254"/>
                  </a:lnTo>
                  <a:close/>
                </a:path>
                <a:path w="3264534" h="4239895" extrusionOk="0">
                  <a:moveTo>
                    <a:pt x="1281510" y="2275082"/>
                  </a:moveTo>
                  <a:lnTo>
                    <a:pt x="1258328" y="2275082"/>
                  </a:lnTo>
                  <a:lnTo>
                    <a:pt x="1258328" y="2321269"/>
                  </a:lnTo>
                  <a:lnTo>
                    <a:pt x="1281510" y="2321269"/>
                  </a:lnTo>
                  <a:lnTo>
                    <a:pt x="1281510" y="2275082"/>
                  </a:lnTo>
                  <a:close/>
                </a:path>
                <a:path w="3264534" h="4239895" extrusionOk="0">
                  <a:moveTo>
                    <a:pt x="3264476" y="2215932"/>
                  </a:moveTo>
                  <a:lnTo>
                    <a:pt x="3241325" y="2215932"/>
                  </a:lnTo>
                  <a:lnTo>
                    <a:pt x="3241325" y="2262077"/>
                  </a:lnTo>
                  <a:lnTo>
                    <a:pt x="3264476" y="2262077"/>
                  </a:lnTo>
                  <a:lnTo>
                    <a:pt x="3264476" y="2215932"/>
                  </a:lnTo>
                  <a:close/>
                </a:path>
                <a:path w="3264534" h="4239895" extrusionOk="0">
                  <a:moveTo>
                    <a:pt x="1281510" y="2182771"/>
                  </a:moveTo>
                  <a:lnTo>
                    <a:pt x="1258328" y="2182771"/>
                  </a:lnTo>
                  <a:lnTo>
                    <a:pt x="1258328" y="2228926"/>
                  </a:lnTo>
                  <a:lnTo>
                    <a:pt x="1281510" y="2228926"/>
                  </a:lnTo>
                  <a:lnTo>
                    <a:pt x="1281510" y="2182771"/>
                  </a:lnTo>
                  <a:close/>
                </a:path>
                <a:path w="3264534" h="4239895" extrusionOk="0">
                  <a:moveTo>
                    <a:pt x="3264476" y="2123600"/>
                  </a:moveTo>
                  <a:lnTo>
                    <a:pt x="3241325" y="2123600"/>
                  </a:lnTo>
                  <a:lnTo>
                    <a:pt x="3241325" y="2169755"/>
                  </a:lnTo>
                  <a:lnTo>
                    <a:pt x="3264476" y="2169755"/>
                  </a:lnTo>
                  <a:lnTo>
                    <a:pt x="3264476" y="2123600"/>
                  </a:lnTo>
                  <a:close/>
                </a:path>
                <a:path w="3264534" h="4239895" extrusionOk="0">
                  <a:moveTo>
                    <a:pt x="1281510" y="2090459"/>
                  </a:moveTo>
                  <a:lnTo>
                    <a:pt x="1258328" y="2090459"/>
                  </a:lnTo>
                  <a:lnTo>
                    <a:pt x="1258328" y="2136605"/>
                  </a:lnTo>
                  <a:lnTo>
                    <a:pt x="1281510" y="2136605"/>
                  </a:lnTo>
                  <a:lnTo>
                    <a:pt x="1281510" y="2090459"/>
                  </a:lnTo>
                  <a:close/>
                </a:path>
                <a:path w="3264534" h="4239895" extrusionOk="0">
                  <a:moveTo>
                    <a:pt x="3264476" y="2031247"/>
                  </a:moveTo>
                  <a:lnTo>
                    <a:pt x="3241325" y="2031247"/>
                  </a:lnTo>
                  <a:lnTo>
                    <a:pt x="3241325" y="2077444"/>
                  </a:lnTo>
                  <a:lnTo>
                    <a:pt x="3264476" y="2077444"/>
                  </a:lnTo>
                  <a:lnTo>
                    <a:pt x="3264476" y="2031247"/>
                  </a:lnTo>
                  <a:close/>
                </a:path>
                <a:path w="3264534" h="4239895" extrusionOk="0">
                  <a:moveTo>
                    <a:pt x="1281510" y="1998085"/>
                  </a:moveTo>
                  <a:lnTo>
                    <a:pt x="1258328" y="1998085"/>
                  </a:lnTo>
                  <a:lnTo>
                    <a:pt x="1258328" y="2044262"/>
                  </a:lnTo>
                  <a:lnTo>
                    <a:pt x="1281510" y="2044262"/>
                  </a:lnTo>
                  <a:lnTo>
                    <a:pt x="1281510" y="1998085"/>
                  </a:lnTo>
                  <a:close/>
                </a:path>
                <a:path w="3264534" h="4239895" extrusionOk="0">
                  <a:moveTo>
                    <a:pt x="3264476" y="1938935"/>
                  </a:moveTo>
                  <a:lnTo>
                    <a:pt x="3241325" y="1938935"/>
                  </a:lnTo>
                  <a:lnTo>
                    <a:pt x="3241325" y="1985091"/>
                  </a:lnTo>
                  <a:lnTo>
                    <a:pt x="3264476" y="1985091"/>
                  </a:lnTo>
                  <a:lnTo>
                    <a:pt x="3264476" y="1938935"/>
                  </a:lnTo>
                  <a:close/>
                </a:path>
                <a:path w="3264534" h="4239895" extrusionOk="0">
                  <a:moveTo>
                    <a:pt x="1281510" y="1905774"/>
                  </a:moveTo>
                  <a:lnTo>
                    <a:pt x="1258328" y="1905774"/>
                  </a:lnTo>
                  <a:lnTo>
                    <a:pt x="1258328" y="1951940"/>
                  </a:lnTo>
                  <a:lnTo>
                    <a:pt x="1281510" y="1951940"/>
                  </a:lnTo>
                  <a:lnTo>
                    <a:pt x="1281510" y="1905774"/>
                  </a:lnTo>
                  <a:close/>
                </a:path>
                <a:path w="3264534" h="4239895" extrusionOk="0">
                  <a:moveTo>
                    <a:pt x="3264476" y="1846603"/>
                  </a:moveTo>
                  <a:lnTo>
                    <a:pt x="3241325" y="1846603"/>
                  </a:lnTo>
                  <a:lnTo>
                    <a:pt x="3241325" y="1892780"/>
                  </a:lnTo>
                  <a:lnTo>
                    <a:pt x="3264476" y="1892780"/>
                  </a:lnTo>
                  <a:lnTo>
                    <a:pt x="3264476" y="1846603"/>
                  </a:lnTo>
                  <a:close/>
                </a:path>
                <a:path w="3264534" h="4239895" extrusionOk="0">
                  <a:moveTo>
                    <a:pt x="1281510" y="1813452"/>
                  </a:moveTo>
                  <a:lnTo>
                    <a:pt x="1258328" y="1813452"/>
                  </a:lnTo>
                  <a:lnTo>
                    <a:pt x="1258328" y="1859629"/>
                  </a:lnTo>
                  <a:lnTo>
                    <a:pt x="1281510" y="1859629"/>
                  </a:lnTo>
                  <a:lnTo>
                    <a:pt x="1281510" y="1813452"/>
                  </a:lnTo>
                  <a:close/>
                </a:path>
                <a:path w="3264534" h="4239895" extrusionOk="0">
                  <a:moveTo>
                    <a:pt x="3264476" y="1754292"/>
                  </a:moveTo>
                  <a:lnTo>
                    <a:pt x="3241325" y="1754292"/>
                  </a:lnTo>
                  <a:lnTo>
                    <a:pt x="3241325" y="1800458"/>
                  </a:lnTo>
                  <a:lnTo>
                    <a:pt x="3264476" y="1800458"/>
                  </a:lnTo>
                  <a:lnTo>
                    <a:pt x="3264476" y="1754292"/>
                  </a:lnTo>
                  <a:close/>
                </a:path>
                <a:path w="3264534" h="4239895" extrusionOk="0">
                  <a:moveTo>
                    <a:pt x="1281510" y="1721109"/>
                  </a:moveTo>
                  <a:lnTo>
                    <a:pt x="1258328" y="1721109"/>
                  </a:lnTo>
                  <a:lnTo>
                    <a:pt x="1258328" y="1767296"/>
                  </a:lnTo>
                  <a:lnTo>
                    <a:pt x="1281510" y="1767296"/>
                  </a:lnTo>
                  <a:lnTo>
                    <a:pt x="1281510" y="1721109"/>
                  </a:lnTo>
                  <a:close/>
                </a:path>
                <a:path w="3264534" h="4239895" extrusionOk="0">
                  <a:moveTo>
                    <a:pt x="3264476" y="1661938"/>
                  </a:moveTo>
                  <a:lnTo>
                    <a:pt x="3241325" y="1661938"/>
                  </a:lnTo>
                  <a:lnTo>
                    <a:pt x="3241325" y="1708115"/>
                  </a:lnTo>
                  <a:lnTo>
                    <a:pt x="3264476" y="1708115"/>
                  </a:lnTo>
                  <a:lnTo>
                    <a:pt x="3264476" y="1661938"/>
                  </a:lnTo>
                  <a:close/>
                </a:path>
                <a:path w="3264534" h="4239895" extrusionOk="0">
                  <a:moveTo>
                    <a:pt x="1281510" y="1628777"/>
                  </a:moveTo>
                  <a:lnTo>
                    <a:pt x="1258328" y="1628777"/>
                  </a:lnTo>
                  <a:lnTo>
                    <a:pt x="1258328" y="1674933"/>
                  </a:lnTo>
                  <a:lnTo>
                    <a:pt x="1281510" y="1674933"/>
                  </a:lnTo>
                  <a:lnTo>
                    <a:pt x="1281510" y="1628777"/>
                  </a:lnTo>
                  <a:close/>
                </a:path>
                <a:path w="3264534" h="4239895" extrusionOk="0">
                  <a:moveTo>
                    <a:pt x="3264476" y="1569627"/>
                  </a:moveTo>
                  <a:lnTo>
                    <a:pt x="3241325" y="1569627"/>
                  </a:lnTo>
                  <a:lnTo>
                    <a:pt x="3241325" y="1615762"/>
                  </a:lnTo>
                  <a:lnTo>
                    <a:pt x="3264476" y="1615762"/>
                  </a:lnTo>
                  <a:lnTo>
                    <a:pt x="3264476" y="1569627"/>
                  </a:lnTo>
                  <a:close/>
                </a:path>
                <a:path w="3264534" h="4239895" extrusionOk="0">
                  <a:moveTo>
                    <a:pt x="1281406" y="1536288"/>
                  </a:moveTo>
                  <a:lnTo>
                    <a:pt x="1258223" y="1536633"/>
                  </a:lnTo>
                  <a:lnTo>
                    <a:pt x="1258328" y="1582621"/>
                  </a:lnTo>
                  <a:lnTo>
                    <a:pt x="1281510" y="1582621"/>
                  </a:lnTo>
                  <a:lnTo>
                    <a:pt x="1281406" y="1536288"/>
                  </a:lnTo>
                  <a:close/>
                </a:path>
                <a:path w="3264534" h="4239895" extrusionOk="0">
                  <a:moveTo>
                    <a:pt x="3264476" y="1477274"/>
                  </a:moveTo>
                  <a:lnTo>
                    <a:pt x="3241325" y="1477274"/>
                  </a:lnTo>
                  <a:lnTo>
                    <a:pt x="3241325" y="1523450"/>
                  </a:lnTo>
                  <a:lnTo>
                    <a:pt x="3264476" y="1523450"/>
                  </a:lnTo>
                  <a:lnTo>
                    <a:pt x="3264476" y="1477274"/>
                  </a:lnTo>
                  <a:close/>
                </a:path>
                <a:path w="3264534" h="4239895" extrusionOk="0">
                  <a:moveTo>
                    <a:pt x="1276976" y="1443296"/>
                  </a:moveTo>
                  <a:lnTo>
                    <a:pt x="1253919" y="1445202"/>
                  </a:lnTo>
                  <a:lnTo>
                    <a:pt x="1254814" y="1456558"/>
                  </a:lnTo>
                  <a:lnTo>
                    <a:pt x="1255609" y="1467950"/>
                  </a:lnTo>
                  <a:lnTo>
                    <a:pt x="1256300" y="1479381"/>
                  </a:lnTo>
                  <a:lnTo>
                    <a:pt x="1256883" y="1490855"/>
                  </a:lnTo>
                  <a:lnTo>
                    <a:pt x="1280002" y="1489776"/>
                  </a:lnTo>
                  <a:lnTo>
                    <a:pt x="1279406" y="1478096"/>
                  </a:lnTo>
                  <a:lnTo>
                    <a:pt x="1278709" y="1466457"/>
                  </a:lnTo>
                  <a:lnTo>
                    <a:pt x="1277903" y="1454858"/>
                  </a:lnTo>
                  <a:lnTo>
                    <a:pt x="1276976" y="1443296"/>
                  </a:lnTo>
                  <a:close/>
                </a:path>
                <a:path w="3264534" h="4239895" extrusionOk="0">
                  <a:moveTo>
                    <a:pt x="3264476" y="1384942"/>
                  </a:moveTo>
                  <a:lnTo>
                    <a:pt x="3241325" y="1384942"/>
                  </a:lnTo>
                  <a:lnTo>
                    <a:pt x="3241325" y="1431129"/>
                  </a:lnTo>
                  <a:lnTo>
                    <a:pt x="3264476" y="1431129"/>
                  </a:lnTo>
                  <a:lnTo>
                    <a:pt x="3264476" y="1384942"/>
                  </a:lnTo>
                  <a:close/>
                </a:path>
                <a:path w="3264534" h="4239895" extrusionOk="0">
                  <a:moveTo>
                    <a:pt x="1265804" y="1350765"/>
                  </a:moveTo>
                  <a:lnTo>
                    <a:pt x="1242915" y="1354409"/>
                  </a:lnTo>
                  <a:lnTo>
                    <a:pt x="1244639" y="1365646"/>
                  </a:lnTo>
                  <a:lnTo>
                    <a:pt x="1246276" y="1376943"/>
                  </a:lnTo>
                  <a:lnTo>
                    <a:pt x="1247818" y="1388297"/>
                  </a:lnTo>
                  <a:lnTo>
                    <a:pt x="1249260" y="1399706"/>
                  </a:lnTo>
                  <a:lnTo>
                    <a:pt x="1272223" y="1396941"/>
                  </a:lnTo>
                  <a:lnTo>
                    <a:pt x="1270775" y="1385315"/>
                  </a:lnTo>
                  <a:lnTo>
                    <a:pt x="1269210" y="1373751"/>
                  </a:lnTo>
                  <a:lnTo>
                    <a:pt x="1267546" y="1362238"/>
                  </a:lnTo>
                  <a:lnTo>
                    <a:pt x="1265804" y="1350765"/>
                  </a:lnTo>
                  <a:close/>
                </a:path>
                <a:path w="3264534" h="4239895" extrusionOk="0">
                  <a:moveTo>
                    <a:pt x="3264476" y="1292588"/>
                  </a:moveTo>
                  <a:lnTo>
                    <a:pt x="3241325" y="1292588"/>
                  </a:lnTo>
                  <a:lnTo>
                    <a:pt x="3241325" y="1338786"/>
                  </a:lnTo>
                  <a:lnTo>
                    <a:pt x="3264476" y="1338786"/>
                  </a:lnTo>
                  <a:lnTo>
                    <a:pt x="3264476" y="1292588"/>
                  </a:lnTo>
                  <a:close/>
                </a:path>
                <a:path w="3264534" h="4239895" extrusionOk="0">
                  <a:moveTo>
                    <a:pt x="1247658" y="1259375"/>
                  </a:moveTo>
                  <a:lnTo>
                    <a:pt x="1225125" y="1264778"/>
                  </a:lnTo>
                  <a:lnTo>
                    <a:pt x="1227725" y="1275833"/>
                  </a:lnTo>
                  <a:lnTo>
                    <a:pt x="1230219" y="1286959"/>
                  </a:lnTo>
                  <a:lnTo>
                    <a:pt x="1232611" y="1298154"/>
                  </a:lnTo>
                  <a:lnTo>
                    <a:pt x="1234904" y="1309415"/>
                  </a:lnTo>
                  <a:lnTo>
                    <a:pt x="1257616" y="1304934"/>
                  </a:lnTo>
                  <a:lnTo>
                    <a:pt x="1255285" y="1293443"/>
                  </a:lnTo>
                  <a:lnTo>
                    <a:pt x="1252849" y="1282017"/>
                  </a:lnTo>
                  <a:lnTo>
                    <a:pt x="1250306" y="1270659"/>
                  </a:lnTo>
                  <a:lnTo>
                    <a:pt x="1247658" y="1259375"/>
                  </a:lnTo>
                  <a:close/>
                </a:path>
                <a:path w="3264534" h="4239895" extrusionOk="0">
                  <a:moveTo>
                    <a:pt x="3264476" y="1200288"/>
                  </a:moveTo>
                  <a:lnTo>
                    <a:pt x="3241325" y="1200288"/>
                  </a:lnTo>
                  <a:lnTo>
                    <a:pt x="3241325" y="1246475"/>
                  </a:lnTo>
                  <a:lnTo>
                    <a:pt x="3264476" y="1246475"/>
                  </a:lnTo>
                  <a:lnTo>
                    <a:pt x="3264476" y="1200288"/>
                  </a:lnTo>
                  <a:close/>
                </a:path>
                <a:path w="3264534" h="4239895" extrusionOk="0">
                  <a:moveTo>
                    <a:pt x="1222454" y="1169608"/>
                  </a:moveTo>
                  <a:lnTo>
                    <a:pt x="1200466" y="1176791"/>
                  </a:lnTo>
                  <a:lnTo>
                    <a:pt x="1203916" y="1187609"/>
                  </a:lnTo>
                  <a:lnTo>
                    <a:pt x="1207265" y="1198500"/>
                  </a:lnTo>
                  <a:lnTo>
                    <a:pt x="1210518" y="1209465"/>
                  </a:lnTo>
                  <a:lnTo>
                    <a:pt x="1213680" y="1220507"/>
                  </a:lnTo>
                  <a:lnTo>
                    <a:pt x="1235983" y="1214277"/>
                  </a:lnTo>
                  <a:lnTo>
                    <a:pt x="1232757" y="1202983"/>
                  </a:lnTo>
                  <a:lnTo>
                    <a:pt x="1229435" y="1191777"/>
                  </a:lnTo>
                  <a:lnTo>
                    <a:pt x="1226004" y="1180654"/>
                  </a:lnTo>
                  <a:lnTo>
                    <a:pt x="1222454" y="1169608"/>
                  </a:lnTo>
                  <a:close/>
                </a:path>
                <a:path w="3264534" h="4239895" extrusionOk="0">
                  <a:moveTo>
                    <a:pt x="3264476" y="1107976"/>
                  </a:moveTo>
                  <a:lnTo>
                    <a:pt x="3241325" y="1107976"/>
                  </a:lnTo>
                  <a:lnTo>
                    <a:pt x="3241325" y="1154153"/>
                  </a:lnTo>
                  <a:lnTo>
                    <a:pt x="3264476" y="1154153"/>
                  </a:lnTo>
                  <a:lnTo>
                    <a:pt x="3264476" y="1107976"/>
                  </a:lnTo>
                  <a:close/>
                </a:path>
                <a:path w="3264534" h="4239895" extrusionOk="0">
                  <a:moveTo>
                    <a:pt x="1189984" y="1082176"/>
                  </a:moveTo>
                  <a:lnTo>
                    <a:pt x="1168624" y="1091181"/>
                  </a:lnTo>
                  <a:lnTo>
                    <a:pt x="1172963" y="1101644"/>
                  </a:lnTo>
                  <a:lnTo>
                    <a:pt x="1177232" y="1112205"/>
                  </a:lnTo>
                  <a:lnTo>
                    <a:pt x="1181409" y="1122858"/>
                  </a:lnTo>
                  <a:lnTo>
                    <a:pt x="1185471" y="1133598"/>
                  </a:lnTo>
                  <a:lnTo>
                    <a:pt x="1207177" y="1125557"/>
                  </a:lnTo>
                  <a:lnTo>
                    <a:pt x="1203030" y="1114567"/>
                  </a:lnTo>
                  <a:lnTo>
                    <a:pt x="1198777" y="1103670"/>
                  </a:lnTo>
                  <a:lnTo>
                    <a:pt x="1194426" y="1092871"/>
                  </a:lnTo>
                  <a:lnTo>
                    <a:pt x="1189984" y="1082176"/>
                  </a:lnTo>
                  <a:close/>
                </a:path>
                <a:path w="3264534" h="4239895" extrusionOk="0">
                  <a:moveTo>
                    <a:pt x="3264476" y="1015623"/>
                  </a:moveTo>
                  <a:lnTo>
                    <a:pt x="3241325" y="1015623"/>
                  </a:lnTo>
                  <a:lnTo>
                    <a:pt x="3241325" y="1061800"/>
                  </a:lnTo>
                  <a:lnTo>
                    <a:pt x="3264476" y="1061800"/>
                  </a:lnTo>
                  <a:lnTo>
                    <a:pt x="3264476" y="1015623"/>
                  </a:lnTo>
                  <a:close/>
                </a:path>
                <a:path w="3264534" h="4239895" extrusionOk="0">
                  <a:moveTo>
                    <a:pt x="1149839" y="997854"/>
                  </a:moveTo>
                  <a:lnTo>
                    <a:pt x="1129421" y="1008786"/>
                  </a:lnTo>
                  <a:lnTo>
                    <a:pt x="1134718" y="1018807"/>
                  </a:lnTo>
                  <a:lnTo>
                    <a:pt x="1139929" y="1028982"/>
                  </a:lnTo>
                  <a:lnTo>
                    <a:pt x="1144976" y="1039152"/>
                  </a:lnTo>
                  <a:lnTo>
                    <a:pt x="1149944" y="1049486"/>
                  </a:lnTo>
                  <a:lnTo>
                    <a:pt x="1170896" y="1039591"/>
                  </a:lnTo>
                  <a:lnTo>
                    <a:pt x="1165775" y="1028928"/>
                  </a:lnTo>
                  <a:lnTo>
                    <a:pt x="1160591" y="1018487"/>
                  </a:lnTo>
                  <a:lnTo>
                    <a:pt x="1155268" y="1008110"/>
                  </a:lnTo>
                  <a:lnTo>
                    <a:pt x="1149839" y="997854"/>
                  </a:lnTo>
                  <a:close/>
                </a:path>
                <a:path w="3264534" h="4239895" extrusionOk="0">
                  <a:moveTo>
                    <a:pt x="3264476" y="923312"/>
                  </a:moveTo>
                  <a:lnTo>
                    <a:pt x="3241325" y="923312"/>
                  </a:lnTo>
                  <a:lnTo>
                    <a:pt x="3241325" y="969488"/>
                  </a:lnTo>
                  <a:lnTo>
                    <a:pt x="3264476" y="969488"/>
                  </a:lnTo>
                  <a:lnTo>
                    <a:pt x="3264476" y="923312"/>
                  </a:lnTo>
                  <a:close/>
                </a:path>
                <a:path w="3264534" h="4239895" extrusionOk="0">
                  <a:moveTo>
                    <a:pt x="1101966" y="917657"/>
                  </a:moveTo>
                  <a:lnTo>
                    <a:pt x="1082689" y="930505"/>
                  </a:lnTo>
                  <a:lnTo>
                    <a:pt x="1088917" y="939976"/>
                  </a:lnTo>
                  <a:lnTo>
                    <a:pt x="1095050" y="949550"/>
                  </a:lnTo>
                  <a:lnTo>
                    <a:pt x="1101089" y="959240"/>
                  </a:lnTo>
                  <a:lnTo>
                    <a:pt x="1107034" y="969059"/>
                  </a:lnTo>
                  <a:lnTo>
                    <a:pt x="1126897" y="957164"/>
                  </a:lnTo>
                  <a:lnTo>
                    <a:pt x="1120811" y="947113"/>
                  </a:lnTo>
                  <a:lnTo>
                    <a:pt x="1114636" y="937175"/>
                  </a:lnTo>
                  <a:lnTo>
                    <a:pt x="1108359" y="927355"/>
                  </a:lnTo>
                  <a:lnTo>
                    <a:pt x="1101966" y="917657"/>
                  </a:lnTo>
                  <a:close/>
                </a:path>
                <a:path w="3264534" h="4239895" extrusionOk="0">
                  <a:moveTo>
                    <a:pt x="1045905" y="842801"/>
                  </a:moveTo>
                  <a:lnTo>
                    <a:pt x="1028136" y="857670"/>
                  </a:lnTo>
                  <a:lnTo>
                    <a:pt x="1035323" y="866377"/>
                  </a:lnTo>
                  <a:lnTo>
                    <a:pt x="1042431" y="875223"/>
                  </a:lnTo>
                  <a:lnTo>
                    <a:pt x="1049457" y="884208"/>
                  </a:lnTo>
                  <a:lnTo>
                    <a:pt x="1056397" y="893334"/>
                  </a:lnTo>
                  <a:lnTo>
                    <a:pt x="1074962" y="879481"/>
                  </a:lnTo>
                  <a:lnTo>
                    <a:pt x="1067825" y="870084"/>
                  </a:lnTo>
                  <a:lnTo>
                    <a:pt x="1060602" y="860838"/>
                  </a:lnTo>
                  <a:lnTo>
                    <a:pt x="1053294" y="851744"/>
                  </a:lnTo>
                  <a:lnTo>
                    <a:pt x="1045905" y="842801"/>
                  </a:lnTo>
                  <a:close/>
                </a:path>
                <a:path w="3264534" h="4239895" extrusionOk="0">
                  <a:moveTo>
                    <a:pt x="3264476" y="830969"/>
                  </a:moveTo>
                  <a:lnTo>
                    <a:pt x="3241325" y="830969"/>
                  </a:lnTo>
                  <a:lnTo>
                    <a:pt x="3241325" y="877135"/>
                  </a:lnTo>
                  <a:lnTo>
                    <a:pt x="3264476" y="877135"/>
                  </a:lnTo>
                  <a:lnTo>
                    <a:pt x="3264476" y="830969"/>
                  </a:lnTo>
                  <a:close/>
                </a:path>
                <a:path w="3264534" h="4239895" extrusionOk="0">
                  <a:moveTo>
                    <a:pt x="981498" y="774814"/>
                  </a:moveTo>
                  <a:lnTo>
                    <a:pt x="965677" y="791703"/>
                  </a:lnTo>
                  <a:lnTo>
                    <a:pt x="973870" y="799479"/>
                  </a:lnTo>
                  <a:lnTo>
                    <a:pt x="981984" y="807411"/>
                  </a:lnTo>
                  <a:lnTo>
                    <a:pt x="990009" y="815494"/>
                  </a:lnTo>
                  <a:lnTo>
                    <a:pt x="997938" y="823723"/>
                  </a:lnTo>
                  <a:lnTo>
                    <a:pt x="1014754" y="807818"/>
                  </a:lnTo>
                  <a:lnTo>
                    <a:pt x="1006570" y="799305"/>
                  </a:lnTo>
                  <a:lnTo>
                    <a:pt x="998295" y="790974"/>
                  </a:lnTo>
                  <a:lnTo>
                    <a:pt x="989935" y="782814"/>
                  </a:lnTo>
                  <a:lnTo>
                    <a:pt x="981498" y="774814"/>
                  </a:lnTo>
                  <a:close/>
                </a:path>
                <a:path w="3264534" h="4239895" extrusionOk="0">
                  <a:moveTo>
                    <a:pt x="3264476" y="738658"/>
                  </a:moveTo>
                  <a:lnTo>
                    <a:pt x="3241325" y="738658"/>
                  </a:lnTo>
                  <a:lnTo>
                    <a:pt x="3241325" y="784824"/>
                  </a:lnTo>
                  <a:lnTo>
                    <a:pt x="3264476" y="784824"/>
                  </a:lnTo>
                  <a:lnTo>
                    <a:pt x="3264476" y="738658"/>
                  </a:lnTo>
                  <a:close/>
                </a:path>
                <a:path w="3264534" h="4239895" extrusionOk="0">
                  <a:moveTo>
                    <a:pt x="908632" y="715695"/>
                  </a:moveTo>
                  <a:lnTo>
                    <a:pt x="895344" y="734658"/>
                  </a:lnTo>
                  <a:lnTo>
                    <a:pt x="904503" y="741217"/>
                  </a:lnTo>
                  <a:lnTo>
                    <a:pt x="913591" y="747970"/>
                  </a:lnTo>
                  <a:lnTo>
                    <a:pt x="922586" y="754894"/>
                  </a:lnTo>
                  <a:lnTo>
                    <a:pt x="931469" y="761966"/>
                  </a:lnTo>
                  <a:lnTo>
                    <a:pt x="946086" y="743998"/>
                  </a:lnTo>
                  <a:lnTo>
                    <a:pt x="936871" y="736651"/>
                  </a:lnTo>
                  <a:lnTo>
                    <a:pt x="927531" y="729469"/>
                  </a:lnTo>
                  <a:lnTo>
                    <a:pt x="918106" y="722476"/>
                  </a:lnTo>
                  <a:lnTo>
                    <a:pt x="908632" y="715695"/>
                  </a:lnTo>
                  <a:close/>
                </a:path>
                <a:path w="3264534" h="4239895" extrusionOk="0">
                  <a:moveTo>
                    <a:pt x="827702" y="667812"/>
                  </a:moveTo>
                  <a:lnTo>
                    <a:pt x="817587" y="688638"/>
                  </a:lnTo>
                  <a:lnTo>
                    <a:pt x="827565" y="693635"/>
                  </a:lnTo>
                  <a:lnTo>
                    <a:pt x="837521" y="698889"/>
                  </a:lnTo>
                  <a:lnTo>
                    <a:pt x="847434" y="704379"/>
                  </a:lnTo>
                  <a:lnTo>
                    <a:pt x="857282" y="710083"/>
                  </a:lnTo>
                  <a:lnTo>
                    <a:pt x="869093" y="690177"/>
                  </a:lnTo>
                  <a:lnTo>
                    <a:pt x="858855" y="684227"/>
                  </a:lnTo>
                  <a:lnTo>
                    <a:pt x="848519" y="678508"/>
                  </a:lnTo>
                  <a:lnTo>
                    <a:pt x="838123" y="673032"/>
                  </a:lnTo>
                  <a:lnTo>
                    <a:pt x="827702" y="667812"/>
                  </a:lnTo>
                  <a:close/>
                </a:path>
                <a:path w="3264534" h="4239895" extrusionOk="0">
                  <a:moveTo>
                    <a:pt x="3264476" y="646283"/>
                  </a:moveTo>
                  <a:lnTo>
                    <a:pt x="3241325" y="646283"/>
                  </a:lnTo>
                  <a:lnTo>
                    <a:pt x="3241325" y="692471"/>
                  </a:lnTo>
                  <a:lnTo>
                    <a:pt x="3264476" y="692471"/>
                  </a:lnTo>
                  <a:lnTo>
                    <a:pt x="3264476" y="646283"/>
                  </a:lnTo>
                  <a:close/>
                </a:path>
                <a:path w="3264534" h="4239895" extrusionOk="0">
                  <a:moveTo>
                    <a:pt x="739820" y="633928"/>
                  </a:moveTo>
                  <a:lnTo>
                    <a:pt x="733443" y="656168"/>
                  </a:lnTo>
                  <a:lnTo>
                    <a:pt x="744113" y="659369"/>
                  </a:lnTo>
                  <a:lnTo>
                    <a:pt x="754809" y="662842"/>
                  </a:lnTo>
                  <a:lnTo>
                    <a:pt x="765505" y="666580"/>
                  </a:lnTo>
                  <a:lnTo>
                    <a:pt x="776175" y="670576"/>
                  </a:lnTo>
                  <a:lnTo>
                    <a:pt x="784552" y="648943"/>
                  </a:lnTo>
                  <a:lnTo>
                    <a:pt x="773392" y="644780"/>
                  </a:lnTo>
                  <a:lnTo>
                    <a:pt x="762186" y="640878"/>
                  </a:lnTo>
                  <a:lnTo>
                    <a:pt x="750979" y="637255"/>
                  </a:lnTo>
                  <a:lnTo>
                    <a:pt x="739820" y="633928"/>
                  </a:lnTo>
                  <a:close/>
                </a:path>
                <a:path w="3264534" h="4239895" extrusionOk="0">
                  <a:moveTo>
                    <a:pt x="647362" y="616232"/>
                  </a:moveTo>
                  <a:lnTo>
                    <a:pt x="645090" y="639268"/>
                  </a:lnTo>
                  <a:lnTo>
                    <a:pt x="656257" y="640496"/>
                  </a:lnTo>
                  <a:lnTo>
                    <a:pt x="667431" y="641971"/>
                  </a:lnTo>
                  <a:lnTo>
                    <a:pt x="678575" y="643699"/>
                  </a:lnTo>
                  <a:lnTo>
                    <a:pt x="689654" y="645687"/>
                  </a:lnTo>
                  <a:lnTo>
                    <a:pt x="693978" y="622923"/>
                  </a:lnTo>
                  <a:lnTo>
                    <a:pt x="682405" y="620848"/>
                  </a:lnTo>
                  <a:lnTo>
                    <a:pt x="670753" y="619040"/>
                  </a:lnTo>
                  <a:lnTo>
                    <a:pt x="659059" y="617500"/>
                  </a:lnTo>
                  <a:lnTo>
                    <a:pt x="647362" y="616232"/>
                  </a:lnTo>
                  <a:close/>
                </a:path>
                <a:path w="3264534" h="4239895" extrusionOk="0">
                  <a:moveTo>
                    <a:pt x="46145" y="613897"/>
                  </a:moveTo>
                  <a:lnTo>
                    <a:pt x="0" y="613897"/>
                  </a:lnTo>
                  <a:lnTo>
                    <a:pt x="0" y="637059"/>
                  </a:lnTo>
                  <a:lnTo>
                    <a:pt x="46145" y="637059"/>
                  </a:lnTo>
                  <a:lnTo>
                    <a:pt x="46145" y="613897"/>
                  </a:lnTo>
                  <a:close/>
                </a:path>
                <a:path w="3264534" h="4239895" extrusionOk="0">
                  <a:moveTo>
                    <a:pt x="138456" y="613897"/>
                  </a:moveTo>
                  <a:lnTo>
                    <a:pt x="92311" y="613897"/>
                  </a:lnTo>
                  <a:lnTo>
                    <a:pt x="92311" y="637059"/>
                  </a:lnTo>
                  <a:lnTo>
                    <a:pt x="138456" y="637059"/>
                  </a:lnTo>
                  <a:lnTo>
                    <a:pt x="138456" y="613897"/>
                  </a:lnTo>
                  <a:close/>
                </a:path>
                <a:path w="3264534" h="4239895" extrusionOk="0">
                  <a:moveTo>
                    <a:pt x="230841" y="613897"/>
                  </a:moveTo>
                  <a:lnTo>
                    <a:pt x="184685" y="613897"/>
                  </a:lnTo>
                  <a:lnTo>
                    <a:pt x="184685" y="637059"/>
                  </a:lnTo>
                  <a:lnTo>
                    <a:pt x="230841" y="637059"/>
                  </a:lnTo>
                  <a:lnTo>
                    <a:pt x="230841" y="613897"/>
                  </a:lnTo>
                  <a:close/>
                </a:path>
                <a:path w="3264534" h="4239895" extrusionOk="0">
                  <a:moveTo>
                    <a:pt x="323152" y="613897"/>
                  </a:moveTo>
                  <a:lnTo>
                    <a:pt x="276986" y="613897"/>
                  </a:lnTo>
                  <a:lnTo>
                    <a:pt x="276986" y="637059"/>
                  </a:lnTo>
                  <a:lnTo>
                    <a:pt x="323152" y="637059"/>
                  </a:lnTo>
                  <a:lnTo>
                    <a:pt x="323152" y="613897"/>
                  </a:lnTo>
                  <a:close/>
                </a:path>
                <a:path w="3264534" h="4239895" extrusionOk="0">
                  <a:moveTo>
                    <a:pt x="415495" y="613897"/>
                  </a:moveTo>
                  <a:lnTo>
                    <a:pt x="369308" y="613897"/>
                  </a:lnTo>
                  <a:lnTo>
                    <a:pt x="369308" y="637059"/>
                  </a:lnTo>
                  <a:lnTo>
                    <a:pt x="415495" y="637059"/>
                  </a:lnTo>
                  <a:lnTo>
                    <a:pt x="415495" y="613897"/>
                  </a:lnTo>
                  <a:close/>
                </a:path>
                <a:path w="3264534" h="4239895" extrusionOk="0">
                  <a:moveTo>
                    <a:pt x="507816" y="613897"/>
                  </a:moveTo>
                  <a:lnTo>
                    <a:pt x="461650" y="613897"/>
                  </a:lnTo>
                  <a:lnTo>
                    <a:pt x="461650" y="637059"/>
                  </a:lnTo>
                  <a:lnTo>
                    <a:pt x="507816" y="637059"/>
                  </a:lnTo>
                  <a:lnTo>
                    <a:pt x="507816" y="613897"/>
                  </a:lnTo>
                  <a:close/>
                </a:path>
                <a:path w="3264534" h="4239895" extrusionOk="0">
                  <a:moveTo>
                    <a:pt x="600138" y="613897"/>
                  </a:moveTo>
                  <a:lnTo>
                    <a:pt x="553993" y="613897"/>
                  </a:lnTo>
                  <a:lnTo>
                    <a:pt x="553993" y="637059"/>
                  </a:lnTo>
                  <a:lnTo>
                    <a:pt x="598861" y="637059"/>
                  </a:lnTo>
                  <a:lnTo>
                    <a:pt x="600138" y="613897"/>
                  </a:lnTo>
                  <a:close/>
                </a:path>
                <a:path w="3264534" h="4239895" extrusionOk="0">
                  <a:moveTo>
                    <a:pt x="3264476" y="553972"/>
                  </a:moveTo>
                  <a:lnTo>
                    <a:pt x="3241325" y="553972"/>
                  </a:lnTo>
                  <a:lnTo>
                    <a:pt x="3241325" y="600159"/>
                  </a:lnTo>
                  <a:lnTo>
                    <a:pt x="3264476" y="600159"/>
                  </a:lnTo>
                  <a:lnTo>
                    <a:pt x="3264476" y="553972"/>
                  </a:lnTo>
                  <a:close/>
                </a:path>
                <a:path w="3264534" h="4239895" extrusionOk="0">
                  <a:moveTo>
                    <a:pt x="3264476" y="461629"/>
                  </a:moveTo>
                  <a:lnTo>
                    <a:pt x="3241325" y="461629"/>
                  </a:lnTo>
                  <a:lnTo>
                    <a:pt x="3241325" y="507848"/>
                  </a:lnTo>
                  <a:lnTo>
                    <a:pt x="3264476" y="507848"/>
                  </a:lnTo>
                  <a:lnTo>
                    <a:pt x="3264476" y="461629"/>
                  </a:lnTo>
                  <a:close/>
                </a:path>
                <a:path w="3264534" h="4239895" extrusionOk="0">
                  <a:moveTo>
                    <a:pt x="3264476" y="369308"/>
                  </a:moveTo>
                  <a:lnTo>
                    <a:pt x="3241325" y="369308"/>
                  </a:lnTo>
                  <a:lnTo>
                    <a:pt x="3241325" y="415495"/>
                  </a:lnTo>
                  <a:lnTo>
                    <a:pt x="3264476" y="415495"/>
                  </a:lnTo>
                  <a:lnTo>
                    <a:pt x="3264476" y="369308"/>
                  </a:lnTo>
                  <a:close/>
                </a:path>
                <a:path w="3264534" h="4239895" extrusionOk="0">
                  <a:moveTo>
                    <a:pt x="3264476" y="277007"/>
                  </a:moveTo>
                  <a:lnTo>
                    <a:pt x="3241325" y="277007"/>
                  </a:lnTo>
                  <a:lnTo>
                    <a:pt x="3241325" y="323152"/>
                  </a:lnTo>
                  <a:lnTo>
                    <a:pt x="3264476" y="323152"/>
                  </a:lnTo>
                  <a:lnTo>
                    <a:pt x="3264476" y="277007"/>
                  </a:lnTo>
                  <a:close/>
                </a:path>
                <a:path w="3264534" h="4239895" extrusionOk="0">
                  <a:moveTo>
                    <a:pt x="3264476" y="184695"/>
                  </a:moveTo>
                  <a:lnTo>
                    <a:pt x="3241325" y="184695"/>
                  </a:lnTo>
                  <a:lnTo>
                    <a:pt x="3241325" y="230841"/>
                  </a:lnTo>
                  <a:lnTo>
                    <a:pt x="3264476" y="230841"/>
                  </a:lnTo>
                  <a:lnTo>
                    <a:pt x="3264476" y="184695"/>
                  </a:lnTo>
                  <a:close/>
                </a:path>
                <a:path w="3264534" h="4239895" extrusionOk="0">
                  <a:moveTo>
                    <a:pt x="3264476" y="92311"/>
                  </a:moveTo>
                  <a:lnTo>
                    <a:pt x="3241325" y="92311"/>
                  </a:lnTo>
                  <a:lnTo>
                    <a:pt x="3241325" y="138487"/>
                  </a:lnTo>
                  <a:lnTo>
                    <a:pt x="3264476" y="138487"/>
                  </a:lnTo>
                  <a:lnTo>
                    <a:pt x="3264476" y="92311"/>
                  </a:lnTo>
                  <a:close/>
                </a:path>
                <a:path w="3264534" h="4239895" extrusionOk="0">
                  <a:moveTo>
                    <a:pt x="3264476" y="0"/>
                  </a:moveTo>
                  <a:lnTo>
                    <a:pt x="3241325" y="0"/>
                  </a:lnTo>
                  <a:lnTo>
                    <a:pt x="3241325" y="46166"/>
                  </a:lnTo>
                  <a:lnTo>
                    <a:pt x="3264476" y="46166"/>
                  </a:lnTo>
                  <a:lnTo>
                    <a:pt x="3264476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1"/>
            <p:cNvSpPr/>
            <p:nvPr/>
          </p:nvSpPr>
          <p:spPr>
            <a:xfrm>
              <a:off x="13031854" y="7309170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75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1"/>
            <p:cNvSpPr/>
            <p:nvPr/>
          </p:nvSpPr>
          <p:spPr>
            <a:xfrm>
              <a:off x="16333744" y="2305846"/>
              <a:ext cx="2649855" cy="4309110"/>
            </a:xfrm>
            <a:custGeom>
              <a:avLst/>
              <a:gdLst/>
              <a:ahLst/>
              <a:cxnLst/>
              <a:rect l="l" t="t" r="r" b="b"/>
              <a:pathLst>
                <a:path w="2649855" h="4309109" extrusionOk="0">
                  <a:moveTo>
                    <a:pt x="885962" y="0"/>
                  </a:moveTo>
                  <a:lnTo>
                    <a:pt x="838980" y="1318"/>
                  </a:lnTo>
                  <a:lnTo>
                    <a:pt x="792628" y="5230"/>
                  </a:lnTo>
                  <a:lnTo>
                    <a:pt x="746968" y="11670"/>
                  </a:lnTo>
                  <a:lnTo>
                    <a:pt x="702062" y="20571"/>
                  </a:lnTo>
                  <a:lnTo>
                    <a:pt x="657972" y="31866"/>
                  </a:lnTo>
                  <a:lnTo>
                    <a:pt x="614758" y="45491"/>
                  </a:lnTo>
                  <a:lnTo>
                    <a:pt x="572484" y="61379"/>
                  </a:lnTo>
                  <a:lnTo>
                    <a:pt x="531211" y="79463"/>
                  </a:lnTo>
                  <a:lnTo>
                    <a:pt x="491000" y="99677"/>
                  </a:lnTo>
                  <a:lnTo>
                    <a:pt x="451912" y="121956"/>
                  </a:lnTo>
                  <a:lnTo>
                    <a:pt x="414011" y="146234"/>
                  </a:lnTo>
                  <a:lnTo>
                    <a:pt x="377357" y="172443"/>
                  </a:lnTo>
                  <a:lnTo>
                    <a:pt x="342012" y="200518"/>
                  </a:lnTo>
                  <a:lnTo>
                    <a:pt x="308038" y="230393"/>
                  </a:lnTo>
                  <a:lnTo>
                    <a:pt x="275496" y="262002"/>
                  </a:lnTo>
                  <a:lnTo>
                    <a:pt x="244449" y="295279"/>
                  </a:lnTo>
                  <a:lnTo>
                    <a:pt x="214958" y="330156"/>
                  </a:lnTo>
                  <a:lnTo>
                    <a:pt x="187084" y="366570"/>
                  </a:lnTo>
                  <a:lnTo>
                    <a:pt x="160889" y="404452"/>
                  </a:lnTo>
                  <a:lnTo>
                    <a:pt x="136436" y="443737"/>
                  </a:lnTo>
                  <a:lnTo>
                    <a:pt x="113785" y="484360"/>
                  </a:lnTo>
                  <a:lnTo>
                    <a:pt x="92999" y="526253"/>
                  </a:lnTo>
                  <a:lnTo>
                    <a:pt x="74139" y="569350"/>
                  </a:lnTo>
                  <a:lnTo>
                    <a:pt x="57266" y="613586"/>
                  </a:lnTo>
                  <a:lnTo>
                    <a:pt x="42443" y="658895"/>
                  </a:lnTo>
                  <a:lnTo>
                    <a:pt x="29731" y="705210"/>
                  </a:lnTo>
                  <a:lnTo>
                    <a:pt x="19192" y="752465"/>
                  </a:lnTo>
                  <a:lnTo>
                    <a:pt x="10888" y="800593"/>
                  </a:lnTo>
                  <a:lnTo>
                    <a:pt x="4880" y="849530"/>
                  </a:lnTo>
                  <a:lnTo>
                    <a:pt x="1230" y="899208"/>
                  </a:lnTo>
                  <a:lnTo>
                    <a:pt x="0" y="949562"/>
                  </a:lnTo>
                  <a:lnTo>
                    <a:pt x="0" y="4308549"/>
                  </a:lnTo>
                  <a:lnTo>
                    <a:pt x="46312" y="4308549"/>
                  </a:lnTo>
                  <a:lnTo>
                    <a:pt x="46312" y="949562"/>
                  </a:lnTo>
                  <a:lnTo>
                    <a:pt x="47557" y="900079"/>
                  </a:lnTo>
                  <a:lnTo>
                    <a:pt x="51249" y="851283"/>
                  </a:lnTo>
                  <a:lnTo>
                    <a:pt x="57322" y="803246"/>
                  </a:lnTo>
                  <a:lnTo>
                    <a:pt x="65713" y="756036"/>
                  </a:lnTo>
                  <a:lnTo>
                    <a:pt x="76358" y="709722"/>
                  </a:lnTo>
                  <a:lnTo>
                    <a:pt x="89191" y="664375"/>
                  </a:lnTo>
                  <a:lnTo>
                    <a:pt x="104148" y="620063"/>
                  </a:lnTo>
                  <a:lnTo>
                    <a:pt x="121164" y="576856"/>
                  </a:lnTo>
                  <a:lnTo>
                    <a:pt x="140175" y="534823"/>
                  </a:lnTo>
                  <a:lnTo>
                    <a:pt x="161117" y="494034"/>
                  </a:lnTo>
                  <a:lnTo>
                    <a:pt x="183925" y="454559"/>
                  </a:lnTo>
                  <a:lnTo>
                    <a:pt x="208534" y="416465"/>
                  </a:lnTo>
                  <a:lnTo>
                    <a:pt x="234879" y="379824"/>
                  </a:lnTo>
                  <a:lnTo>
                    <a:pt x="262897" y="344704"/>
                  </a:lnTo>
                  <a:lnTo>
                    <a:pt x="292523" y="311175"/>
                  </a:lnTo>
                  <a:lnTo>
                    <a:pt x="323692" y="279305"/>
                  </a:lnTo>
                  <a:lnTo>
                    <a:pt x="356340" y="249166"/>
                  </a:lnTo>
                  <a:lnTo>
                    <a:pt x="390402" y="220825"/>
                  </a:lnTo>
                  <a:lnTo>
                    <a:pt x="425814" y="194353"/>
                  </a:lnTo>
                  <a:lnTo>
                    <a:pt x="462511" y="169819"/>
                  </a:lnTo>
                  <a:lnTo>
                    <a:pt x="500428" y="147291"/>
                  </a:lnTo>
                  <a:lnTo>
                    <a:pt x="539501" y="126841"/>
                  </a:lnTo>
                  <a:lnTo>
                    <a:pt x="579666" y="108536"/>
                  </a:lnTo>
                  <a:lnTo>
                    <a:pt x="620858" y="92447"/>
                  </a:lnTo>
                  <a:lnTo>
                    <a:pt x="663012" y="78643"/>
                  </a:lnTo>
                  <a:lnTo>
                    <a:pt x="706064" y="67193"/>
                  </a:lnTo>
                  <a:lnTo>
                    <a:pt x="749950" y="58166"/>
                  </a:lnTo>
                  <a:lnTo>
                    <a:pt x="794605" y="51633"/>
                  </a:lnTo>
                  <a:lnTo>
                    <a:pt x="839963" y="47662"/>
                  </a:lnTo>
                  <a:lnTo>
                    <a:pt x="885962" y="46323"/>
                  </a:lnTo>
                  <a:lnTo>
                    <a:pt x="1159390" y="46323"/>
                  </a:lnTo>
                  <a:lnTo>
                    <a:pt x="1157178" y="45491"/>
                  </a:lnTo>
                  <a:lnTo>
                    <a:pt x="1113963" y="31866"/>
                  </a:lnTo>
                  <a:lnTo>
                    <a:pt x="1069870" y="20571"/>
                  </a:lnTo>
                  <a:lnTo>
                    <a:pt x="1024962" y="11670"/>
                  </a:lnTo>
                  <a:lnTo>
                    <a:pt x="979300" y="5230"/>
                  </a:lnTo>
                  <a:lnTo>
                    <a:pt x="932946" y="1318"/>
                  </a:lnTo>
                  <a:lnTo>
                    <a:pt x="885962" y="0"/>
                  </a:lnTo>
                  <a:close/>
                </a:path>
                <a:path w="2649855" h="4309109" extrusionOk="0">
                  <a:moveTo>
                    <a:pt x="1159390" y="46323"/>
                  </a:moveTo>
                  <a:lnTo>
                    <a:pt x="885962" y="46323"/>
                  </a:lnTo>
                  <a:lnTo>
                    <a:pt x="931967" y="47662"/>
                  </a:lnTo>
                  <a:lnTo>
                    <a:pt x="977331" y="51633"/>
                  </a:lnTo>
                  <a:lnTo>
                    <a:pt x="1021991" y="58166"/>
                  </a:lnTo>
                  <a:lnTo>
                    <a:pt x="1065881" y="67193"/>
                  </a:lnTo>
                  <a:lnTo>
                    <a:pt x="1108938" y="78643"/>
                  </a:lnTo>
                  <a:lnTo>
                    <a:pt x="1151096" y="92447"/>
                  </a:lnTo>
                  <a:lnTo>
                    <a:pt x="1192291" y="108536"/>
                  </a:lnTo>
                  <a:lnTo>
                    <a:pt x="1232459" y="126841"/>
                  </a:lnTo>
                  <a:lnTo>
                    <a:pt x="1271535" y="147291"/>
                  </a:lnTo>
                  <a:lnTo>
                    <a:pt x="1309455" y="169819"/>
                  </a:lnTo>
                  <a:lnTo>
                    <a:pt x="1346154" y="194353"/>
                  </a:lnTo>
                  <a:lnTo>
                    <a:pt x="1381567" y="220825"/>
                  </a:lnTo>
                  <a:lnTo>
                    <a:pt x="1415631" y="249166"/>
                  </a:lnTo>
                  <a:lnTo>
                    <a:pt x="1448280" y="279305"/>
                  </a:lnTo>
                  <a:lnTo>
                    <a:pt x="1479451" y="311175"/>
                  </a:lnTo>
                  <a:lnTo>
                    <a:pt x="1509077" y="344704"/>
                  </a:lnTo>
                  <a:lnTo>
                    <a:pt x="1537096" y="379824"/>
                  </a:lnTo>
                  <a:lnTo>
                    <a:pt x="1563443" y="416465"/>
                  </a:lnTo>
                  <a:lnTo>
                    <a:pt x="1588052" y="454559"/>
                  </a:lnTo>
                  <a:lnTo>
                    <a:pt x="1610860" y="494034"/>
                  </a:lnTo>
                  <a:lnTo>
                    <a:pt x="1631802" y="534823"/>
                  </a:lnTo>
                  <a:lnTo>
                    <a:pt x="1650813" y="576856"/>
                  </a:lnTo>
                  <a:lnTo>
                    <a:pt x="1667830" y="620063"/>
                  </a:lnTo>
                  <a:lnTo>
                    <a:pt x="1682786" y="664375"/>
                  </a:lnTo>
                  <a:lnTo>
                    <a:pt x="1695619" y="709722"/>
                  </a:lnTo>
                  <a:lnTo>
                    <a:pt x="1706263" y="756036"/>
                  </a:lnTo>
                  <a:lnTo>
                    <a:pt x="1714654" y="803246"/>
                  </a:lnTo>
                  <a:lnTo>
                    <a:pt x="1720728" y="851283"/>
                  </a:lnTo>
                  <a:lnTo>
                    <a:pt x="1724419" y="900079"/>
                  </a:lnTo>
                  <a:lnTo>
                    <a:pt x="1725664" y="949562"/>
                  </a:lnTo>
                  <a:lnTo>
                    <a:pt x="1725664" y="1765475"/>
                  </a:lnTo>
                  <a:lnTo>
                    <a:pt x="1727034" y="1811441"/>
                  </a:lnTo>
                  <a:lnTo>
                    <a:pt x="1731095" y="1856768"/>
                  </a:lnTo>
                  <a:lnTo>
                    <a:pt x="1737776" y="1901391"/>
                  </a:lnTo>
                  <a:lnTo>
                    <a:pt x="1747008" y="1945245"/>
                  </a:lnTo>
                  <a:lnTo>
                    <a:pt x="1758718" y="1988267"/>
                  </a:lnTo>
                  <a:lnTo>
                    <a:pt x="1772836" y="2030391"/>
                  </a:lnTo>
                  <a:lnTo>
                    <a:pt x="1789290" y="2071553"/>
                  </a:lnTo>
                  <a:lnTo>
                    <a:pt x="1808011" y="2111689"/>
                  </a:lnTo>
                  <a:lnTo>
                    <a:pt x="1828926" y="2150734"/>
                  </a:lnTo>
                  <a:lnTo>
                    <a:pt x="1851965" y="2188624"/>
                  </a:lnTo>
                  <a:lnTo>
                    <a:pt x="1877057" y="2225294"/>
                  </a:lnTo>
                  <a:lnTo>
                    <a:pt x="1904131" y="2260680"/>
                  </a:lnTo>
                  <a:lnTo>
                    <a:pt x="1933116" y="2294718"/>
                  </a:lnTo>
                  <a:lnTo>
                    <a:pt x="1963940" y="2327342"/>
                  </a:lnTo>
                  <a:lnTo>
                    <a:pt x="1996534" y="2358488"/>
                  </a:lnTo>
                  <a:lnTo>
                    <a:pt x="2030826" y="2388092"/>
                  </a:lnTo>
                  <a:lnTo>
                    <a:pt x="2066745" y="2416090"/>
                  </a:lnTo>
                  <a:lnTo>
                    <a:pt x="2104220" y="2442416"/>
                  </a:lnTo>
                  <a:lnTo>
                    <a:pt x="2143181" y="2467007"/>
                  </a:lnTo>
                  <a:lnTo>
                    <a:pt x="2183555" y="2489798"/>
                  </a:lnTo>
                  <a:lnTo>
                    <a:pt x="2225273" y="2510724"/>
                  </a:lnTo>
                  <a:lnTo>
                    <a:pt x="2268263" y="2529721"/>
                  </a:lnTo>
                  <a:lnTo>
                    <a:pt x="2312454" y="2546725"/>
                  </a:lnTo>
                  <a:lnTo>
                    <a:pt x="2357776" y="2561671"/>
                  </a:lnTo>
                  <a:lnTo>
                    <a:pt x="2404157" y="2574494"/>
                  </a:lnTo>
                  <a:lnTo>
                    <a:pt x="2451526" y="2585130"/>
                  </a:lnTo>
                  <a:lnTo>
                    <a:pt x="2499813" y="2593515"/>
                  </a:lnTo>
                  <a:lnTo>
                    <a:pt x="2548946" y="2599584"/>
                  </a:lnTo>
                  <a:lnTo>
                    <a:pt x="2598855" y="2603273"/>
                  </a:lnTo>
                  <a:lnTo>
                    <a:pt x="2649469" y="2604517"/>
                  </a:lnTo>
                  <a:lnTo>
                    <a:pt x="2649469" y="2558194"/>
                  </a:lnTo>
                  <a:lnTo>
                    <a:pt x="2599748" y="2556937"/>
                  </a:lnTo>
                  <a:lnTo>
                    <a:pt x="2550746" y="2553210"/>
                  </a:lnTo>
                  <a:lnTo>
                    <a:pt x="2502538" y="2547080"/>
                  </a:lnTo>
                  <a:lnTo>
                    <a:pt x="2455196" y="2538616"/>
                  </a:lnTo>
                  <a:lnTo>
                    <a:pt x="2408797" y="2527885"/>
                  </a:lnTo>
                  <a:lnTo>
                    <a:pt x="2363415" y="2514953"/>
                  </a:lnTo>
                  <a:lnTo>
                    <a:pt x="2319124" y="2499889"/>
                  </a:lnTo>
                  <a:lnTo>
                    <a:pt x="2275999" y="2482761"/>
                  </a:lnTo>
                  <a:lnTo>
                    <a:pt x="2234116" y="2463634"/>
                  </a:lnTo>
                  <a:lnTo>
                    <a:pt x="2193547" y="2442577"/>
                  </a:lnTo>
                  <a:lnTo>
                    <a:pt x="2154369" y="2419658"/>
                  </a:lnTo>
                  <a:lnTo>
                    <a:pt x="2116656" y="2394944"/>
                  </a:lnTo>
                  <a:lnTo>
                    <a:pt x="2080482" y="2368501"/>
                  </a:lnTo>
                  <a:lnTo>
                    <a:pt x="2045922" y="2340398"/>
                  </a:lnTo>
                  <a:lnTo>
                    <a:pt x="2013050" y="2310703"/>
                  </a:lnTo>
                  <a:lnTo>
                    <a:pt x="1981942" y="2279482"/>
                  </a:lnTo>
                  <a:lnTo>
                    <a:pt x="1952672" y="2246802"/>
                  </a:lnTo>
                  <a:lnTo>
                    <a:pt x="1925315" y="2212733"/>
                  </a:lnTo>
                  <a:lnTo>
                    <a:pt x="1899945" y="2177340"/>
                  </a:lnTo>
                  <a:lnTo>
                    <a:pt x="1876637" y="2140691"/>
                  </a:lnTo>
                  <a:lnTo>
                    <a:pt x="1855465" y="2102854"/>
                  </a:lnTo>
                  <a:lnTo>
                    <a:pt x="1836505" y="2063896"/>
                  </a:lnTo>
                  <a:lnTo>
                    <a:pt x="1819830" y="2023885"/>
                  </a:lnTo>
                  <a:lnTo>
                    <a:pt x="1805516" y="1982888"/>
                  </a:lnTo>
                  <a:lnTo>
                    <a:pt x="1793637" y="1940973"/>
                  </a:lnTo>
                  <a:lnTo>
                    <a:pt x="1784268" y="1898206"/>
                  </a:lnTo>
                  <a:lnTo>
                    <a:pt x="1777484" y="1854656"/>
                  </a:lnTo>
                  <a:lnTo>
                    <a:pt x="1773358" y="1810390"/>
                  </a:lnTo>
                  <a:lnTo>
                    <a:pt x="1771966" y="1765475"/>
                  </a:lnTo>
                  <a:lnTo>
                    <a:pt x="1771966" y="949562"/>
                  </a:lnTo>
                  <a:lnTo>
                    <a:pt x="1770736" y="899208"/>
                  </a:lnTo>
                  <a:lnTo>
                    <a:pt x="1767086" y="849530"/>
                  </a:lnTo>
                  <a:lnTo>
                    <a:pt x="1761077" y="800593"/>
                  </a:lnTo>
                  <a:lnTo>
                    <a:pt x="1752773" y="752465"/>
                  </a:lnTo>
                  <a:lnTo>
                    <a:pt x="1742233" y="705210"/>
                  </a:lnTo>
                  <a:lnTo>
                    <a:pt x="1729521" y="658895"/>
                  </a:lnTo>
                  <a:lnTo>
                    <a:pt x="1714697" y="613586"/>
                  </a:lnTo>
                  <a:lnTo>
                    <a:pt x="1697824" y="569350"/>
                  </a:lnTo>
                  <a:lnTo>
                    <a:pt x="1678962" y="526253"/>
                  </a:lnTo>
                  <a:lnTo>
                    <a:pt x="1658175" y="484360"/>
                  </a:lnTo>
                  <a:lnTo>
                    <a:pt x="1635523" y="443737"/>
                  </a:lnTo>
                  <a:lnTo>
                    <a:pt x="1611068" y="404452"/>
                  </a:lnTo>
                  <a:lnTo>
                    <a:pt x="1584873" y="366570"/>
                  </a:lnTo>
                  <a:lnTo>
                    <a:pt x="1556997" y="330156"/>
                  </a:lnTo>
                  <a:lnTo>
                    <a:pt x="1527505" y="295279"/>
                  </a:lnTo>
                  <a:lnTo>
                    <a:pt x="1496456" y="262002"/>
                  </a:lnTo>
                  <a:lnTo>
                    <a:pt x="1463913" y="230393"/>
                  </a:lnTo>
                  <a:lnTo>
                    <a:pt x="1429937" y="200518"/>
                  </a:lnTo>
                  <a:lnTo>
                    <a:pt x="1394590" y="172443"/>
                  </a:lnTo>
                  <a:lnTo>
                    <a:pt x="1357935" y="146234"/>
                  </a:lnTo>
                  <a:lnTo>
                    <a:pt x="1320031" y="121956"/>
                  </a:lnTo>
                  <a:lnTo>
                    <a:pt x="1280942" y="99677"/>
                  </a:lnTo>
                  <a:lnTo>
                    <a:pt x="1240729" y="79463"/>
                  </a:lnTo>
                  <a:lnTo>
                    <a:pt x="1199454" y="61379"/>
                  </a:lnTo>
                  <a:lnTo>
                    <a:pt x="1159390" y="46323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1"/>
            <p:cNvSpPr/>
            <p:nvPr/>
          </p:nvSpPr>
          <p:spPr>
            <a:xfrm>
              <a:off x="19054184" y="775159"/>
              <a:ext cx="1045844" cy="4121150"/>
            </a:xfrm>
            <a:custGeom>
              <a:avLst/>
              <a:gdLst/>
              <a:ahLst/>
              <a:cxnLst/>
              <a:rect l="l" t="t" r="r" b="b"/>
              <a:pathLst>
                <a:path w="1045844" h="4121150" extrusionOk="0">
                  <a:moveTo>
                    <a:pt x="45548" y="4092681"/>
                  </a:moveTo>
                  <a:lnTo>
                    <a:pt x="34220" y="4094129"/>
                  </a:lnTo>
                  <a:lnTo>
                    <a:pt x="22852" y="4095428"/>
                  </a:lnTo>
                  <a:lnTo>
                    <a:pt x="11445" y="4096585"/>
                  </a:lnTo>
                  <a:lnTo>
                    <a:pt x="0" y="4097602"/>
                  </a:lnTo>
                  <a:lnTo>
                    <a:pt x="1884" y="4120670"/>
                  </a:lnTo>
                  <a:lnTo>
                    <a:pt x="13643" y="4119646"/>
                  </a:lnTo>
                  <a:lnTo>
                    <a:pt x="25352" y="4118466"/>
                  </a:lnTo>
                  <a:lnTo>
                    <a:pt x="37003" y="4117136"/>
                  </a:lnTo>
                  <a:lnTo>
                    <a:pt x="48584" y="4115665"/>
                  </a:lnTo>
                  <a:lnTo>
                    <a:pt x="45548" y="4092681"/>
                  </a:lnTo>
                  <a:close/>
                </a:path>
                <a:path w="1045844" h="4121150" extrusionOk="0">
                  <a:moveTo>
                    <a:pt x="135283" y="4075729"/>
                  </a:moveTo>
                  <a:lnTo>
                    <a:pt x="124191" y="4078367"/>
                  </a:lnTo>
                  <a:lnTo>
                    <a:pt x="113059" y="4080853"/>
                  </a:lnTo>
                  <a:lnTo>
                    <a:pt x="101888" y="4083196"/>
                  </a:lnTo>
                  <a:lnTo>
                    <a:pt x="90677" y="4085404"/>
                  </a:lnTo>
                  <a:lnTo>
                    <a:pt x="94970" y="4108147"/>
                  </a:lnTo>
                  <a:lnTo>
                    <a:pt x="106495" y="4105886"/>
                  </a:lnTo>
                  <a:lnTo>
                    <a:pt x="117980" y="4103475"/>
                  </a:lnTo>
                  <a:lnTo>
                    <a:pt x="129426" y="4100921"/>
                  </a:lnTo>
                  <a:lnTo>
                    <a:pt x="140833" y="4098231"/>
                  </a:lnTo>
                  <a:lnTo>
                    <a:pt x="135283" y="4075729"/>
                  </a:lnTo>
                  <a:close/>
                </a:path>
                <a:path w="1045844" h="4121150" extrusionOk="0">
                  <a:moveTo>
                    <a:pt x="222715" y="4049374"/>
                  </a:moveTo>
                  <a:lnTo>
                    <a:pt x="211996" y="4053149"/>
                  </a:lnTo>
                  <a:lnTo>
                    <a:pt x="201198" y="4056792"/>
                  </a:lnTo>
                  <a:lnTo>
                    <a:pt x="190321" y="4060302"/>
                  </a:lnTo>
                  <a:lnTo>
                    <a:pt x="179366" y="4063677"/>
                  </a:lnTo>
                  <a:lnTo>
                    <a:pt x="186067" y="4085865"/>
                  </a:lnTo>
                  <a:lnTo>
                    <a:pt x="197276" y="4082394"/>
                  </a:lnTo>
                  <a:lnTo>
                    <a:pt x="208436" y="4078790"/>
                  </a:lnTo>
                  <a:lnTo>
                    <a:pt x="219536" y="4075043"/>
                  </a:lnTo>
                  <a:lnTo>
                    <a:pt x="230568" y="4071143"/>
                  </a:lnTo>
                  <a:lnTo>
                    <a:pt x="222715" y="4049374"/>
                  </a:lnTo>
                  <a:close/>
                </a:path>
                <a:path w="1045844" h="4121150" extrusionOk="0">
                  <a:moveTo>
                    <a:pt x="306796" y="4013972"/>
                  </a:moveTo>
                  <a:lnTo>
                    <a:pt x="296546" y="4018877"/>
                  </a:lnTo>
                  <a:lnTo>
                    <a:pt x="286208" y="4023649"/>
                  </a:lnTo>
                  <a:lnTo>
                    <a:pt x="275772" y="4028284"/>
                  </a:lnTo>
                  <a:lnTo>
                    <a:pt x="265227" y="4032777"/>
                  </a:lnTo>
                  <a:lnTo>
                    <a:pt x="274127" y="4054148"/>
                  </a:lnTo>
                  <a:lnTo>
                    <a:pt x="284986" y="4049523"/>
                  </a:lnTo>
                  <a:lnTo>
                    <a:pt x="295737" y="4044761"/>
                  </a:lnTo>
                  <a:lnTo>
                    <a:pt x="306389" y="4039865"/>
                  </a:lnTo>
                  <a:lnTo>
                    <a:pt x="316953" y="4034840"/>
                  </a:lnTo>
                  <a:lnTo>
                    <a:pt x="306796" y="4013972"/>
                  </a:lnTo>
                  <a:close/>
                </a:path>
                <a:path w="1045844" h="4121150" extrusionOk="0">
                  <a:moveTo>
                    <a:pt x="386899" y="3969983"/>
                  </a:moveTo>
                  <a:lnTo>
                    <a:pt x="377138" y="3975948"/>
                  </a:lnTo>
                  <a:lnTo>
                    <a:pt x="367318" y="3981779"/>
                  </a:lnTo>
                  <a:lnTo>
                    <a:pt x="357420" y="3987476"/>
                  </a:lnTo>
                  <a:lnTo>
                    <a:pt x="347423" y="3993040"/>
                  </a:lnTo>
                  <a:lnTo>
                    <a:pt x="358523" y="4013354"/>
                  </a:lnTo>
                  <a:lnTo>
                    <a:pt x="368771" y="4007630"/>
                  </a:lnTo>
                  <a:lnTo>
                    <a:pt x="378941" y="4001781"/>
                  </a:lnTo>
                  <a:lnTo>
                    <a:pt x="389032" y="3995802"/>
                  </a:lnTo>
                  <a:lnTo>
                    <a:pt x="399045" y="3989690"/>
                  </a:lnTo>
                  <a:lnTo>
                    <a:pt x="386899" y="3969983"/>
                  </a:lnTo>
                  <a:close/>
                </a:path>
                <a:path w="1045844" h="4121150" extrusionOk="0">
                  <a:moveTo>
                    <a:pt x="461975" y="3917943"/>
                  </a:moveTo>
                  <a:lnTo>
                    <a:pt x="452888" y="3924860"/>
                  </a:lnTo>
                  <a:lnTo>
                    <a:pt x="443703" y="3931663"/>
                  </a:lnTo>
                  <a:lnTo>
                    <a:pt x="434440" y="3938351"/>
                  </a:lnTo>
                  <a:lnTo>
                    <a:pt x="425117" y="3944927"/>
                  </a:lnTo>
                  <a:lnTo>
                    <a:pt x="438311" y="3963963"/>
                  </a:lnTo>
                  <a:lnTo>
                    <a:pt x="447913" y="3957217"/>
                  </a:lnTo>
                  <a:lnTo>
                    <a:pt x="457407" y="3950348"/>
                  </a:lnTo>
                  <a:lnTo>
                    <a:pt x="466803" y="3943357"/>
                  </a:lnTo>
                  <a:lnTo>
                    <a:pt x="476111" y="3936246"/>
                  </a:lnTo>
                  <a:lnTo>
                    <a:pt x="461975" y="3917943"/>
                  </a:lnTo>
                  <a:close/>
                </a:path>
                <a:path w="1045844" h="4121150" extrusionOk="0">
                  <a:moveTo>
                    <a:pt x="531502" y="3858427"/>
                  </a:moveTo>
                  <a:lnTo>
                    <a:pt x="523136" y="3866248"/>
                  </a:lnTo>
                  <a:lnTo>
                    <a:pt x="514683" y="3873959"/>
                  </a:lnTo>
                  <a:lnTo>
                    <a:pt x="506131" y="3881558"/>
                  </a:lnTo>
                  <a:lnTo>
                    <a:pt x="497471" y="3889043"/>
                  </a:lnTo>
                  <a:lnTo>
                    <a:pt x="512549" y="3906666"/>
                  </a:lnTo>
                  <a:lnTo>
                    <a:pt x="521443" y="3898982"/>
                  </a:lnTo>
                  <a:lnTo>
                    <a:pt x="530219" y="3891182"/>
                  </a:lnTo>
                  <a:lnTo>
                    <a:pt x="538877" y="3883268"/>
                  </a:lnTo>
                  <a:lnTo>
                    <a:pt x="547417" y="3875243"/>
                  </a:lnTo>
                  <a:lnTo>
                    <a:pt x="531502" y="3858427"/>
                  </a:lnTo>
                  <a:close/>
                </a:path>
                <a:path w="1045844" h="4121150" extrusionOk="0">
                  <a:moveTo>
                    <a:pt x="594641" y="3792146"/>
                  </a:moveTo>
                  <a:lnTo>
                    <a:pt x="587078" y="3800779"/>
                  </a:lnTo>
                  <a:lnTo>
                    <a:pt x="579445" y="3809310"/>
                  </a:lnTo>
                  <a:lnTo>
                    <a:pt x="571715" y="3817743"/>
                  </a:lnTo>
                  <a:lnTo>
                    <a:pt x="563857" y="3826082"/>
                  </a:lnTo>
                  <a:lnTo>
                    <a:pt x="580715" y="3842061"/>
                  </a:lnTo>
                  <a:lnTo>
                    <a:pt x="588700" y="3833516"/>
                  </a:lnTo>
                  <a:lnTo>
                    <a:pt x="596617" y="3824874"/>
                  </a:lnTo>
                  <a:lnTo>
                    <a:pt x="604436" y="3816132"/>
                  </a:lnTo>
                  <a:lnTo>
                    <a:pt x="612127" y="3807287"/>
                  </a:lnTo>
                  <a:lnTo>
                    <a:pt x="594641" y="3792146"/>
                  </a:lnTo>
                  <a:close/>
                </a:path>
                <a:path w="1045844" h="4121150" extrusionOk="0">
                  <a:moveTo>
                    <a:pt x="650870" y="3719918"/>
                  </a:moveTo>
                  <a:lnTo>
                    <a:pt x="644216" y="3729251"/>
                  </a:lnTo>
                  <a:lnTo>
                    <a:pt x="637454" y="3738498"/>
                  </a:lnTo>
                  <a:lnTo>
                    <a:pt x="630594" y="3747659"/>
                  </a:lnTo>
                  <a:lnTo>
                    <a:pt x="623645" y="3756733"/>
                  </a:lnTo>
                  <a:lnTo>
                    <a:pt x="641865" y="3770942"/>
                  </a:lnTo>
                  <a:lnTo>
                    <a:pt x="649031" y="3761648"/>
                  </a:lnTo>
                  <a:lnTo>
                    <a:pt x="656079" y="3752244"/>
                  </a:lnTo>
                  <a:lnTo>
                    <a:pt x="663009" y="3742742"/>
                  </a:lnTo>
                  <a:lnTo>
                    <a:pt x="669822" y="3733153"/>
                  </a:lnTo>
                  <a:lnTo>
                    <a:pt x="650870" y="3719918"/>
                  </a:lnTo>
                  <a:close/>
                </a:path>
                <a:path w="1045844" h="4121150" extrusionOk="0">
                  <a:moveTo>
                    <a:pt x="699559" y="3642349"/>
                  </a:moveTo>
                  <a:lnTo>
                    <a:pt x="693908" y="3652309"/>
                  </a:lnTo>
                  <a:lnTo>
                    <a:pt x="688120" y="3662193"/>
                  </a:lnTo>
                  <a:lnTo>
                    <a:pt x="682214" y="3672000"/>
                  </a:lnTo>
                  <a:lnTo>
                    <a:pt x="676209" y="3681730"/>
                  </a:lnTo>
                  <a:lnTo>
                    <a:pt x="695790" y="3694034"/>
                  </a:lnTo>
                  <a:lnTo>
                    <a:pt x="701951" y="3684072"/>
                  </a:lnTo>
                  <a:lnTo>
                    <a:pt x="708015" y="3674024"/>
                  </a:lnTo>
                  <a:lnTo>
                    <a:pt x="713960" y="3663889"/>
                  </a:lnTo>
                  <a:lnTo>
                    <a:pt x="719768" y="3653668"/>
                  </a:lnTo>
                  <a:lnTo>
                    <a:pt x="699559" y="3642349"/>
                  </a:lnTo>
                  <a:close/>
                </a:path>
                <a:path w="1045844" h="4121150" extrusionOk="0">
                  <a:moveTo>
                    <a:pt x="740396" y="3560279"/>
                  </a:moveTo>
                  <a:lnTo>
                    <a:pt x="735705" y="3570760"/>
                  </a:lnTo>
                  <a:lnTo>
                    <a:pt x="730907" y="3581174"/>
                  </a:lnTo>
                  <a:lnTo>
                    <a:pt x="726010" y="3591520"/>
                  </a:lnTo>
                  <a:lnTo>
                    <a:pt x="721025" y="3601796"/>
                  </a:lnTo>
                  <a:lnTo>
                    <a:pt x="741757" y="3612120"/>
                  </a:lnTo>
                  <a:lnTo>
                    <a:pt x="746883" y="3601593"/>
                  </a:lnTo>
                  <a:lnTo>
                    <a:pt x="751901" y="3590984"/>
                  </a:lnTo>
                  <a:lnTo>
                    <a:pt x="756820" y="3580297"/>
                  </a:lnTo>
                  <a:lnTo>
                    <a:pt x="761652" y="3569535"/>
                  </a:lnTo>
                  <a:lnTo>
                    <a:pt x="740396" y="3560279"/>
                  </a:lnTo>
                  <a:close/>
                </a:path>
                <a:path w="1045844" h="4121150" extrusionOk="0">
                  <a:moveTo>
                    <a:pt x="772856" y="3474606"/>
                  </a:moveTo>
                  <a:lnTo>
                    <a:pt x="769261" y="3485500"/>
                  </a:lnTo>
                  <a:lnTo>
                    <a:pt x="765539" y="3496332"/>
                  </a:lnTo>
                  <a:lnTo>
                    <a:pt x="761680" y="3507099"/>
                  </a:lnTo>
                  <a:lnTo>
                    <a:pt x="757673" y="3517798"/>
                  </a:lnTo>
                  <a:lnTo>
                    <a:pt x="779347" y="3525986"/>
                  </a:lnTo>
                  <a:lnTo>
                    <a:pt x="783433" y="3515034"/>
                  </a:lnTo>
                  <a:lnTo>
                    <a:pt x="787371" y="3504009"/>
                  </a:lnTo>
                  <a:lnTo>
                    <a:pt x="791171" y="3492916"/>
                  </a:lnTo>
                  <a:lnTo>
                    <a:pt x="794844" y="3481757"/>
                  </a:lnTo>
                  <a:lnTo>
                    <a:pt x="772856" y="3474606"/>
                  </a:lnTo>
                  <a:close/>
                </a:path>
                <a:path w="1045844" h="4121150" extrusionOk="0">
                  <a:moveTo>
                    <a:pt x="796624" y="3386315"/>
                  </a:moveTo>
                  <a:lnTo>
                    <a:pt x="794129" y="3397507"/>
                  </a:lnTo>
                  <a:lnTo>
                    <a:pt x="791507" y="3408643"/>
                  </a:lnTo>
                  <a:lnTo>
                    <a:pt x="788747" y="3419730"/>
                  </a:lnTo>
                  <a:lnTo>
                    <a:pt x="785839" y="3430775"/>
                  </a:lnTo>
                  <a:lnTo>
                    <a:pt x="808247" y="3436795"/>
                  </a:lnTo>
                  <a:lnTo>
                    <a:pt x="811189" y="3425492"/>
                  </a:lnTo>
                  <a:lnTo>
                    <a:pt x="814032" y="3414122"/>
                  </a:lnTo>
                  <a:lnTo>
                    <a:pt x="816758" y="3402692"/>
                  </a:lnTo>
                  <a:lnTo>
                    <a:pt x="819346" y="3391205"/>
                  </a:lnTo>
                  <a:lnTo>
                    <a:pt x="796624" y="3386315"/>
                  </a:lnTo>
                  <a:close/>
                </a:path>
                <a:path w="1045844" h="4121150" extrusionOk="0">
                  <a:moveTo>
                    <a:pt x="811703" y="3296056"/>
                  </a:moveTo>
                  <a:lnTo>
                    <a:pt x="810292" y="3307448"/>
                  </a:lnTo>
                  <a:lnTo>
                    <a:pt x="808745" y="3318790"/>
                  </a:lnTo>
                  <a:lnTo>
                    <a:pt x="807079" y="3330086"/>
                  </a:lnTo>
                  <a:lnTo>
                    <a:pt x="805315" y="3341343"/>
                  </a:lnTo>
                  <a:lnTo>
                    <a:pt x="828142" y="3345186"/>
                  </a:lnTo>
                  <a:lnTo>
                    <a:pt x="829968" y="3333633"/>
                  </a:lnTo>
                  <a:lnTo>
                    <a:pt x="831676" y="3322044"/>
                  </a:lnTo>
                  <a:lnTo>
                    <a:pt x="833266" y="3310413"/>
                  </a:lnTo>
                  <a:lnTo>
                    <a:pt x="834738" y="3298737"/>
                  </a:lnTo>
                  <a:lnTo>
                    <a:pt x="811703" y="3296056"/>
                  </a:lnTo>
                  <a:close/>
                </a:path>
                <a:path w="1045844" h="4121150" extrusionOk="0">
                  <a:moveTo>
                    <a:pt x="817880" y="3204761"/>
                  </a:moveTo>
                  <a:lnTo>
                    <a:pt x="817557" y="3216976"/>
                  </a:lnTo>
                  <a:lnTo>
                    <a:pt x="817160" y="3227684"/>
                  </a:lnTo>
                  <a:lnTo>
                    <a:pt x="816599" y="3239093"/>
                  </a:lnTo>
                  <a:lnTo>
                    <a:pt x="815891" y="3250466"/>
                  </a:lnTo>
                  <a:lnTo>
                    <a:pt x="839032" y="3252058"/>
                  </a:lnTo>
                  <a:lnTo>
                    <a:pt x="839740" y="3240406"/>
                  </a:lnTo>
                  <a:lnTo>
                    <a:pt x="840301" y="3228711"/>
                  </a:lnTo>
                  <a:lnTo>
                    <a:pt x="840743" y="3216240"/>
                  </a:lnTo>
                  <a:lnTo>
                    <a:pt x="841021" y="3205200"/>
                  </a:lnTo>
                  <a:lnTo>
                    <a:pt x="817880" y="3204761"/>
                  </a:lnTo>
                  <a:close/>
                </a:path>
                <a:path w="1045844" h="4121150" extrusionOk="0">
                  <a:moveTo>
                    <a:pt x="841251" y="3112292"/>
                  </a:moveTo>
                  <a:lnTo>
                    <a:pt x="818090" y="3112292"/>
                  </a:lnTo>
                  <a:lnTo>
                    <a:pt x="818090" y="3158647"/>
                  </a:lnTo>
                  <a:lnTo>
                    <a:pt x="841251" y="3158647"/>
                  </a:lnTo>
                  <a:lnTo>
                    <a:pt x="841251" y="3112292"/>
                  </a:lnTo>
                  <a:close/>
                </a:path>
                <a:path w="1045844" h="4121150" extrusionOk="0">
                  <a:moveTo>
                    <a:pt x="841251" y="3019593"/>
                  </a:moveTo>
                  <a:lnTo>
                    <a:pt x="818090" y="3019593"/>
                  </a:lnTo>
                  <a:lnTo>
                    <a:pt x="818090" y="3065959"/>
                  </a:lnTo>
                  <a:lnTo>
                    <a:pt x="841251" y="3065959"/>
                  </a:lnTo>
                  <a:lnTo>
                    <a:pt x="841251" y="3019593"/>
                  </a:lnTo>
                  <a:close/>
                </a:path>
                <a:path w="1045844" h="4121150" extrusionOk="0">
                  <a:moveTo>
                    <a:pt x="841251" y="2926926"/>
                  </a:moveTo>
                  <a:lnTo>
                    <a:pt x="818090" y="2926926"/>
                  </a:lnTo>
                  <a:lnTo>
                    <a:pt x="818090" y="2973270"/>
                  </a:lnTo>
                  <a:lnTo>
                    <a:pt x="841251" y="2973270"/>
                  </a:lnTo>
                  <a:lnTo>
                    <a:pt x="841251" y="2926926"/>
                  </a:lnTo>
                  <a:close/>
                </a:path>
                <a:path w="1045844" h="4121150" extrusionOk="0">
                  <a:moveTo>
                    <a:pt x="841251" y="2834248"/>
                  </a:moveTo>
                  <a:lnTo>
                    <a:pt x="818090" y="2834248"/>
                  </a:lnTo>
                  <a:lnTo>
                    <a:pt x="818090" y="2880592"/>
                  </a:lnTo>
                  <a:lnTo>
                    <a:pt x="841251" y="2880592"/>
                  </a:lnTo>
                  <a:lnTo>
                    <a:pt x="841251" y="2834248"/>
                  </a:lnTo>
                  <a:close/>
                </a:path>
                <a:path w="1045844" h="4121150" extrusionOk="0">
                  <a:moveTo>
                    <a:pt x="841251" y="2741550"/>
                  </a:moveTo>
                  <a:lnTo>
                    <a:pt x="818090" y="2741550"/>
                  </a:lnTo>
                  <a:lnTo>
                    <a:pt x="818090" y="2787904"/>
                  </a:lnTo>
                  <a:lnTo>
                    <a:pt x="841251" y="2787904"/>
                  </a:lnTo>
                  <a:lnTo>
                    <a:pt x="841251" y="2741550"/>
                  </a:lnTo>
                  <a:close/>
                </a:path>
                <a:path w="1045844" h="4121150" extrusionOk="0">
                  <a:moveTo>
                    <a:pt x="841251" y="2648861"/>
                  </a:moveTo>
                  <a:lnTo>
                    <a:pt x="818090" y="2648861"/>
                  </a:lnTo>
                  <a:lnTo>
                    <a:pt x="818090" y="2695184"/>
                  </a:lnTo>
                  <a:lnTo>
                    <a:pt x="841251" y="2695184"/>
                  </a:lnTo>
                  <a:lnTo>
                    <a:pt x="841251" y="2648861"/>
                  </a:lnTo>
                  <a:close/>
                </a:path>
                <a:path w="1045844" h="4121150" extrusionOk="0">
                  <a:moveTo>
                    <a:pt x="841251" y="2556173"/>
                  </a:moveTo>
                  <a:lnTo>
                    <a:pt x="818090" y="2556173"/>
                  </a:lnTo>
                  <a:lnTo>
                    <a:pt x="818090" y="2602528"/>
                  </a:lnTo>
                  <a:lnTo>
                    <a:pt x="841251" y="2602528"/>
                  </a:lnTo>
                  <a:lnTo>
                    <a:pt x="841251" y="2556173"/>
                  </a:lnTo>
                  <a:close/>
                </a:path>
                <a:path w="1045844" h="4121150" extrusionOk="0">
                  <a:moveTo>
                    <a:pt x="841251" y="2463485"/>
                  </a:moveTo>
                  <a:lnTo>
                    <a:pt x="818090" y="2463485"/>
                  </a:lnTo>
                  <a:lnTo>
                    <a:pt x="818090" y="2509829"/>
                  </a:lnTo>
                  <a:lnTo>
                    <a:pt x="841251" y="2509829"/>
                  </a:lnTo>
                  <a:lnTo>
                    <a:pt x="841251" y="2463485"/>
                  </a:lnTo>
                  <a:close/>
                </a:path>
                <a:path w="1045844" h="4121150" extrusionOk="0">
                  <a:moveTo>
                    <a:pt x="841251" y="2370796"/>
                  </a:moveTo>
                  <a:lnTo>
                    <a:pt x="818090" y="2370796"/>
                  </a:lnTo>
                  <a:lnTo>
                    <a:pt x="818090" y="2417130"/>
                  </a:lnTo>
                  <a:lnTo>
                    <a:pt x="841251" y="2417130"/>
                  </a:lnTo>
                  <a:lnTo>
                    <a:pt x="841251" y="2370796"/>
                  </a:lnTo>
                  <a:close/>
                </a:path>
                <a:path w="1045844" h="4121150" extrusionOk="0">
                  <a:moveTo>
                    <a:pt x="841251" y="2278087"/>
                  </a:moveTo>
                  <a:lnTo>
                    <a:pt x="818090" y="2278087"/>
                  </a:lnTo>
                  <a:lnTo>
                    <a:pt x="818090" y="2324452"/>
                  </a:lnTo>
                  <a:lnTo>
                    <a:pt x="841251" y="2324452"/>
                  </a:lnTo>
                  <a:lnTo>
                    <a:pt x="841251" y="2278087"/>
                  </a:lnTo>
                  <a:close/>
                </a:path>
                <a:path w="1045844" h="4121150" extrusionOk="0">
                  <a:moveTo>
                    <a:pt x="841251" y="2185451"/>
                  </a:moveTo>
                  <a:lnTo>
                    <a:pt x="818090" y="2185451"/>
                  </a:lnTo>
                  <a:lnTo>
                    <a:pt x="818090" y="2231764"/>
                  </a:lnTo>
                  <a:lnTo>
                    <a:pt x="841251" y="2231764"/>
                  </a:lnTo>
                  <a:lnTo>
                    <a:pt x="841251" y="2185451"/>
                  </a:lnTo>
                  <a:close/>
                </a:path>
                <a:path w="1045844" h="4121150" extrusionOk="0">
                  <a:moveTo>
                    <a:pt x="841251" y="2092753"/>
                  </a:moveTo>
                  <a:lnTo>
                    <a:pt x="818090" y="2092753"/>
                  </a:lnTo>
                  <a:lnTo>
                    <a:pt x="818090" y="2139076"/>
                  </a:lnTo>
                  <a:lnTo>
                    <a:pt x="841251" y="2139076"/>
                  </a:lnTo>
                  <a:lnTo>
                    <a:pt x="841251" y="2092753"/>
                  </a:lnTo>
                  <a:close/>
                </a:path>
                <a:path w="1045844" h="4121150" extrusionOk="0">
                  <a:moveTo>
                    <a:pt x="841251" y="2000033"/>
                  </a:moveTo>
                  <a:lnTo>
                    <a:pt x="818090" y="2000033"/>
                  </a:lnTo>
                  <a:lnTo>
                    <a:pt x="818090" y="2046356"/>
                  </a:lnTo>
                  <a:lnTo>
                    <a:pt x="841251" y="2046356"/>
                  </a:lnTo>
                  <a:lnTo>
                    <a:pt x="841251" y="2000033"/>
                  </a:lnTo>
                  <a:close/>
                </a:path>
                <a:path w="1045844" h="4121150" extrusionOk="0">
                  <a:moveTo>
                    <a:pt x="841251" y="1907355"/>
                  </a:moveTo>
                  <a:lnTo>
                    <a:pt x="818090" y="1907355"/>
                  </a:lnTo>
                  <a:lnTo>
                    <a:pt x="818090" y="1953699"/>
                  </a:lnTo>
                  <a:lnTo>
                    <a:pt x="841251" y="1953699"/>
                  </a:lnTo>
                  <a:lnTo>
                    <a:pt x="841251" y="1907355"/>
                  </a:lnTo>
                  <a:close/>
                </a:path>
                <a:path w="1045844" h="4121150" extrusionOk="0">
                  <a:moveTo>
                    <a:pt x="841251" y="1814667"/>
                  </a:moveTo>
                  <a:lnTo>
                    <a:pt x="818090" y="1814667"/>
                  </a:lnTo>
                  <a:lnTo>
                    <a:pt x="818090" y="1861021"/>
                  </a:lnTo>
                  <a:lnTo>
                    <a:pt x="841251" y="1861021"/>
                  </a:lnTo>
                  <a:lnTo>
                    <a:pt x="841251" y="1814667"/>
                  </a:lnTo>
                  <a:close/>
                </a:path>
                <a:path w="1045844" h="4121150" extrusionOk="0">
                  <a:moveTo>
                    <a:pt x="841251" y="1721968"/>
                  </a:moveTo>
                  <a:lnTo>
                    <a:pt x="818090" y="1721968"/>
                  </a:lnTo>
                  <a:lnTo>
                    <a:pt x="818090" y="1768333"/>
                  </a:lnTo>
                  <a:lnTo>
                    <a:pt x="841251" y="1768333"/>
                  </a:lnTo>
                  <a:lnTo>
                    <a:pt x="841251" y="1721968"/>
                  </a:lnTo>
                  <a:close/>
                </a:path>
                <a:path w="1045844" h="4121150" extrusionOk="0">
                  <a:moveTo>
                    <a:pt x="841251" y="1629290"/>
                  </a:moveTo>
                  <a:lnTo>
                    <a:pt x="818090" y="1629290"/>
                  </a:lnTo>
                  <a:lnTo>
                    <a:pt x="818090" y="1675645"/>
                  </a:lnTo>
                  <a:lnTo>
                    <a:pt x="841251" y="1675645"/>
                  </a:lnTo>
                  <a:lnTo>
                    <a:pt x="841251" y="1629290"/>
                  </a:lnTo>
                  <a:close/>
                </a:path>
                <a:path w="1045844" h="4121150" extrusionOk="0">
                  <a:moveTo>
                    <a:pt x="841251" y="1536633"/>
                  </a:moveTo>
                  <a:lnTo>
                    <a:pt x="818090" y="1536633"/>
                  </a:lnTo>
                  <a:lnTo>
                    <a:pt x="818090" y="1582936"/>
                  </a:lnTo>
                  <a:lnTo>
                    <a:pt x="841251" y="1582936"/>
                  </a:lnTo>
                  <a:lnTo>
                    <a:pt x="841251" y="1536633"/>
                  </a:lnTo>
                  <a:close/>
                </a:path>
                <a:path w="1045844" h="4121150" extrusionOk="0">
                  <a:moveTo>
                    <a:pt x="841251" y="1443924"/>
                  </a:moveTo>
                  <a:lnTo>
                    <a:pt x="818090" y="1443924"/>
                  </a:lnTo>
                  <a:lnTo>
                    <a:pt x="818090" y="1490247"/>
                  </a:lnTo>
                  <a:lnTo>
                    <a:pt x="841251" y="1490247"/>
                  </a:lnTo>
                  <a:lnTo>
                    <a:pt x="841251" y="1443924"/>
                  </a:lnTo>
                  <a:close/>
                </a:path>
                <a:path w="1045844" h="4121150" extrusionOk="0">
                  <a:moveTo>
                    <a:pt x="841251" y="1351246"/>
                  </a:moveTo>
                  <a:lnTo>
                    <a:pt x="818090" y="1351246"/>
                  </a:lnTo>
                  <a:lnTo>
                    <a:pt x="818090" y="1397570"/>
                  </a:lnTo>
                  <a:lnTo>
                    <a:pt x="841251" y="1397570"/>
                  </a:lnTo>
                  <a:lnTo>
                    <a:pt x="841251" y="1351246"/>
                  </a:lnTo>
                  <a:close/>
                </a:path>
                <a:path w="1045844" h="4121150" extrusionOk="0">
                  <a:moveTo>
                    <a:pt x="841251" y="1258537"/>
                  </a:moveTo>
                  <a:lnTo>
                    <a:pt x="818090" y="1258537"/>
                  </a:lnTo>
                  <a:lnTo>
                    <a:pt x="818090" y="1304881"/>
                  </a:lnTo>
                  <a:lnTo>
                    <a:pt x="841251" y="1304881"/>
                  </a:lnTo>
                  <a:lnTo>
                    <a:pt x="841251" y="1258537"/>
                  </a:lnTo>
                  <a:close/>
                </a:path>
                <a:path w="1045844" h="4121150" extrusionOk="0">
                  <a:moveTo>
                    <a:pt x="841251" y="1165859"/>
                  </a:moveTo>
                  <a:lnTo>
                    <a:pt x="818090" y="1165859"/>
                  </a:lnTo>
                  <a:lnTo>
                    <a:pt x="818090" y="1212214"/>
                  </a:lnTo>
                  <a:lnTo>
                    <a:pt x="841251" y="1212214"/>
                  </a:lnTo>
                  <a:lnTo>
                    <a:pt x="841251" y="1165859"/>
                  </a:lnTo>
                  <a:close/>
                </a:path>
                <a:path w="1045844" h="4121150" extrusionOk="0">
                  <a:moveTo>
                    <a:pt x="841251" y="1073181"/>
                  </a:moveTo>
                  <a:lnTo>
                    <a:pt x="818090" y="1073181"/>
                  </a:lnTo>
                  <a:lnTo>
                    <a:pt x="818090" y="1119547"/>
                  </a:lnTo>
                  <a:lnTo>
                    <a:pt x="841251" y="1119547"/>
                  </a:lnTo>
                  <a:lnTo>
                    <a:pt x="841251" y="1073181"/>
                  </a:lnTo>
                  <a:close/>
                </a:path>
                <a:path w="1045844" h="4121150" extrusionOk="0">
                  <a:moveTo>
                    <a:pt x="841251" y="980420"/>
                  </a:moveTo>
                  <a:lnTo>
                    <a:pt x="818090" y="980420"/>
                  </a:lnTo>
                  <a:lnTo>
                    <a:pt x="818090" y="1026775"/>
                  </a:lnTo>
                  <a:lnTo>
                    <a:pt x="841251" y="1026775"/>
                  </a:lnTo>
                  <a:lnTo>
                    <a:pt x="841251" y="980420"/>
                  </a:lnTo>
                  <a:close/>
                </a:path>
                <a:path w="1045844" h="4121150" extrusionOk="0">
                  <a:moveTo>
                    <a:pt x="841251" y="887784"/>
                  </a:moveTo>
                  <a:lnTo>
                    <a:pt x="818090" y="887784"/>
                  </a:lnTo>
                  <a:lnTo>
                    <a:pt x="818090" y="934107"/>
                  </a:lnTo>
                  <a:lnTo>
                    <a:pt x="841251" y="934107"/>
                  </a:lnTo>
                  <a:lnTo>
                    <a:pt x="841251" y="887784"/>
                  </a:lnTo>
                  <a:close/>
                </a:path>
                <a:path w="1045844" h="4121150" extrusionOk="0">
                  <a:moveTo>
                    <a:pt x="841251" y="795106"/>
                  </a:moveTo>
                  <a:lnTo>
                    <a:pt x="818090" y="795106"/>
                  </a:lnTo>
                  <a:lnTo>
                    <a:pt x="818090" y="841440"/>
                  </a:lnTo>
                  <a:lnTo>
                    <a:pt x="841251" y="841440"/>
                  </a:lnTo>
                  <a:lnTo>
                    <a:pt x="841251" y="795106"/>
                  </a:lnTo>
                  <a:close/>
                </a:path>
                <a:path w="1045844" h="4121150" extrusionOk="0">
                  <a:moveTo>
                    <a:pt x="841251" y="702449"/>
                  </a:moveTo>
                  <a:lnTo>
                    <a:pt x="818090" y="702449"/>
                  </a:lnTo>
                  <a:lnTo>
                    <a:pt x="818090" y="748773"/>
                  </a:lnTo>
                  <a:lnTo>
                    <a:pt x="841251" y="748773"/>
                  </a:lnTo>
                  <a:lnTo>
                    <a:pt x="841251" y="702449"/>
                  </a:lnTo>
                  <a:close/>
                </a:path>
                <a:path w="1045844" h="4121150" extrusionOk="0">
                  <a:moveTo>
                    <a:pt x="818090" y="609614"/>
                  </a:moveTo>
                  <a:lnTo>
                    <a:pt x="818090" y="656000"/>
                  </a:lnTo>
                  <a:lnTo>
                    <a:pt x="841230" y="656000"/>
                  </a:lnTo>
                  <a:lnTo>
                    <a:pt x="841230" y="609824"/>
                  </a:lnTo>
                  <a:lnTo>
                    <a:pt x="818090" y="609614"/>
                  </a:lnTo>
                  <a:close/>
                </a:path>
                <a:path w="1045844" h="4121150" extrusionOk="0">
                  <a:moveTo>
                    <a:pt x="823011" y="516109"/>
                  </a:moveTo>
                  <a:lnTo>
                    <a:pt x="821971" y="527691"/>
                  </a:lnTo>
                  <a:lnTo>
                    <a:pt x="821048" y="539342"/>
                  </a:lnTo>
                  <a:lnTo>
                    <a:pt x="820243" y="551051"/>
                  </a:lnTo>
                  <a:lnTo>
                    <a:pt x="819556" y="562810"/>
                  </a:lnTo>
                  <a:lnTo>
                    <a:pt x="842696" y="563961"/>
                  </a:lnTo>
                  <a:lnTo>
                    <a:pt x="843369" y="552514"/>
                  </a:lnTo>
                  <a:lnTo>
                    <a:pt x="844149" y="541096"/>
                  </a:lnTo>
                  <a:lnTo>
                    <a:pt x="845067" y="529697"/>
                  </a:lnTo>
                  <a:lnTo>
                    <a:pt x="846152" y="518308"/>
                  </a:lnTo>
                  <a:lnTo>
                    <a:pt x="823011" y="516109"/>
                  </a:lnTo>
                  <a:close/>
                </a:path>
                <a:path w="1045844" h="4121150" extrusionOk="0">
                  <a:moveTo>
                    <a:pt x="836414" y="423337"/>
                  </a:moveTo>
                  <a:lnTo>
                    <a:pt x="834275" y="434823"/>
                  </a:lnTo>
                  <a:lnTo>
                    <a:pt x="832265" y="446347"/>
                  </a:lnTo>
                  <a:lnTo>
                    <a:pt x="830391" y="457911"/>
                  </a:lnTo>
                  <a:lnTo>
                    <a:pt x="828665" y="469514"/>
                  </a:lnTo>
                  <a:lnTo>
                    <a:pt x="851597" y="472865"/>
                  </a:lnTo>
                  <a:lnTo>
                    <a:pt x="853305" y="461497"/>
                  </a:lnTo>
                  <a:lnTo>
                    <a:pt x="855131" y="450169"/>
                  </a:lnTo>
                  <a:lnTo>
                    <a:pt x="857074" y="438880"/>
                  </a:lnTo>
                  <a:lnTo>
                    <a:pt x="859136" y="427630"/>
                  </a:lnTo>
                  <a:lnTo>
                    <a:pt x="836414" y="423337"/>
                  </a:lnTo>
                  <a:close/>
                </a:path>
                <a:path w="1045844" h="4121150" extrusionOk="0">
                  <a:moveTo>
                    <a:pt x="858089" y="332136"/>
                  </a:moveTo>
                  <a:lnTo>
                    <a:pt x="854928" y="343402"/>
                  </a:lnTo>
                  <a:lnTo>
                    <a:pt x="851885" y="354727"/>
                  </a:lnTo>
                  <a:lnTo>
                    <a:pt x="848959" y="366091"/>
                  </a:lnTo>
                  <a:lnTo>
                    <a:pt x="846152" y="377475"/>
                  </a:lnTo>
                  <a:lnTo>
                    <a:pt x="868664" y="382920"/>
                  </a:lnTo>
                  <a:lnTo>
                    <a:pt x="871439" y="371729"/>
                  </a:lnTo>
                  <a:lnTo>
                    <a:pt x="874292" y="360617"/>
                  </a:lnTo>
                  <a:lnTo>
                    <a:pt x="877263" y="349583"/>
                  </a:lnTo>
                  <a:lnTo>
                    <a:pt x="880392" y="338628"/>
                  </a:lnTo>
                  <a:lnTo>
                    <a:pt x="858089" y="332136"/>
                  </a:lnTo>
                  <a:close/>
                </a:path>
                <a:path w="1045844" h="4121150" extrusionOk="0">
                  <a:moveTo>
                    <a:pt x="888245" y="243448"/>
                  </a:moveTo>
                  <a:lnTo>
                    <a:pt x="884002" y="254324"/>
                  </a:lnTo>
                  <a:lnTo>
                    <a:pt x="879907" y="265279"/>
                  </a:lnTo>
                  <a:lnTo>
                    <a:pt x="875950" y="276313"/>
                  </a:lnTo>
                  <a:lnTo>
                    <a:pt x="872120" y="287425"/>
                  </a:lnTo>
                  <a:lnTo>
                    <a:pt x="894108" y="294964"/>
                  </a:lnTo>
                  <a:lnTo>
                    <a:pt x="897858" y="284088"/>
                  </a:lnTo>
                  <a:lnTo>
                    <a:pt x="901726" y="273290"/>
                  </a:lnTo>
                  <a:lnTo>
                    <a:pt x="905711" y="262570"/>
                  </a:lnTo>
                  <a:lnTo>
                    <a:pt x="909815" y="251929"/>
                  </a:lnTo>
                  <a:lnTo>
                    <a:pt x="888245" y="243448"/>
                  </a:lnTo>
                  <a:close/>
                </a:path>
                <a:path w="1045844" h="4121150" extrusionOk="0">
                  <a:moveTo>
                    <a:pt x="926673" y="157900"/>
                  </a:moveTo>
                  <a:lnTo>
                    <a:pt x="921406" y="168371"/>
                  </a:lnTo>
                  <a:lnTo>
                    <a:pt x="916281" y="178895"/>
                  </a:lnTo>
                  <a:lnTo>
                    <a:pt x="911271" y="189500"/>
                  </a:lnTo>
                  <a:lnTo>
                    <a:pt x="906359" y="200203"/>
                  </a:lnTo>
                  <a:lnTo>
                    <a:pt x="927511" y="209731"/>
                  </a:lnTo>
                  <a:lnTo>
                    <a:pt x="932281" y="199308"/>
                  </a:lnTo>
                  <a:lnTo>
                    <a:pt x="937170" y="188934"/>
                  </a:lnTo>
                  <a:lnTo>
                    <a:pt x="942176" y="178618"/>
                  </a:lnTo>
                  <a:lnTo>
                    <a:pt x="947294" y="168368"/>
                  </a:lnTo>
                  <a:lnTo>
                    <a:pt x="926673" y="157900"/>
                  </a:lnTo>
                  <a:close/>
                </a:path>
                <a:path w="1045844" h="4121150" extrusionOk="0">
                  <a:moveTo>
                    <a:pt x="973164" y="76437"/>
                  </a:moveTo>
                  <a:lnTo>
                    <a:pt x="966924" y="86371"/>
                  </a:lnTo>
                  <a:lnTo>
                    <a:pt x="960782" y="96384"/>
                  </a:lnTo>
                  <a:lnTo>
                    <a:pt x="954758" y="106475"/>
                  </a:lnTo>
                  <a:lnTo>
                    <a:pt x="948871" y="116645"/>
                  </a:lnTo>
                  <a:lnTo>
                    <a:pt x="968975" y="128058"/>
                  </a:lnTo>
                  <a:lnTo>
                    <a:pt x="974749" y="118185"/>
                  </a:lnTo>
                  <a:lnTo>
                    <a:pt x="980611" y="108360"/>
                  </a:lnTo>
                  <a:lnTo>
                    <a:pt x="986571" y="98594"/>
                  </a:lnTo>
                  <a:lnTo>
                    <a:pt x="992639" y="88897"/>
                  </a:lnTo>
                  <a:lnTo>
                    <a:pt x="973164" y="76437"/>
                  </a:lnTo>
                  <a:close/>
                </a:path>
                <a:path w="1045844" h="4121150" extrusionOk="0">
                  <a:moveTo>
                    <a:pt x="1027403" y="0"/>
                  </a:moveTo>
                  <a:lnTo>
                    <a:pt x="1020235" y="9245"/>
                  </a:lnTo>
                  <a:lnTo>
                    <a:pt x="1013175" y="18598"/>
                  </a:lnTo>
                  <a:lnTo>
                    <a:pt x="1006214" y="28050"/>
                  </a:lnTo>
                  <a:lnTo>
                    <a:pt x="999341" y="37590"/>
                  </a:lnTo>
                  <a:lnTo>
                    <a:pt x="1018293" y="50993"/>
                  </a:lnTo>
                  <a:lnTo>
                    <a:pt x="1024949" y="41688"/>
                  </a:lnTo>
                  <a:lnTo>
                    <a:pt x="1031722" y="32472"/>
                  </a:lnTo>
                  <a:lnTo>
                    <a:pt x="1038613" y="23354"/>
                  </a:lnTo>
                  <a:lnTo>
                    <a:pt x="1045622" y="14345"/>
                  </a:lnTo>
                  <a:lnTo>
                    <a:pt x="1027403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1"/>
            <p:cNvSpPr/>
            <p:nvPr/>
          </p:nvSpPr>
          <p:spPr>
            <a:xfrm>
              <a:off x="18983191" y="4875307"/>
              <a:ext cx="23495" cy="23495"/>
            </a:xfrm>
            <a:custGeom>
              <a:avLst/>
              <a:gdLst/>
              <a:ahLst/>
              <a:cxnLst/>
              <a:rect l="l" t="t" r="r" b="b"/>
              <a:pathLst>
                <a:path w="23494" h="23495" extrusionOk="0">
                  <a:moveTo>
                    <a:pt x="22837" y="0"/>
                  </a:moveTo>
                  <a:lnTo>
                    <a:pt x="15245" y="219"/>
                  </a:lnTo>
                  <a:lnTo>
                    <a:pt x="0" y="314"/>
                  </a:lnTo>
                  <a:lnTo>
                    <a:pt x="0" y="23475"/>
                  </a:lnTo>
                  <a:lnTo>
                    <a:pt x="15653" y="23381"/>
                  </a:lnTo>
                  <a:lnTo>
                    <a:pt x="23486" y="23172"/>
                  </a:lnTo>
                  <a:lnTo>
                    <a:pt x="22837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49;p1"/>
            <p:cNvSpPr/>
            <p:nvPr/>
          </p:nvSpPr>
          <p:spPr>
            <a:xfrm>
              <a:off x="2307165" y="7490248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4" h="120000" extrusionOk="0">
                  <a:moveTo>
                    <a:pt x="0" y="0"/>
                  </a:moveTo>
                  <a:lnTo>
                    <a:pt x="23172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150;p1"/>
            <p:cNvSpPr/>
            <p:nvPr/>
          </p:nvSpPr>
          <p:spPr>
            <a:xfrm>
              <a:off x="3392" y="7548147"/>
              <a:ext cx="2327275" cy="4854575"/>
            </a:xfrm>
            <a:custGeom>
              <a:avLst/>
              <a:gdLst/>
              <a:ahLst/>
              <a:cxnLst/>
              <a:rect l="l" t="t" r="r" b="b"/>
              <a:pathLst>
                <a:path w="2327275" h="4854575" extrusionOk="0">
                  <a:moveTo>
                    <a:pt x="2326944" y="0"/>
                  </a:moveTo>
                  <a:lnTo>
                    <a:pt x="2303772" y="0"/>
                  </a:lnTo>
                  <a:lnTo>
                    <a:pt x="2303772" y="46354"/>
                  </a:lnTo>
                  <a:lnTo>
                    <a:pt x="2326944" y="46354"/>
                  </a:lnTo>
                  <a:lnTo>
                    <a:pt x="2326944" y="0"/>
                  </a:lnTo>
                  <a:close/>
                </a:path>
                <a:path w="2327275" h="4854575" extrusionOk="0">
                  <a:moveTo>
                    <a:pt x="2326944" y="92688"/>
                  </a:moveTo>
                  <a:lnTo>
                    <a:pt x="2303772" y="92688"/>
                  </a:lnTo>
                  <a:lnTo>
                    <a:pt x="2303772" y="139042"/>
                  </a:lnTo>
                  <a:lnTo>
                    <a:pt x="2326944" y="139042"/>
                  </a:lnTo>
                  <a:lnTo>
                    <a:pt x="2326944" y="92688"/>
                  </a:lnTo>
                  <a:close/>
                </a:path>
                <a:path w="2327275" h="4854575" extrusionOk="0">
                  <a:moveTo>
                    <a:pt x="2326944" y="185407"/>
                  </a:moveTo>
                  <a:lnTo>
                    <a:pt x="2303772" y="185407"/>
                  </a:lnTo>
                  <a:lnTo>
                    <a:pt x="2303772" y="231731"/>
                  </a:lnTo>
                  <a:lnTo>
                    <a:pt x="2326944" y="231731"/>
                  </a:lnTo>
                  <a:lnTo>
                    <a:pt x="2326944" y="185407"/>
                  </a:lnTo>
                  <a:close/>
                </a:path>
                <a:path w="2327275" h="4854575" extrusionOk="0">
                  <a:moveTo>
                    <a:pt x="2326944" y="278085"/>
                  </a:moveTo>
                  <a:lnTo>
                    <a:pt x="2303772" y="278085"/>
                  </a:lnTo>
                  <a:lnTo>
                    <a:pt x="2303772" y="324419"/>
                  </a:lnTo>
                  <a:lnTo>
                    <a:pt x="2326944" y="324419"/>
                  </a:lnTo>
                  <a:lnTo>
                    <a:pt x="2326944" y="278085"/>
                  </a:lnTo>
                  <a:close/>
                </a:path>
                <a:path w="2327275" h="4854575" extrusionOk="0">
                  <a:moveTo>
                    <a:pt x="2326944" y="370763"/>
                  </a:moveTo>
                  <a:lnTo>
                    <a:pt x="2303772" y="370763"/>
                  </a:lnTo>
                  <a:lnTo>
                    <a:pt x="2303772" y="417097"/>
                  </a:lnTo>
                  <a:lnTo>
                    <a:pt x="2326944" y="417097"/>
                  </a:lnTo>
                  <a:lnTo>
                    <a:pt x="2326944" y="370763"/>
                  </a:lnTo>
                  <a:close/>
                </a:path>
                <a:path w="2327275" h="4854575" extrusionOk="0">
                  <a:moveTo>
                    <a:pt x="6690" y="448677"/>
                  </a:moveTo>
                  <a:lnTo>
                    <a:pt x="0" y="470844"/>
                  </a:lnTo>
                  <a:lnTo>
                    <a:pt x="10910" y="474219"/>
                  </a:lnTo>
                  <a:lnTo>
                    <a:pt x="21765" y="477730"/>
                  </a:lnTo>
                  <a:lnTo>
                    <a:pt x="32566" y="481376"/>
                  </a:lnTo>
                  <a:lnTo>
                    <a:pt x="43318" y="485158"/>
                  </a:lnTo>
                  <a:lnTo>
                    <a:pt x="51160" y="463389"/>
                  </a:lnTo>
                  <a:lnTo>
                    <a:pt x="40133" y="459485"/>
                  </a:lnTo>
                  <a:lnTo>
                    <a:pt x="29043" y="455734"/>
                  </a:lnTo>
                  <a:lnTo>
                    <a:pt x="17894" y="452133"/>
                  </a:lnTo>
                  <a:lnTo>
                    <a:pt x="6690" y="448677"/>
                  </a:lnTo>
                  <a:close/>
                </a:path>
                <a:path w="2327275" h="4854575" extrusionOk="0">
                  <a:moveTo>
                    <a:pt x="2326944" y="463462"/>
                  </a:moveTo>
                  <a:lnTo>
                    <a:pt x="2303772" y="463462"/>
                  </a:lnTo>
                  <a:lnTo>
                    <a:pt x="2303772" y="509785"/>
                  </a:lnTo>
                  <a:lnTo>
                    <a:pt x="2326944" y="509785"/>
                  </a:lnTo>
                  <a:lnTo>
                    <a:pt x="2326944" y="463462"/>
                  </a:lnTo>
                  <a:close/>
                </a:path>
                <a:path w="2327275" h="4854575" extrusionOk="0">
                  <a:moveTo>
                    <a:pt x="94719" y="480383"/>
                  </a:moveTo>
                  <a:lnTo>
                    <a:pt x="85798" y="501743"/>
                  </a:lnTo>
                  <a:lnTo>
                    <a:pt x="96325" y="506252"/>
                  </a:lnTo>
                  <a:lnTo>
                    <a:pt x="106767" y="510888"/>
                  </a:lnTo>
                  <a:lnTo>
                    <a:pt x="117125" y="515657"/>
                  </a:lnTo>
                  <a:lnTo>
                    <a:pt x="127399" y="520560"/>
                  </a:lnTo>
                  <a:lnTo>
                    <a:pt x="137514" y="499702"/>
                  </a:lnTo>
                  <a:lnTo>
                    <a:pt x="126932" y="494664"/>
                  </a:lnTo>
                  <a:lnTo>
                    <a:pt x="116277" y="489763"/>
                  </a:lnTo>
                  <a:lnTo>
                    <a:pt x="105542" y="485002"/>
                  </a:lnTo>
                  <a:lnTo>
                    <a:pt x="94719" y="480383"/>
                  </a:lnTo>
                  <a:close/>
                </a:path>
                <a:path w="2327275" h="4854575" extrusionOk="0">
                  <a:moveTo>
                    <a:pt x="179094" y="521177"/>
                  </a:moveTo>
                  <a:lnTo>
                    <a:pt x="167973" y="541480"/>
                  </a:lnTo>
                  <a:lnTo>
                    <a:pt x="177973" y="547055"/>
                  </a:lnTo>
                  <a:lnTo>
                    <a:pt x="187880" y="552756"/>
                  </a:lnTo>
                  <a:lnTo>
                    <a:pt x="197710" y="558589"/>
                  </a:lnTo>
                  <a:lnTo>
                    <a:pt x="207480" y="564558"/>
                  </a:lnTo>
                  <a:lnTo>
                    <a:pt x="219637" y="544831"/>
                  </a:lnTo>
                  <a:lnTo>
                    <a:pt x="209627" y="538726"/>
                  </a:lnTo>
                  <a:lnTo>
                    <a:pt x="199538" y="532753"/>
                  </a:lnTo>
                  <a:lnTo>
                    <a:pt x="189363" y="526905"/>
                  </a:lnTo>
                  <a:lnTo>
                    <a:pt x="179094" y="521177"/>
                  </a:lnTo>
                  <a:close/>
                </a:path>
                <a:path w="2327275" h="4854575" extrusionOk="0">
                  <a:moveTo>
                    <a:pt x="2326944" y="556171"/>
                  </a:moveTo>
                  <a:lnTo>
                    <a:pt x="2303772" y="556171"/>
                  </a:lnTo>
                  <a:lnTo>
                    <a:pt x="2303772" y="602452"/>
                  </a:lnTo>
                  <a:lnTo>
                    <a:pt x="2326944" y="602452"/>
                  </a:lnTo>
                  <a:lnTo>
                    <a:pt x="2326944" y="556171"/>
                  </a:lnTo>
                  <a:close/>
                </a:path>
                <a:path w="2327275" h="4854575" extrusionOk="0">
                  <a:moveTo>
                    <a:pt x="258861" y="570558"/>
                  </a:moveTo>
                  <a:lnTo>
                    <a:pt x="245709" y="589594"/>
                  </a:lnTo>
                  <a:lnTo>
                    <a:pt x="255049" y="596171"/>
                  </a:lnTo>
                  <a:lnTo>
                    <a:pt x="264312" y="602865"/>
                  </a:lnTo>
                  <a:lnTo>
                    <a:pt x="273490" y="609674"/>
                  </a:lnTo>
                  <a:lnTo>
                    <a:pt x="282577" y="616599"/>
                  </a:lnTo>
                  <a:lnTo>
                    <a:pt x="296734" y="598264"/>
                  </a:lnTo>
                  <a:lnTo>
                    <a:pt x="287416" y="591168"/>
                  </a:lnTo>
                  <a:lnTo>
                    <a:pt x="277998" y="584179"/>
                  </a:lnTo>
                  <a:lnTo>
                    <a:pt x="268479" y="577306"/>
                  </a:lnTo>
                  <a:lnTo>
                    <a:pt x="258861" y="570558"/>
                  </a:lnTo>
                  <a:close/>
                </a:path>
                <a:path w="2327275" h="4854575" extrusionOk="0">
                  <a:moveTo>
                    <a:pt x="333099" y="627855"/>
                  </a:moveTo>
                  <a:lnTo>
                    <a:pt x="318053" y="645488"/>
                  </a:lnTo>
                  <a:lnTo>
                    <a:pt x="326726" y="652974"/>
                  </a:lnTo>
                  <a:lnTo>
                    <a:pt x="335275" y="660572"/>
                  </a:lnTo>
                  <a:lnTo>
                    <a:pt x="343709" y="668283"/>
                  </a:lnTo>
                  <a:lnTo>
                    <a:pt x="352041" y="676105"/>
                  </a:lnTo>
                  <a:lnTo>
                    <a:pt x="367988" y="659299"/>
                  </a:lnTo>
                  <a:lnTo>
                    <a:pt x="359431" y="651268"/>
                  </a:lnTo>
                  <a:lnTo>
                    <a:pt x="350760" y="643353"/>
                  </a:lnTo>
                  <a:lnTo>
                    <a:pt x="341980" y="635549"/>
                  </a:lnTo>
                  <a:lnTo>
                    <a:pt x="333099" y="627855"/>
                  </a:lnTo>
                  <a:close/>
                </a:path>
                <a:path w="2327275" h="4854575" extrusionOk="0">
                  <a:moveTo>
                    <a:pt x="2326944" y="648849"/>
                  </a:moveTo>
                  <a:lnTo>
                    <a:pt x="2303772" y="648849"/>
                  </a:lnTo>
                  <a:lnTo>
                    <a:pt x="2303772" y="695162"/>
                  </a:lnTo>
                  <a:lnTo>
                    <a:pt x="2326944" y="695162"/>
                  </a:lnTo>
                  <a:lnTo>
                    <a:pt x="2326944" y="648849"/>
                  </a:lnTo>
                  <a:close/>
                </a:path>
                <a:path w="2327275" h="4854575" extrusionOk="0">
                  <a:moveTo>
                    <a:pt x="401254" y="692481"/>
                  </a:moveTo>
                  <a:lnTo>
                    <a:pt x="384459" y="708439"/>
                  </a:lnTo>
                  <a:lnTo>
                    <a:pt x="392294" y="716782"/>
                  </a:lnTo>
                  <a:lnTo>
                    <a:pt x="400020" y="725223"/>
                  </a:lnTo>
                  <a:lnTo>
                    <a:pt x="407646" y="733759"/>
                  </a:lnTo>
                  <a:lnTo>
                    <a:pt x="415181" y="742385"/>
                  </a:lnTo>
                  <a:lnTo>
                    <a:pt x="432719" y="727234"/>
                  </a:lnTo>
                  <a:lnTo>
                    <a:pt x="425011" y="718388"/>
                  </a:lnTo>
                  <a:lnTo>
                    <a:pt x="417191" y="709653"/>
                  </a:lnTo>
                  <a:lnTo>
                    <a:pt x="409269" y="701021"/>
                  </a:lnTo>
                  <a:lnTo>
                    <a:pt x="401254" y="692481"/>
                  </a:lnTo>
                  <a:close/>
                </a:path>
                <a:path w="2327275" h="4854575" extrusionOk="0">
                  <a:moveTo>
                    <a:pt x="2326944" y="741527"/>
                  </a:moveTo>
                  <a:lnTo>
                    <a:pt x="2303772" y="741527"/>
                  </a:lnTo>
                  <a:lnTo>
                    <a:pt x="2303772" y="787860"/>
                  </a:lnTo>
                  <a:lnTo>
                    <a:pt x="2326944" y="787860"/>
                  </a:lnTo>
                  <a:lnTo>
                    <a:pt x="2326944" y="741527"/>
                  </a:lnTo>
                  <a:close/>
                </a:path>
                <a:path w="2327275" h="4854575" extrusionOk="0">
                  <a:moveTo>
                    <a:pt x="462457" y="763578"/>
                  </a:moveTo>
                  <a:lnTo>
                    <a:pt x="444195" y="777787"/>
                  </a:lnTo>
                  <a:lnTo>
                    <a:pt x="451164" y="786865"/>
                  </a:lnTo>
                  <a:lnTo>
                    <a:pt x="458024" y="796033"/>
                  </a:lnTo>
                  <a:lnTo>
                    <a:pt x="464767" y="805287"/>
                  </a:lnTo>
                  <a:lnTo>
                    <a:pt x="471388" y="814624"/>
                  </a:lnTo>
                  <a:lnTo>
                    <a:pt x="490372" y="801368"/>
                  </a:lnTo>
                  <a:lnTo>
                    <a:pt x="483562" y="791782"/>
                  </a:lnTo>
                  <a:lnTo>
                    <a:pt x="476646" y="782285"/>
                  </a:lnTo>
                  <a:lnTo>
                    <a:pt x="469615" y="772881"/>
                  </a:lnTo>
                  <a:lnTo>
                    <a:pt x="462457" y="763578"/>
                  </a:lnTo>
                  <a:close/>
                </a:path>
                <a:path w="2327275" h="4854575" extrusionOk="0">
                  <a:moveTo>
                    <a:pt x="2326944" y="834225"/>
                  </a:moveTo>
                  <a:lnTo>
                    <a:pt x="2303772" y="834225"/>
                  </a:lnTo>
                  <a:lnTo>
                    <a:pt x="2303772" y="880528"/>
                  </a:lnTo>
                  <a:lnTo>
                    <a:pt x="2326944" y="880528"/>
                  </a:lnTo>
                  <a:lnTo>
                    <a:pt x="2326944" y="834225"/>
                  </a:lnTo>
                  <a:close/>
                </a:path>
                <a:path w="2327275" h="4854575" extrusionOk="0">
                  <a:moveTo>
                    <a:pt x="516371" y="840497"/>
                  </a:moveTo>
                  <a:lnTo>
                    <a:pt x="496770" y="852811"/>
                  </a:lnTo>
                  <a:lnTo>
                    <a:pt x="502765" y="862532"/>
                  </a:lnTo>
                  <a:lnTo>
                    <a:pt x="508666" y="872341"/>
                  </a:lnTo>
                  <a:lnTo>
                    <a:pt x="514458" y="882230"/>
                  </a:lnTo>
                  <a:lnTo>
                    <a:pt x="520130" y="892192"/>
                  </a:lnTo>
                  <a:lnTo>
                    <a:pt x="540339" y="880863"/>
                  </a:lnTo>
                  <a:lnTo>
                    <a:pt x="534524" y="870648"/>
                  </a:lnTo>
                  <a:lnTo>
                    <a:pt x="528583" y="860515"/>
                  </a:lnTo>
                  <a:lnTo>
                    <a:pt x="522528" y="850465"/>
                  </a:lnTo>
                  <a:lnTo>
                    <a:pt x="516371" y="840497"/>
                  </a:lnTo>
                  <a:close/>
                </a:path>
                <a:path w="2327275" h="4854575" extrusionOk="0">
                  <a:moveTo>
                    <a:pt x="562317" y="922422"/>
                  </a:moveTo>
                  <a:lnTo>
                    <a:pt x="541575" y="932746"/>
                  </a:lnTo>
                  <a:lnTo>
                    <a:pt x="546597" y="943017"/>
                  </a:lnTo>
                  <a:lnTo>
                    <a:pt x="551505" y="953362"/>
                  </a:lnTo>
                  <a:lnTo>
                    <a:pt x="556301" y="963775"/>
                  </a:lnTo>
                  <a:lnTo>
                    <a:pt x="560988" y="974253"/>
                  </a:lnTo>
                  <a:lnTo>
                    <a:pt x="582181" y="964986"/>
                  </a:lnTo>
                  <a:lnTo>
                    <a:pt x="577412" y="954227"/>
                  </a:lnTo>
                  <a:lnTo>
                    <a:pt x="572504" y="943547"/>
                  </a:lnTo>
                  <a:lnTo>
                    <a:pt x="567372" y="932746"/>
                  </a:lnTo>
                  <a:lnTo>
                    <a:pt x="562317" y="922422"/>
                  </a:lnTo>
                  <a:close/>
                </a:path>
                <a:path w="2327275" h="4854575" extrusionOk="0">
                  <a:moveTo>
                    <a:pt x="2326944" y="926893"/>
                  </a:moveTo>
                  <a:lnTo>
                    <a:pt x="2303772" y="926893"/>
                  </a:lnTo>
                  <a:lnTo>
                    <a:pt x="2303772" y="973247"/>
                  </a:lnTo>
                  <a:lnTo>
                    <a:pt x="2326944" y="973247"/>
                  </a:lnTo>
                  <a:lnTo>
                    <a:pt x="2326944" y="926893"/>
                  </a:lnTo>
                  <a:close/>
                </a:path>
                <a:path w="2327275" h="4854575" extrusionOk="0">
                  <a:moveTo>
                    <a:pt x="599918" y="1008534"/>
                  </a:moveTo>
                  <a:lnTo>
                    <a:pt x="578244" y="1016743"/>
                  </a:lnTo>
                  <a:lnTo>
                    <a:pt x="582234" y="1027443"/>
                  </a:lnTo>
                  <a:lnTo>
                    <a:pt x="586086" y="1038207"/>
                  </a:lnTo>
                  <a:lnTo>
                    <a:pt x="589805" y="1049033"/>
                  </a:lnTo>
                  <a:lnTo>
                    <a:pt x="593395" y="1059915"/>
                  </a:lnTo>
                  <a:lnTo>
                    <a:pt x="615457" y="1052774"/>
                  </a:lnTo>
                  <a:lnTo>
                    <a:pt x="611770" y="1041610"/>
                  </a:lnTo>
                  <a:lnTo>
                    <a:pt x="607951" y="1030517"/>
                  </a:lnTo>
                  <a:lnTo>
                    <a:pt x="604000" y="1019492"/>
                  </a:lnTo>
                  <a:lnTo>
                    <a:pt x="599918" y="1008534"/>
                  </a:lnTo>
                  <a:close/>
                </a:path>
                <a:path w="2327275" h="4854575" extrusionOk="0">
                  <a:moveTo>
                    <a:pt x="2326944" y="1019591"/>
                  </a:moveTo>
                  <a:lnTo>
                    <a:pt x="2303772" y="1019591"/>
                  </a:lnTo>
                  <a:lnTo>
                    <a:pt x="2303772" y="1065915"/>
                  </a:lnTo>
                  <a:lnTo>
                    <a:pt x="2326944" y="1065915"/>
                  </a:lnTo>
                  <a:lnTo>
                    <a:pt x="2326944" y="1019591"/>
                  </a:lnTo>
                  <a:close/>
                </a:path>
                <a:path w="2327275" h="4854575" extrusionOk="0">
                  <a:moveTo>
                    <a:pt x="628787" y="1097746"/>
                  </a:moveTo>
                  <a:lnTo>
                    <a:pt x="606379" y="1103767"/>
                  </a:lnTo>
                  <a:lnTo>
                    <a:pt x="609302" y="1114807"/>
                  </a:lnTo>
                  <a:lnTo>
                    <a:pt x="612086" y="1125893"/>
                  </a:lnTo>
                  <a:lnTo>
                    <a:pt x="614728" y="1137029"/>
                  </a:lnTo>
                  <a:lnTo>
                    <a:pt x="617227" y="1148216"/>
                  </a:lnTo>
                  <a:lnTo>
                    <a:pt x="639854" y="1143315"/>
                  </a:lnTo>
                  <a:lnTo>
                    <a:pt x="637290" y="1131832"/>
                  </a:lnTo>
                  <a:lnTo>
                    <a:pt x="634591" y="1120409"/>
                  </a:lnTo>
                  <a:lnTo>
                    <a:pt x="631757" y="1109047"/>
                  </a:lnTo>
                  <a:lnTo>
                    <a:pt x="628787" y="1097746"/>
                  </a:lnTo>
                  <a:close/>
                </a:path>
                <a:path w="2327275" h="4854575" extrusionOk="0">
                  <a:moveTo>
                    <a:pt x="2326944" y="1112280"/>
                  </a:moveTo>
                  <a:lnTo>
                    <a:pt x="2303772" y="1112280"/>
                  </a:lnTo>
                  <a:lnTo>
                    <a:pt x="2303772" y="1158613"/>
                  </a:lnTo>
                  <a:lnTo>
                    <a:pt x="2326944" y="1158613"/>
                  </a:lnTo>
                  <a:lnTo>
                    <a:pt x="2326944" y="1112280"/>
                  </a:lnTo>
                  <a:close/>
                </a:path>
                <a:path w="2327275" h="4854575" extrusionOk="0">
                  <a:moveTo>
                    <a:pt x="648692" y="1189345"/>
                  </a:moveTo>
                  <a:lnTo>
                    <a:pt x="625855" y="1193199"/>
                  </a:lnTo>
                  <a:lnTo>
                    <a:pt x="627656" y="1204444"/>
                  </a:lnTo>
                  <a:lnTo>
                    <a:pt x="629331" y="1215736"/>
                  </a:lnTo>
                  <a:lnTo>
                    <a:pt x="630873" y="1227073"/>
                  </a:lnTo>
                  <a:lnTo>
                    <a:pt x="632273" y="1238454"/>
                  </a:lnTo>
                  <a:lnTo>
                    <a:pt x="655278" y="1235805"/>
                  </a:lnTo>
                  <a:lnTo>
                    <a:pt x="653834" y="1224125"/>
                  </a:lnTo>
                  <a:lnTo>
                    <a:pt x="652260" y="1212489"/>
                  </a:lnTo>
                  <a:lnTo>
                    <a:pt x="650548" y="1200896"/>
                  </a:lnTo>
                  <a:lnTo>
                    <a:pt x="648692" y="1189345"/>
                  </a:lnTo>
                  <a:close/>
                </a:path>
                <a:path w="2327275" h="4854575" extrusionOk="0">
                  <a:moveTo>
                    <a:pt x="2326944" y="1204958"/>
                  </a:moveTo>
                  <a:lnTo>
                    <a:pt x="2303772" y="1204958"/>
                  </a:lnTo>
                  <a:lnTo>
                    <a:pt x="2303772" y="1251281"/>
                  </a:lnTo>
                  <a:lnTo>
                    <a:pt x="2326944" y="1251281"/>
                  </a:lnTo>
                  <a:lnTo>
                    <a:pt x="2326944" y="1204958"/>
                  </a:lnTo>
                  <a:close/>
                </a:path>
                <a:path w="2327275" h="4854575" extrusionOk="0">
                  <a:moveTo>
                    <a:pt x="659582" y="1282484"/>
                  </a:moveTo>
                  <a:lnTo>
                    <a:pt x="636472" y="1284065"/>
                  </a:lnTo>
                  <a:lnTo>
                    <a:pt x="637189" y="1295440"/>
                  </a:lnTo>
                  <a:lnTo>
                    <a:pt x="637765" y="1306852"/>
                  </a:lnTo>
                  <a:lnTo>
                    <a:pt x="638201" y="1318300"/>
                  </a:lnTo>
                  <a:lnTo>
                    <a:pt x="638493" y="1329781"/>
                  </a:lnTo>
                  <a:lnTo>
                    <a:pt x="661655" y="1329331"/>
                  </a:lnTo>
                  <a:lnTo>
                    <a:pt x="661344" y="1317555"/>
                  </a:lnTo>
                  <a:lnTo>
                    <a:pt x="660897" y="1305821"/>
                  </a:lnTo>
                  <a:lnTo>
                    <a:pt x="660310" y="1294130"/>
                  </a:lnTo>
                  <a:lnTo>
                    <a:pt x="659582" y="1282484"/>
                  </a:lnTo>
                  <a:close/>
                </a:path>
                <a:path w="2327275" h="4854575" extrusionOk="0">
                  <a:moveTo>
                    <a:pt x="2326944" y="1297635"/>
                  </a:moveTo>
                  <a:lnTo>
                    <a:pt x="2303772" y="1297635"/>
                  </a:lnTo>
                  <a:lnTo>
                    <a:pt x="2303772" y="1344000"/>
                  </a:lnTo>
                  <a:lnTo>
                    <a:pt x="2326944" y="1344000"/>
                  </a:lnTo>
                  <a:lnTo>
                    <a:pt x="2326944" y="1297635"/>
                  </a:lnTo>
                  <a:close/>
                </a:path>
                <a:path w="2327275" h="4854575" extrusionOk="0">
                  <a:moveTo>
                    <a:pt x="661854" y="1375905"/>
                  </a:moveTo>
                  <a:lnTo>
                    <a:pt x="638671" y="1375905"/>
                  </a:lnTo>
                  <a:lnTo>
                    <a:pt x="638671" y="1422239"/>
                  </a:lnTo>
                  <a:lnTo>
                    <a:pt x="661854" y="1422239"/>
                  </a:lnTo>
                  <a:lnTo>
                    <a:pt x="661854" y="1375905"/>
                  </a:lnTo>
                  <a:close/>
                </a:path>
                <a:path w="2327275" h="4854575" extrusionOk="0">
                  <a:moveTo>
                    <a:pt x="2326944" y="1390334"/>
                  </a:moveTo>
                  <a:lnTo>
                    <a:pt x="2303772" y="1390334"/>
                  </a:lnTo>
                  <a:lnTo>
                    <a:pt x="2303772" y="1436699"/>
                  </a:lnTo>
                  <a:lnTo>
                    <a:pt x="2326944" y="1436699"/>
                  </a:lnTo>
                  <a:lnTo>
                    <a:pt x="2326944" y="1390334"/>
                  </a:lnTo>
                  <a:close/>
                </a:path>
                <a:path w="2327275" h="4854575" extrusionOk="0">
                  <a:moveTo>
                    <a:pt x="661854" y="1468583"/>
                  </a:moveTo>
                  <a:lnTo>
                    <a:pt x="638671" y="1468583"/>
                  </a:lnTo>
                  <a:lnTo>
                    <a:pt x="638671" y="1514917"/>
                  </a:lnTo>
                  <a:lnTo>
                    <a:pt x="661854" y="1514917"/>
                  </a:lnTo>
                  <a:lnTo>
                    <a:pt x="661854" y="1468583"/>
                  </a:lnTo>
                  <a:close/>
                </a:path>
                <a:path w="2327275" h="4854575" extrusionOk="0">
                  <a:moveTo>
                    <a:pt x="2326944" y="1483022"/>
                  </a:moveTo>
                  <a:lnTo>
                    <a:pt x="2303772" y="1483022"/>
                  </a:lnTo>
                  <a:lnTo>
                    <a:pt x="2303772" y="1529377"/>
                  </a:lnTo>
                  <a:lnTo>
                    <a:pt x="2326944" y="1529377"/>
                  </a:lnTo>
                  <a:lnTo>
                    <a:pt x="2326944" y="1483022"/>
                  </a:lnTo>
                  <a:close/>
                </a:path>
                <a:path w="2327275" h="4854575" extrusionOk="0">
                  <a:moveTo>
                    <a:pt x="661854" y="1561261"/>
                  </a:moveTo>
                  <a:lnTo>
                    <a:pt x="638671" y="1561261"/>
                  </a:lnTo>
                  <a:lnTo>
                    <a:pt x="638671" y="1607595"/>
                  </a:lnTo>
                  <a:lnTo>
                    <a:pt x="661854" y="1607595"/>
                  </a:lnTo>
                  <a:lnTo>
                    <a:pt x="661854" y="1561261"/>
                  </a:lnTo>
                  <a:close/>
                </a:path>
                <a:path w="2327275" h="4854575" extrusionOk="0">
                  <a:moveTo>
                    <a:pt x="2326944" y="1575700"/>
                  </a:moveTo>
                  <a:lnTo>
                    <a:pt x="2303772" y="1575700"/>
                  </a:lnTo>
                  <a:lnTo>
                    <a:pt x="2303772" y="1622065"/>
                  </a:lnTo>
                  <a:lnTo>
                    <a:pt x="2326944" y="1622065"/>
                  </a:lnTo>
                  <a:lnTo>
                    <a:pt x="2326944" y="1575700"/>
                  </a:lnTo>
                  <a:close/>
                </a:path>
                <a:path w="2327275" h="4854575" extrusionOk="0">
                  <a:moveTo>
                    <a:pt x="661854" y="1653939"/>
                  </a:moveTo>
                  <a:lnTo>
                    <a:pt x="638671" y="1653939"/>
                  </a:lnTo>
                  <a:lnTo>
                    <a:pt x="638671" y="1700283"/>
                  </a:lnTo>
                  <a:lnTo>
                    <a:pt x="661854" y="1700283"/>
                  </a:lnTo>
                  <a:lnTo>
                    <a:pt x="661854" y="1653939"/>
                  </a:lnTo>
                  <a:close/>
                </a:path>
                <a:path w="2327275" h="4854575" extrusionOk="0">
                  <a:moveTo>
                    <a:pt x="2326944" y="1668368"/>
                  </a:moveTo>
                  <a:lnTo>
                    <a:pt x="2303772" y="1668368"/>
                  </a:lnTo>
                  <a:lnTo>
                    <a:pt x="2303772" y="1714743"/>
                  </a:lnTo>
                  <a:lnTo>
                    <a:pt x="2326944" y="1714743"/>
                  </a:lnTo>
                  <a:lnTo>
                    <a:pt x="2326944" y="1668368"/>
                  </a:lnTo>
                  <a:close/>
                </a:path>
                <a:path w="2327275" h="4854575" extrusionOk="0">
                  <a:moveTo>
                    <a:pt x="661854" y="1746627"/>
                  </a:moveTo>
                  <a:lnTo>
                    <a:pt x="638671" y="1746627"/>
                  </a:lnTo>
                  <a:lnTo>
                    <a:pt x="638671" y="1792992"/>
                  </a:lnTo>
                  <a:lnTo>
                    <a:pt x="661854" y="1792992"/>
                  </a:lnTo>
                  <a:lnTo>
                    <a:pt x="661854" y="1746627"/>
                  </a:lnTo>
                  <a:close/>
                </a:path>
                <a:path w="2327275" h="4854575" extrusionOk="0">
                  <a:moveTo>
                    <a:pt x="2326944" y="1761098"/>
                  </a:moveTo>
                  <a:lnTo>
                    <a:pt x="2303772" y="1761098"/>
                  </a:lnTo>
                  <a:lnTo>
                    <a:pt x="2303772" y="1807442"/>
                  </a:lnTo>
                  <a:lnTo>
                    <a:pt x="2326944" y="1807442"/>
                  </a:lnTo>
                  <a:lnTo>
                    <a:pt x="2326944" y="1761098"/>
                  </a:lnTo>
                  <a:close/>
                </a:path>
                <a:path w="2327275" h="4854575" extrusionOk="0">
                  <a:moveTo>
                    <a:pt x="661854" y="1839326"/>
                  </a:moveTo>
                  <a:lnTo>
                    <a:pt x="638671" y="1839326"/>
                  </a:lnTo>
                  <a:lnTo>
                    <a:pt x="638671" y="1885680"/>
                  </a:lnTo>
                  <a:lnTo>
                    <a:pt x="661854" y="1885680"/>
                  </a:lnTo>
                  <a:lnTo>
                    <a:pt x="661854" y="1839326"/>
                  </a:lnTo>
                  <a:close/>
                </a:path>
                <a:path w="2327275" h="4854575" extrusionOk="0">
                  <a:moveTo>
                    <a:pt x="2326944" y="1853765"/>
                  </a:moveTo>
                  <a:lnTo>
                    <a:pt x="2303772" y="1853765"/>
                  </a:lnTo>
                  <a:lnTo>
                    <a:pt x="2303772" y="1900109"/>
                  </a:lnTo>
                  <a:lnTo>
                    <a:pt x="2326944" y="1900109"/>
                  </a:lnTo>
                  <a:lnTo>
                    <a:pt x="2326944" y="1853765"/>
                  </a:lnTo>
                  <a:close/>
                </a:path>
                <a:path w="2327275" h="4854575" extrusionOk="0">
                  <a:moveTo>
                    <a:pt x="661854" y="1932014"/>
                  </a:moveTo>
                  <a:lnTo>
                    <a:pt x="638671" y="1932014"/>
                  </a:lnTo>
                  <a:lnTo>
                    <a:pt x="638671" y="1978358"/>
                  </a:lnTo>
                  <a:lnTo>
                    <a:pt x="661854" y="1978358"/>
                  </a:lnTo>
                  <a:lnTo>
                    <a:pt x="661854" y="1932014"/>
                  </a:lnTo>
                  <a:close/>
                </a:path>
                <a:path w="2327275" h="4854575" extrusionOk="0">
                  <a:moveTo>
                    <a:pt x="2326944" y="1946443"/>
                  </a:moveTo>
                  <a:lnTo>
                    <a:pt x="2303772" y="1946443"/>
                  </a:lnTo>
                  <a:lnTo>
                    <a:pt x="2303772" y="1992797"/>
                  </a:lnTo>
                  <a:lnTo>
                    <a:pt x="2326944" y="1992797"/>
                  </a:lnTo>
                  <a:lnTo>
                    <a:pt x="2326944" y="1946443"/>
                  </a:lnTo>
                  <a:close/>
                </a:path>
                <a:path w="2327275" h="4854575" extrusionOk="0">
                  <a:moveTo>
                    <a:pt x="661854" y="2024702"/>
                  </a:moveTo>
                  <a:lnTo>
                    <a:pt x="638671" y="2024702"/>
                  </a:lnTo>
                  <a:lnTo>
                    <a:pt x="638671" y="2071057"/>
                  </a:lnTo>
                  <a:lnTo>
                    <a:pt x="661854" y="2071057"/>
                  </a:lnTo>
                  <a:lnTo>
                    <a:pt x="661854" y="2024702"/>
                  </a:lnTo>
                  <a:close/>
                </a:path>
                <a:path w="2327275" h="4854575" extrusionOk="0">
                  <a:moveTo>
                    <a:pt x="2326944" y="2039152"/>
                  </a:moveTo>
                  <a:lnTo>
                    <a:pt x="2303772" y="2039152"/>
                  </a:lnTo>
                  <a:lnTo>
                    <a:pt x="2303772" y="2085486"/>
                  </a:lnTo>
                  <a:lnTo>
                    <a:pt x="2326944" y="2085486"/>
                  </a:lnTo>
                  <a:lnTo>
                    <a:pt x="2326944" y="2039152"/>
                  </a:lnTo>
                  <a:close/>
                </a:path>
                <a:path w="2327275" h="4854575" extrusionOk="0">
                  <a:moveTo>
                    <a:pt x="661854" y="2117411"/>
                  </a:moveTo>
                  <a:lnTo>
                    <a:pt x="638671" y="2117411"/>
                  </a:lnTo>
                  <a:lnTo>
                    <a:pt x="638671" y="2163735"/>
                  </a:lnTo>
                  <a:lnTo>
                    <a:pt x="661854" y="2163735"/>
                  </a:lnTo>
                  <a:lnTo>
                    <a:pt x="661854" y="2117411"/>
                  </a:lnTo>
                  <a:close/>
                </a:path>
                <a:path w="2327275" h="4854575" extrusionOk="0">
                  <a:moveTo>
                    <a:pt x="2326944" y="2131851"/>
                  </a:moveTo>
                  <a:lnTo>
                    <a:pt x="2303772" y="2131851"/>
                  </a:lnTo>
                  <a:lnTo>
                    <a:pt x="2303772" y="2178174"/>
                  </a:lnTo>
                  <a:lnTo>
                    <a:pt x="2326944" y="2178174"/>
                  </a:lnTo>
                  <a:lnTo>
                    <a:pt x="2326944" y="2131851"/>
                  </a:lnTo>
                  <a:close/>
                </a:path>
                <a:path w="2327275" h="4854575" extrusionOk="0">
                  <a:moveTo>
                    <a:pt x="661854" y="2210089"/>
                  </a:moveTo>
                  <a:lnTo>
                    <a:pt x="638671" y="2210089"/>
                  </a:lnTo>
                  <a:lnTo>
                    <a:pt x="638671" y="2256433"/>
                  </a:lnTo>
                  <a:lnTo>
                    <a:pt x="661854" y="2256433"/>
                  </a:lnTo>
                  <a:lnTo>
                    <a:pt x="661854" y="2210089"/>
                  </a:lnTo>
                  <a:close/>
                </a:path>
                <a:path w="2327275" h="4854575" extrusionOk="0">
                  <a:moveTo>
                    <a:pt x="2326944" y="2224529"/>
                  </a:moveTo>
                  <a:lnTo>
                    <a:pt x="2303772" y="2224529"/>
                  </a:lnTo>
                  <a:lnTo>
                    <a:pt x="2303772" y="2270862"/>
                  </a:lnTo>
                  <a:lnTo>
                    <a:pt x="2326944" y="2270862"/>
                  </a:lnTo>
                  <a:lnTo>
                    <a:pt x="2326944" y="2224529"/>
                  </a:lnTo>
                  <a:close/>
                </a:path>
                <a:path w="2327275" h="4854575" extrusionOk="0">
                  <a:moveTo>
                    <a:pt x="661854" y="2302778"/>
                  </a:moveTo>
                  <a:lnTo>
                    <a:pt x="638671" y="2302778"/>
                  </a:lnTo>
                  <a:lnTo>
                    <a:pt x="638671" y="2349101"/>
                  </a:lnTo>
                  <a:lnTo>
                    <a:pt x="661854" y="2349101"/>
                  </a:lnTo>
                  <a:lnTo>
                    <a:pt x="661854" y="2302778"/>
                  </a:lnTo>
                  <a:close/>
                </a:path>
                <a:path w="2327275" h="4854575" extrusionOk="0">
                  <a:moveTo>
                    <a:pt x="2326944" y="2317217"/>
                  </a:moveTo>
                  <a:lnTo>
                    <a:pt x="2303772" y="2317217"/>
                  </a:lnTo>
                  <a:lnTo>
                    <a:pt x="2303772" y="2363540"/>
                  </a:lnTo>
                  <a:lnTo>
                    <a:pt x="2326944" y="2363540"/>
                  </a:lnTo>
                  <a:lnTo>
                    <a:pt x="2326944" y="2317217"/>
                  </a:lnTo>
                  <a:close/>
                </a:path>
                <a:path w="2327275" h="4854575" extrusionOk="0">
                  <a:moveTo>
                    <a:pt x="661854" y="2395455"/>
                  </a:moveTo>
                  <a:lnTo>
                    <a:pt x="638671" y="2395455"/>
                  </a:lnTo>
                  <a:lnTo>
                    <a:pt x="638671" y="2441789"/>
                  </a:lnTo>
                  <a:lnTo>
                    <a:pt x="661854" y="2441789"/>
                  </a:lnTo>
                  <a:lnTo>
                    <a:pt x="661854" y="2395455"/>
                  </a:lnTo>
                  <a:close/>
                </a:path>
                <a:path w="2327275" h="4854575" extrusionOk="0">
                  <a:moveTo>
                    <a:pt x="2326944" y="2409895"/>
                  </a:moveTo>
                  <a:lnTo>
                    <a:pt x="2303772" y="2409895"/>
                  </a:lnTo>
                  <a:lnTo>
                    <a:pt x="2303772" y="2456260"/>
                  </a:lnTo>
                  <a:lnTo>
                    <a:pt x="2326944" y="2456260"/>
                  </a:lnTo>
                  <a:lnTo>
                    <a:pt x="2326944" y="2409895"/>
                  </a:lnTo>
                  <a:close/>
                </a:path>
                <a:path w="2327275" h="4854575" extrusionOk="0">
                  <a:moveTo>
                    <a:pt x="661854" y="2488154"/>
                  </a:moveTo>
                  <a:lnTo>
                    <a:pt x="638671" y="2488154"/>
                  </a:lnTo>
                  <a:lnTo>
                    <a:pt x="638671" y="2534509"/>
                  </a:lnTo>
                  <a:lnTo>
                    <a:pt x="661854" y="2534509"/>
                  </a:lnTo>
                  <a:lnTo>
                    <a:pt x="661854" y="2488154"/>
                  </a:lnTo>
                  <a:close/>
                </a:path>
                <a:path w="2327275" h="4854575" extrusionOk="0">
                  <a:moveTo>
                    <a:pt x="2326944" y="2502583"/>
                  </a:moveTo>
                  <a:lnTo>
                    <a:pt x="2303772" y="2502583"/>
                  </a:lnTo>
                  <a:lnTo>
                    <a:pt x="2303772" y="2548917"/>
                  </a:lnTo>
                  <a:lnTo>
                    <a:pt x="2326944" y="2548917"/>
                  </a:lnTo>
                  <a:lnTo>
                    <a:pt x="2326944" y="2502583"/>
                  </a:lnTo>
                  <a:close/>
                </a:path>
                <a:path w="2327275" h="4854575" extrusionOk="0">
                  <a:moveTo>
                    <a:pt x="661854" y="2580842"/>
                  </a:moveTo>
                  <a:lnTo>
                    <a:pt x="638671" y="2580842"/>
                  </a:lnTo>
                  <a:lnTo>
                    <a:pt x="638671" y="2627187"/>
                  </a:lnTo>
                  <a:lnTo>
                    <a:pt x="661854" y="2627187"/>
                  </a:lnTo>
                  <a:lnTo>
                    <a:pt x="661854" y="2580842"/>
                  </a:lnTo>
                  <a:close/>
                </a:path>
                <a:path w="2327275" h="4854575" extrusionOk="0">
                  <a:moveTo>
                    <a:pt x="2326944" y="2595271"/>
                  </a:moveTo>
                  <a:lnTo>
                    <a:pt x="2303772" y="2595271"/>
                  </a:lnTo>
                  <a:lnTo>
                    <a:pt x="2303772" y="2641615"/>
                  </a:lnTo>
                  <a:lnTo>
                    <a:pt x="2326944" y="2641615"/>
                  </a:lnTo>
                  <a:lnTo>
                    <a:pt x="2326944" y="2595271"/>
                  </a:lnTo>
                  <a:close/>
                </a:path>
                <a:path w="2327275" h="4854575" extrusionOk="0">
                  <a:moveTo>
                    <a:pt x="661854" y="2673531"/>
                  </a:moveTo>
                  <a:lnTo>
                    <a:pt x="638671" y="2673531"/>
                  </a:lnTo>
                  <a:lnTo>
                    <a:pt x="638671" y="2719864"/>
                  </a:lnTo>
                  <a:lnTo>
                    <a:pt x="661854" y="2719864"/>
                  </a:lnTo>
                  <a:lnTo>
                    <a:pt x="661854" y="2673531"/>
                  </a:lnTo>
                  <a:close/>
                </a:path>
                <a:path w="2327275" h="4854575" extrusionOk="0">
                  <a:moveTo>
                    <a:pt x="2326944" y="2687960"/>
                  </a:moveTo>
                  <a:lnTo>
                    <a:pt x="2303772" y="2687960"/>
                  </a:lnTo>
                  <a:lnTo>
                    <a:pt x="2303772" y="2734314"/>
                  </a:lnTo>
                  <a:lnTo>
                    <a:pt x="2326944" y="2734314"/>
                  </a:lnTo>
                  <a:lnTo>
                    <a:pt x="2326944" y="2687960"/>
                  </a:lnTo>
                  <a:close/>
                </a:path>
                <a:path w="2327275" h="4854575" extrusionOk="0">
                  <a:moveTo>
                    <a:pt x="661854" y="2766208"/>
                  </a:moveTo>
                  <a:lnTo>
                    <a:pt x="638671" y="2766208"/>
                  </a:lnTo>
                  <a:lnTo>
                    <a:pt x="638671" y="2812563"/>
                  </a:lnTo>
                  <a:lnTo>
                    <a:pt x="661854" y="2812563"/>
                  </a:lnTo>
                  <a:lnTo>
                    <a:pt x="661854" y="2766208"/>
                  </a:lnTo>
                  <a:close/>
                </a:path>
                <a:path w="2327275" h="4854575" extrusionOk="0">
                  <a:moveTo>
                    <a:pt x="2326944" y="2780679"/>
                  </a:moveTo>
                  <a:lnTo>
                    <a:pt x="2303772" y="2780679"/>
                  </a:lnTo>
                  <a:lnTo>
                    <a:pt x="2303772" y="2826992"/>
                  </a:lnTo>
                  <a:lnTo>
                    <a:pt x="2326944" y="2826992"/>
                  </a:lnTo>
                  <a:lnTo>
                    <a:pt x="2326944" y="2780679"/>
                  </a:lnTo>
                  <a:close/>
                </a:path>
                <a:path w="2327275" h="4854575" extrusionOk="0">
                  <a:moveTo>
                    <a:pt x="661854" y="2858886"/>
                  </a:moveTo>
                  <a:lnTo>
                    <a:pt x="638671" y="2858886"/>
                  </a:lnTo>
                  <a:lnTo>
                    <a:pt x="638671" y="2905251"/>
                  </a:lnTo>
                  <a:lnTo>
                    <a:pt x="661854" y="2905251"/>
                  </a:lnTo>
                  <a:lnTo>
                    <a:pt x="661854" y="2858886"/>
                  </a:lnTo>
                  <a:close/>
                </a:path>
                <a:path w="2327275" h="4854575" extrusionOk="0">
                  <a:moveTo>
                    <a:pt x="2326944" y="2873336"/>
                  </a:moveTo>
                  <a:lnTo>
                    <a:pt x="2303772" y="2873336"/>
                  </a:lnTo>
                  <a:lnTo>
                    <a:pt x="2303772" y="2919680"/>
                  </a:lnTo>
                  <a:lnTo>
                    <a:pt x="2326944" y="2919680"/>
                  </a:lnTo>
                  <a:lnTo>
                    <a:pt x="2326944" y="2873336"/>
                  </a:lnTo>
                  <a:close/>
                </a:path>
                <a:path w="2327275" h="4854575" extrusionOk="0">
                  <a:moveTo>
                    <a:pt x="661854" y="2951585"/>
                  </a:moveTo>
                  <a:lnTo>
                    <a:pt x="638671" y="2951585"/>
                  </a:lnTo>
                  <a:lnTo>
                    <a:pt x="638671" y="2997929"/>
                  </a:lnTo>
                  <a:lnTo>
                    <a:pt x="661854" y="2997929"/>
                  </a:lnTo>
                  <a:lnTo>
                    <a:pt x="661854" y="2951585"/>
                  </a:lnTo>
                  <a:close/>
                </a:path>
                <a:path w="2327275" h="4854575" extrusionOk="0">
                  <a:moveTo>
                    <a:pt x="2326944" y="2966024"/>
                  </a:moveTo>
                  <a:lnTo>
                    <a:pt x="2303772" y="2966024"/>
                  </a:lnTo>
                  <a:lnTo>
                    <a:pt x="2303772" y="3012369"/>
                  </a:lnTo>
                  <a:lnTo>
                    <a:pt x="2326944" y="3012369"/>
                  </a:lnTo>
                  <a:lnTo>
                    <a:pt x="2326944" y="2966024"/>
                  </a:lnTo>
                  <a:close/>
                </a:path>
                <a:path w="2327275" h="4854575" extrusionOk="0">
                  <a:moveTo>
                    <a:pt x="661854" y="3044273"/>
                  </a:moveTo>
                  <a:lnTo>
                    <a:pt x="638671" y="3044273"/>
                  </a:lnTo>
                  <a:lnTo>
                    <a:pt x="638671" y="3090617"/>
                  </a:lnTo>
                  <a:lnTo>
                    <a:pt x="661854" y="3090617"/>
                  </a:lnTo>
                  <a:lnTo>
                    <a:pt x="661854" y="3044273"/>
                  </a:lnTo>
                  <a:close/>
                </a:path>
                <a:path w="2327275" h="4854575" extrusionOk="0">
                  <a:moveTo>
                    <a:pt x="2326944" y="3058713"/>
                  </a:moveTo>
                  <a:lnTo>
                    <a:pt x="2303772" y="3058713"/>
                  </a:lnTo>
                  <a:lnTo>
                    <a:pt x="2303772" y="3105057"/>
                  </a:lnTo>
                  <a:lnTo>
                    <a:pt x="2326944" y="3105057"/>
                  </a:lnTo>
                  <a:lnTo>
                    <a:pt x="2326944" y="3058713"/>
                  </a:lnTo>
                  <a:close/>
                </a:path>
                <a:path w="2327275" h="4854575" extrusionOk="0">
                  <a:moveTo>
                    <a:pt x="661854" y="3136972"/>
                  </a:moveTo>
                  <a:lnTo>
                    <a:pt x="638671" y="3136972"/>
                  </a:lnTo>
                  <a:lnTo>
                    <a:pt x="638671" y="3183306"/>
                  </a:lnTo>
                  <a:lnTo>
                    <a:pt x="661854" y="3183306"/>
                  </a:lnTo>
                  <a:lnTo>
                    <a:pt x="661854" y="3136972"/>
                  </a:lnTo>
                  <a:close/>
                </a:path>
                <a:path w="2327275" h="4854575" extrusionOk="0">
                  <a:moveTo>
                    <a:pt x="2326944" y="3151411"/>
                  </a:moveTo>
                  <a:lnTo>
                    <a:pt x="2303772" y="3151411"/>
                  </a:lnTo>
                  <a:lnTo>
                    <a:pt x="2303772" y="3197745"/>
                  </a:lnTo>
                  <a:lnTo>
                    <a:pt x="2326944" y="3197745"/>
                  </a:lnTo>
                  <a:lnTo>
                    <a:pt x="2326944" y="3151411"/>
                  </a:lnTo>
                  <a:close/>
                </a:path>
                <a:path w="2327275" h="4854575" extrusionOk="0">
                  <a:moveTo>
                    <a:pt x="661854" y="3229660"/>
                  </a:moveTo>
                  <a:lnTo>
                    <a:pt x="638671" y="3229660"/>
                  </a:lnTo>
                  <a:lnTo>
                    <a:pt x="638671" y="3275973"/>
                  </a:lnTo>
                  <a:lnTo>
                    <a:pt x="661854" y="3275973"/>
                  </a:lnTo>
                  <a:lnTo>
                    <a:pt x="661854" y="3229660"/>
                  </a:lnTo>
                  <a:close/>
                </a:path>
                <a:path w="2327275" h="4854575" extrusionOk="0">
                  <a:moveTo>
                    <a:pt x="2326944" y="3244100"/>
                  </a:moveTo>
                  <a:lnTo>
                    <a:pt x="2303772" y="3244100"/>
                  </a:lnTo>
                  <a:lnTo>
                    <a:pt x="2303772" y="3290433"/>
                  </a:lnTo>
                  <a:lnTo>
                    <a:pt x="2326944" y="3290433"/>
                  </a:lnTo>
                  <a:lnTo>
                    <a:pt x="2326944" y="3244100"/>
                  </a:lnTo>
                  <a:close/>
                </a:path>
                <a:path w="2327275" h="4854575" extrusionOk="0">
                  <a:moveTo>
                    <a:pt x="661854" y="3322359"/>
                  </a:moveTo>
                  <a:lnTo>
                    <a:pt x="638671" y="3322359"/>
                  </a:lnTo>
                  <a:lnTo>
                    <a:pt x="638671" y="3368693"/>
                  </a:lnTo>
                  <a:lnTo>
                    <a:pt x="661854" y="3368693"/>
                  </a:lnTo>
                  <a:lnTo>
                    <a:pt x="661854" y="3322359"/>
                  </a:lnTo>
                  <a:close/>
                </a:path>
                <a:path w="2327275" h="4854575" extrusionOk="0">
                  <a:moveTo>
                    <a:pt x="2326944" y="3336798"/>
                  </a:moveTo>
                  <a:lnTo>
                    <a:pt x="2303772" y="3336798"/>
                  </a:lnTo>
                  <a:lnTo>
                    <a:pt x="2303772" y="3383132"/>
                  </a:lnTo>
                  <a:lnTo>
                    <a:pt x="2326944" y="3383132"/>
                  </a:lnTo>
                  <a:lnTo>
                    <a:pt x="2326944" y="3336798"/>
                  </a:lnTo>
                  <a:close/>
                </a:path>
                <a:path w="2327275" h="4854575" extrusionOk="0">
                  <a:moveTo>
                    <a:pt x="661854" y="3415026"/>
                  </a:moveTo>
                  <a:lnTo>
                    <a:pt x="638671" y="3415026"/>
                  </a:lnTo>
                  <a:lnTo>
                    <a:pt x="638671" y="3461360"/>
                  </a:lnTo>
                  <a:lnTo>
                    <a:pt x="661854" y="3461360"/>
                  </a:lnTo>
                  <a:lnTo>
                    <a:pt x="661854" y="3415026"/>
                  </a:lnTo>
                  <a:close/>
                </a:path>
                <a:path w="2327275" h="4854575" extrusionOk="0">
                  <a:moveTo>
                    <a:pt x="2326944" y="3429466"/>
                  </a:moveTo>
                  <a:lnTo>
                    <a:pt x="2303772" y="3429466"/>
                  </a:lnTo>
                  <a:lnTo>
                    <a:pt x="2303772" y="3475820"/>
                  </a:lnTo>
                  <a:lnTo>
                    <a:pt x="2326944" y="3475820"/>
                  </a:lnTo>
                  <a:lnTo>
                    <a:pt x="2326944" y="3429466"/>
                  </a:lnTo>
                  <a:close/>
                </a:path>
                <a:path w="2327275" h="4854575" extrusionOk="0">
                  <a:moveTo>
                    <a:pt x="661854" y="3507715"/>
                  </a:moveTo>
                  <a:lnTo>
                    <a:pt x="638671" y="3507715"/>
                  </a:lnTo>
                  <a:lnTo>
                    <a:pt x="638671" y="3554059"/>
                  </a:lnTo>
                  <a:lnTo>
                    <a:pt x="661854" y="3554059"/>
                  </a:lnTo>
                  <a:lnTo>
                    <a:pt x="661854" y="3507715"/>
                  </a:lnTo>
                  <a:close/>
                </a:path>
                <a:path w="2327275" h="4854575" extrusionOk="0">
                  <a:moveTo>
                    <a:pt x="2326944" y="3522154"/>
                  </a:moveTo>
                  <a:lnTo>
                    <a:pt x="2303772" y="3522154"/>
                  </a:lnTo>
                  <a:lnTo>
                    <a:pt x="2303772" y="3568509"/>
                  </a:lnTo>
                  <a:lnTo>
                    <a:pt x="2326944" y="3568509"/>
                  </a:lnTo>
                  <a:lnTo>
                    <a:pt x="2326944" y="3522154"/>
                  </a:lnTo>
                  <a:close/>
                </a:path>
                <a:path w="2327275" h="4854575" extrusionOk="0">
                  <a:moveTo>
                    <a:pt x="661854" y="3600403"/>
                  </a:moveTo>
                  <a:lnTo>
                    <a:pt x="638671" y="3600403"/>
                  </a:lnTo>
                  <a:lnTo>
                    <a:pt x="638671" y="3646758"/>
                  </a:lnTo>
                  <a:lnTo>
                    <a:pt x="661854" y="3646758"/>
                  </a:lnTo>
                  <a:lnTo>
                    <a:pt x="661854" y="3600403"/>
                  </a:lnTo>
                  <a:close/>
                </a:path>
                <a:path w="2327275" h="4854575" extrusionOk="0">
                  <a:moveTo>
                    <a:pt x="2326944" y="3614842"/>
                  </a:moveTo>
                  <a:lnTo>
                    <a:pt x="2303772" y="3614842"/>
                  </a:lnTo>
                  <a:lnTo>
                    <a:pt x="2303772" y="3661186"/>
                  </a:lnTo>
                  <a:lnTo>
                    <a:pt x="2326944" y="3661186"/>
                  </a:lnTo>
                  <a:lnTo>
                    <a:pt x="2326944" y="3614842"/>
                  </a:lnTo>
                  <a:close/>
                </a:path>
                <a:path w="2327275" h="4854575" extrusionOk="0">
                  <a:moveTo>
                    <a:pt x="661854" y="3693091"/>
                  </a:moveTo>
                  <a:lnTo>
                    <a:pt x="638671" y="3693091"/>
                  </a:lnTo>
                  <a:lnTo>
                    <a:pt x="638671" y="3739446"/>
                  </a:lnTo>
                  <a:lnTo>
                    <a:pt x="661854" y="3739446"/>
                  </a:lnTo>
                  <a:lnTo>
                    <a:pt x="661854" y="3693091"/>
                  </a:lnTo>
                  <a:close/>
                </a:path>
                <a:path w="2327275" h="4854575" extrusionOk="0">
                  <a:moveTo>
                    <a:pt x="2326944" y="3707531"/>
                  </a:moveTo>
                  <a:lnTo>
                    <a:pt x="2303772" y="3707531"/>
                  </a:lnTo>
                  <a:lnTo>
                    <a:pt x="2303772" y="3753885"/>
                  </a:lnTo>
                  <a:lnTo>
                    <a:pt x="2326944" y="3753885"/>
                  </a:lnTo>
                  <a:lnTo>
                    <a:pt x="2326944" y="3707531"/>
                  </a:lnTo>
                  <a:close/>
                </a:path>
                <a:path w="2327275" h="4854575" extrusionOk="0">
                  <a:moveTo>
                    <a:pt x="661854" y="3785800"/>
                  </a:moveTo>
                  <a:lnTo>
                    <a:pt x="638671" y="3785800"/>
                  </a:lnTo>
                  <a:lnTo>
                    <a:pt x="638671" y="3832134"/>
                  </a:lnTo>
                  <a:lnTo>
                    <a:pt x="661854" y="3832134"/>
                  </a:lnTo>
                  <a:lnTo>
                    <a:pt x="661854" y="3785800"/>
                  </a:lnTo>
                  <a:close/>
                </a:path>
                <a:path w="2327275" h="4854575" extrusionOk="0">
                  <a:moveTo>
                    <a:pt x="2326944" y="3800229"/>
                  </a:moveTo>
                  <a:lnTo>
                    <a:pt x="2303772" y="3800229"/>
                  </a:lnTo>
                  <a:lnTo>
                    <a:pt x="2303772" y="3846573"/>
                  </a:lnTo>
                  <a:lnTo>
                    <a:pt x="2326944" y="3846573"/>
                  </a:lnTo>
                  <a:lnTo>
                    <a:pt x="2326944" y="3800229"/>
                  </a:lnTo>
                  <a:close/>
                </a:path>
                <a:path w="2327275" h="4854575" extrusionOk="0">
                  <a:moveTo>
                    <a:pt x="661854" y="3878468"/>
                  </a:moveTo>
                  <a:lnTo>
                    <a:pt x="638671" y="3878468"/>
                  </a:lnTo>
                  <a:lnTo>
                    <a:pt x="638671" y="3924885"/>
                  </a:lnTo>
                  <a:lnTo>
                    <a:pt x="661854" y="3924728"/>
                  </a:lnTo>
                  <a:lnTo>
                    <a:pt x="661854" y="3878468"/>
                  </a:lnTo>
                  <a:close/>
                </a:path>
                <a:path w="2327275" h="4854575" extrusionOk="0">
                  <a:moveTo>
                    <a:pt x="2326913" y="3892928"/>
                  </a:moveTo>
                  <a:lnTo>
                    <a:pt x="2303762" y="3892928"/>
                  </a:lnTo>
                  <a:lnTo>
                    <a:pt x="2303693" y="3931723"/>
                  </a:lnTo>
                  <a:lnTo>
                    <a:pt x="2303552" y="3938990"/>
                  </a:lnTo>
                  <a:lnTo>
                    <a:pt x="2326714" y="3939503"/>
                  </a:lnTo>
                  <a:lnTo>
                    <a:pt x="2326850" y="3931723"/>
                  </a:lnTo>
                  <a:lnTo>
                    <a:pt x="2326913" y="3892928"/>
                  </a:lnTo>
                  <a:close/>
                </a:path>
                <a:path w="2327275" h="4854575" extrusionOk="0">
                  <a:moveTo>
                    <a:pt x="663246" y="3970517"/>
                  </a:moveTo>
                  <a:lnTo>
                    <a:pt x="640148" y="3971742"/>
                  </a:lnTo>
                  <a:lnTo>
                    <a:pt x="640825" y="3983474"/>
                  </a:lnTo>
                  <a:lnTo>
                    <a:pt x="641630" y="3995171"/>
                  </a:lnTo>
                  <a:lnTo>
                    <a:pt x="642564" y="4006828"/>
                  </a:lnTo>
                  <a:lnTo>
                    <a:pt x="643624" y="4018443"/>
                  </a:lnTo>
                  <a:lnTo>
                    <a:pt x="666681" y="4016181"/>
                  </a:lnTo>
                  <a:lnTo>
                    <a:pt x="665635" y="4004838"/>
                  </a:lnTo>
                  <a:lnTo>
                    <a:pt x="664712" y="3993443"/>
                  </a:lnTo>
                  <a:lnTo>
                    <a:pt x="663915" y="3982002"/>
                  </a:lnTo>
                  <a:lnTo>
                    <a:pt x="663246" y="3970517"/>
                  </a:lnTo>
                  <a:close/>
                </a:path>
                <a:path w="2327275" h="4854575" extrusionOk="0">
                  <a:moveTo>
                    <a:pt x="2301511" y="3984747"/>
                  </a:moveTo>
                  <a:lnTo>
                    <a:pt x="2300674" y="3996226"/>
                  </a:lnTo>
                  <a:lnTo>
                    <a:pt x="2299715" y="4007656"/>
                  </a:lnTo>
                  <a:lnTo>
                    <a:pt x="2298630" y="4019045"/>
                  </a:lnTo>
                  <a:lnTo>
                    <a:pt x="2297416" y="4030400"/>
                  </a:lnTo>
                  <a:lnTo>
                    <a:pt x="2320463" y="4032976"/>
                  </a:lnTo>
                  <a:lnTo>
                    <a:pt x="2321688" y="4021373"/>
                  </a:lnTo>
                  <a:lnTo>
                    <a:pt x="2322790" y="4009728"/>
                  </a:lnTo>
                  <a:lnTo>
                    <a:pt x="2323770" y="3998040"/>
                  </a:lnTo>
                  <a:lnTo>
                    <a:pt x="2324630" y="3986307"/>
                  </a:lnTo>
                  <a:lnTo>
                    <a:pt x="2301511" y="3984747"/>
                  </a:lnTo>
                  <a:close/>
                </a:path>
                <a:path w="2327275" h="4854575" extrusionOk="0">
                  <a:moveTo>
                    <a:pt x="672188" y="4061687"/>
                  </a:moveTo>
                  <a:lnTo>
                    <a:pt x="649257" y="4064965"/>
                  </a:lnTo>
                  <a:lnTo>
                    <a:pt x="650988" y="4076595"/>
                  </a:lnTo>
                  <a:lnTo>
                    <a:pt x="652849" y="4088176"/>
                  </a:lnTo>
                  <a:lnTo>
                    <a:pt x="654835" y="4099706"/>
                  </a:lnTo>
                  <a:lnTo>
                    <a:pt x="656943" y="4111183"/>
                  </a:lnTo>
                  <a:lnTo>
                    <a:pt x="679717" y="4106869"/>
                  </a:lnTo>
                  <a:lnTo>
                    <a:pt x="677647" y="4095642"/>
                  </a:lnTo>
                  <a:lnTo>
                    <a:pt x="675698" y="4084373"/>
                  </a:lnTo>
                  <a:lnTo>
                    <a:pt x="673876" y="4073055"/>
                  </a:lnTo>
                  <a:lnTo>
                    <a:pt x="672188" y="4061687"/>
                  </a:lnTo>
                  <a:close/>
                </a:path>
                <a:path w="2327275" h="4854575" extrusionOk="0">
                  <a:moveTo>
                    <a:pt x="2291312" y="4075802"/>
                  </a:moveTo>
                  <a:lnTo>
                    <a:pt x="2289468" y="4087136"/>
                  </a:lnTo>
                  <a:lnTo>
                    <a:pt x="2287489" y="4098422"/>
                  </a:lnTo>
                  <a:lnTo>
                    <a:pt x="2285382" y="4109657"/>
                  </a:lnTo>
                  <a:lnTo>
                    <a:pt x="2283155" y="4120837"/>
                  </a:lnTo>
                  <a:lnTo>
                    <a:pt x="2305846" y="4125518"/>
                  </a:lnTo>
                  <a:lnTo>
                    <a:pt x="2308122" y="4114060"/>
                  </a:lnTo>
                  <a:lnTo>
                    <a:pt x="2310272" y="4102555"/>
                  </a:lnTo>
                  <a:lnTo>
                    <a:pt x="2312301" y="4091003"/>
                  </a:lnTo>
                  <a:lnTo>
                    <a:pt x="2314212" y="4079404"/>
                  </a:lnTo>
                  <a:lnTo>
                    <a:pt x="2291312" y="4075802"/>
                  </a:lnTo>
                  <a:close/>
                </a:path>
                <a:path w="2327275" h="4854575" extrusionOk="0">
                  <a:moveTo>
                    <a:pt x="689287" y="4151653"/>
                  </a:moveTo>
                  <a:lnTo>
                    <a:pt x="666744" y="4157004"/>
                  </a:lnTo>
                  <a:lnTo>
                    <a:pt x="669551" y="4168426"/>
                  </a:lnTo>
                  <a:lnTo>
                    <a:pt x="672476" y="4179790"/>
                  </a:lnTo>
                  <a:lnTo>
                    <a:pt x="675520" y="4191093"/>
                  </a:lnTo>
                  <a:lnTo>
                    <a:pt x="678680" y="4202332"/>
                  </a:lnTo>
                  <a:lnTo>
                    <a:pt x="700921" y="4195924"/>
                  </a:lnTo>
                  <a:lnTo>
                    <a:pt x="697837" y="4184947"/>
                  </a:lnTo>
                  <a:lnTo>
                    <a:pt x="694868" y="4173910"/>
                  </a:lnTo>
                  <a:lnTo>
                    <a:pt x="692018" y="4162813"/>
                  </a:lnTo>
                  <a:lnTo>
                    <a:pt x="689287" y="4151653"/>
                  </a:lnTo>
                  <a:close/>
                </a:path>
                <a:path w="2327275" h="4854575" extrusionOk="0">
                  <a:moveTo>
                    <a:pt x="2272925" y="4165496"/>
                  </a:moveTo>
                  <a:lnTo>
                    <a:pt x="2270023" y="4176623"/>
                  </a:lnTo>
                  <a:lnTo>
                    <a:pt x="2267010" y="4187685"/>
                  </a:lnTo>
                  <a:lnTo>
                    <a:pt x="2263874" y="4198678"/>
                  </a:lnTo>
                  <a:lnTo>
                    <a:pt x="2260601" y="4209599"/>
                  </a:lnTo>
                  <a:lnTo>
                    <a:pt x="2282778" y="4216342"/>
                  </a:lnTo>
                  <a:lnTo>
                    <a:pt x="2286108" y="4205146"/>
                  </a:lnTo>
                  <a:lnTo>
                    <a:pt x="2289311" y="4193889"/>
                  </a:lnTo>
                  <a:lnTo>
                    <a:pt x="2292386" y="4182571"/>
                  </a:lnTo>
                  <a:lnTo>
                    <a:pt x="2295333" y="4171192"/>
                  </a:lnTo>
                  <a:lnTo>
                    <a:pt x="2272925" y="4165496"/>
                  </a:lnTo>
                  <a:close/>
                </a:path>
                <a:path w="2327275" h="4854575" extrusionOk="0">
                  <a:moveTo>
                    <a:pt x="714616" y="4239609"/>
                  </a:moveTo>
                  <a:lnTo>
                    <a:pt x="692690" y="4247074"/>
                  </a:lnTo>
                  <a:lnTo>
                    <a:pt x="696545" y="4258178"/>
                  </a:lnTo>
                  <a:lnTo>
                    <a:pt x="700512" y="4269218"/>
                  </a:lnTo>
                  <a:lnTo>
                    <a:pt x="704597" y="4280190"/>
                  </a:lnTo>
                  <a:lnTo>
                    <a:pt x="708805" y="4291094"/>
                  </a:lnTo>
                  <a:lnTo>
                    <a:pt x="730344" y="4282623"/>
                  </a:lnTo>
                  <a:lnTo>
                    <a:pt x="726255" y="4271978"/>
                  </a:lnTo>
                  <a:lnTo>
                    <a:pt x="722268" y="4261261"/>
                  </a:lnTo>
                  <a:lnTo>
                    <a:pt x="718387" y="4250472"/>
                  </a:lnTo>
                  <a:lnTo>
                    <a:pt x="714616" y="4239609"/>
                  </a:lnTo>
                  <a:close/>
                </a:path>
                <a:path w="2327275" h="4854575" extrusionOk="0">
                  <a:moveTo>
                    <a:pt x="2246308" y="4253095"/>
                  </a:moveTo>
                  <a:lnTo>
                    <a:pt x="2242387" y="4263887"/>
                  </a:lnTo>
                  <a:lnTo>
                    <a:pt x="2238344" y="4274615"/>
                  </a:lnTo>
                  <a:lnTo>
                    <a:pt x="2234188" y="4285277"/>
                  </a:lnTo>
                  <a:lnTo>
                    <a:pt x="2229932" y="4295869"/>
                  </a:lnTo>
                  <a:lnTo>
                    <a:pt x="2251386" y="4304654"/>
                  </a:lnTo>
                  <a:lnTo>
                    <a:pt x="2255749" y="4293812"/>
                  </a:lnTo>
                  <a:lnTo>
                    <a:pt x="2259994" y="4282898"/>
                  </a:lnTo>
                  <a:lnTo>
                    <a:pt x="2264120" y="4271909"/>
                  </a:lnTo>
                  <a:lnTo>
                    <a:pt x="2268129" y="4260844"/>
                  </a:lnTo>
                  <a:lnTo>
                    <a:pt x="2246308" y="4253095"/>
                  </a:lnTo>
                  <a:close/>
                </a:path>
                <a:path w="2327275" h="4854575" extrusionOk="0">
                  <a:moveTo>
                    <a:pt x="748113" y="4324800"/>
                  </a:moveTo>
                  <a:lnTo>
                    <a:pt x="726972" y="4334318"/>
                  </a:lnTo>
                  <a:lnTo>
                    <a:pt x="731866" y="4345003"/>
                  </a:lnTo>
                  <a:lnTo>
                    <a:pt x="736864" y="4355616"/>
                  </a:lnTo>
                  <a:lnTo>
                    <a:pt x="741977" y="4366150"/>
                  </a:lnTo>
                  <a:lnTo>
                    <a:pt x="747212" y="4376599"/>
                  </a:lnTo>
                  <a:lnTo>
                    <a:pt x="767871" y="4366118"/>
                  </a:lnTo>
                  <a:lnTo>
                    <a:pt x="762755" y="4355916"/>
                  </a:lnTo>
                  <a:lnTo>
                    <a:pt x="757764" y="4345624"/>
                  </a:lnTo>
                  <a:lnTo>
                    <a:pt x="752888" y="4335249"/>
                  </a:lnTo>
                  <a:lnTo>
                    <a:pt x="748113" y="4324800"/>
                  </a:lnTo>
                  <a:close/>
                </a:path>
                <a:path w="2327275" h="4854575" extrusionOk="0">
                  <a:moveTo>
                    <a:pt x="2211555" y="4337805"/>
                  </a:moveTo>
                  <a:lnTo>
                    <a:pt x="2206638" y="4348173"/>
                  </a:lnTo>
                  <a:lnTo>
                    <a:pt x="2201608" y="4358465"/>
                  </a:lnTo>
                  <a:lnTo>
                    <a:pt x="2196417" y="4368763"/>
                  </a:lnTo>
                  <a:lnTo>
                    <a:pt x="2191189" y="4378819"/>
                  </a:lnTo>
                  <a:lnTo>
                    <a:pt x="2211691" y="4389594"/>
                  </a:lnTo>
                  <a:lnTo>
                    <a:pt x="2217085" y="4379222"/>
                  </a:lnTo>
                  <a:lnTo>
                    <a:pt x="2222403" y="4368681"/>
                  </a:lnTo>
                  <a:lnTo>
                    <a:pt x="2227516" y="4358220"/>
                  </a:lnTo>
                  <a:lnTo>
                    <a:pt x="2232539" y="4347595"/>
                  </a:lnTo>
                  <a:lnTo>
                    <a:pt x="2211555" y="4337805"/>
                  </a:lnTo>
                  <a:close/>
                </a:path>
                <a:path w="2327275" h="4854575" extrusionOk="0">
                  <a:moveTo>
                    <a:pt x="789588" y="4406431"/>
                  </a:moveTo>
                  <a:lnTo>
                    <a:pt x="769473" y="4417896"/>
                  </a:lnTo>
                  <a:lnTo>
                    <a:pt x="775361" y="4428062"/>
                  </a:lnTo>
                  <a:lnTo>
                    <a:pt x="781364" y="4438141"/>
                  </a:lnTo>
                  <a:lnTo>
                    <a:pt x="787480" y="4448131"/>
                  </a:lnTo>
                  <a:lnTo>
                    <a:pt x="793703" y="4458031"/>
                  </a:lnTo>
                  <a:lnTo>
                    <a:pt x="813242" y="4445592"/>
                  </a:lnTo>
                  <a:lnTo>
                    <a:pt x="807156" y="4435930"/>
                  </a:lnTo>
                  <a:lnTo>
                    <a:pt x="801183" y="4426176"/>
                  </a:lnTo>
                  <a:lnTo>
                    <a:pt x="795326" y="4416340"/>
                  </a:lnTo>
                  <a:lnTo>
                    <a:pt x="789588" y="4406431"/>
                  </a:lnTo>
                  <a:close/>
                </a:path>
                <a:path w="2327275" h="4854575" extrusionOk="0">
                  <a:moveTo>
                    <a:pt x="2168876" y="4418755"/>
                  </a:moveTo>
                  <a:lnTo>
                    <a:pt x="2162975" y="4428594"/>
                  </a:lnTo>
                  <a:lnTo>
                    <a:pt x="2156972" y="4438337"/>
                  </a:lnTo>
                  <a:lnTo>
                    <a:pt x="2150860" y="4447988"/>
                  </a:lnTo>
                  <a:lnTo>
                    <a:pt x="2144636" y="4457550"/>
                  </a:lnTo>
                  <a:lnTo>
                    <a:pt x="2163955" y="4470314"/>
                  </a:lnTo>
                  <a:lnTo>
                    <a:pt x="2170348" y="4460510"/>
                  </a:lnTo>
                  <a:lnTo>
                    <a:pt x="2176622" y="4450617"/>
                  </a:lnTo>
                  <a:lnTo>
                    <a:pt x="2182782" y="4440627"/>
                  </a:lnTo>
                  <a:lnTo>
                    <a:pt x="2188833" y="4430535"/>
                  </a:lnTo>
                  <a:lnTo>
                    <a:pt x="2168876" y="4418755"/>
                  </a:lnTo>
                  <a:close/>
                </a:path>
                <a:path w="2327275" h="4854575" extrusionOk="0">
                  <a:moveTo>
                    <a:pt x="838812" y="4483538"/>
                  </a:moveTo>
                  <a:lnTo>
                    <a:pt x="819891" y="4496952"/>
                  </a:lnTo>
                  <a:lnTo>
                    <a:pt x="826774" y="4506491"/>
                  </a:lnTo>
                  <a:lnTo>
                    <a:pt x="833758" y="4515930"/>
                  </a:lnTo>
                  <a:lnTo>
                    <a:pt x="840843" y="4525267"/>
                  </a:lnTo>
                  <a:lnTo>
                    <a:pt x="848026" y="4534500"/>
                  </a:lnTo>
                  <a:lnTo>
                    <a:pt x="866224" y="4520155"/>
                  </a:lnTo>
                  <a:lnTo>
                    <a:pt x="859192" y="4511152"/>
                  </a:lnTo>
                  <a:lnTo>
                    <a:pt x="852279" y="4502047"/>
                  </a:lnTo>
                  <a:lnTo>
                    <a:pt x="845485" y="4492842"/>
                  </a:lnTo>
                  <a:lnTo>
                    <a:pt x="838812" y="4483538"/>
                  </a:lnTo>
                  <a:close/>
                </a:path>
                <a:path w="2327275" h="4854575" extrusionOk="0">
                  <a:moveTo>
                    <a:pt x="2118469" y="4495119"/>
                  </a:moveTo>
                  <a:lnTo>
                    <a:pt x="2111637" y="4504307"/>
                  </a:lnTo>
                  <a:lnTo>
                    <a:pt x="2104689" y="4513399"/>
                  </a:lnTo>
                  <a:lnTo>
                    <a:pt x="2097639" y="4522392"/>
                  </a:lnTo>
                  <a:lnTo>
                    <a:pt x="2090501" y="4531286"/>
                  </a:lnTo>
                  <a:lnTo>
                    <a:pt x="2108448" y="4545924"/>
                  </a:lnTo>
                  <a:lnTo>
                    <a:pt x="2115782" y="4536802"/>
                  </a:lnTo>
                  <a:lnTo>
                    <a:pt x="2123007" y="4527578"/>
                  </a:lnTo>
                  <a:lnTo>
                    <a:pt x="2130128" y="4518249"/>
                  </a:lnTo>
                  <a:lnTo>
                    <a:pt x="2137149" y="4508815"/>
                  </a:lnTo>
                  <a:lnTo>
                    <a:pt x="2118469" y="4495119"/>
                  </a:lnTo>
                  <a:close/>
                </a:path>
                <a:path w="2327275" h="4854575" extrusionOk="0">
                  <a:moveTo>
                    <a:pt x="895449" y="4555316"/>
                  </a:moveTo>
                  <a:lnTo>
                    <a:pt x="878057" y="4570593"/>
                  </a:lnTo>
                  <a:lnTo>
                    <a:pt x="885853" y="4579379"/>
                  </a:lnTo>
                  <a:lnTo>
                    <a:pt x="893763" y="4588056"/>
                  </a:lnTo>
                  <a:lnTo>
                    <a:pt x="901775" y="4596612"/>
                  </a:lnTo>
                  <a:lnTo>
                    <a:pt x="909878" y="4605032"/>
                  </a:lnTo>
                  <a:lnTo>
                    <a:pt x="926505" y="4588917"/>
                  </a:lnTo>
                  <a:lnTo>
                    <a:pt x="918581" y="4580678"/>
                  </a:lnTo>
                  <a:lnTo>
                    <a:pt x="910765" y="4572329"/>
                  </a:lnTo>
                  <a:lnTo>
                    <a:pt x="903055" y="4563874"/>
                  </a:lnTo>
                  <a:lnTo>
                    <a:pt x="895449" y="4555316"/>
                  </a:lnTo>
                  <a:close/>
                </a:path>
                <a:path w="2327275" h="4854575" extrusionOk="0">
                  <a:moveTo>
                    <a:pt x="2060670" y="4565965"/>
                  </a:moveTo>
                  <a:lnTo>
                    <a:pt x="2052910" y="4574411"/>
                  </a:lnTo>
                  <a:lnTo>
                    <a:pt x="2045045" y="4582753"/>
                  </a:lnTo>
                  <a:lnTo>
                    <a:pt x="2037081" y="4590988"/>
                  </a:lnTo>
                  <a:lnTo>
                    <a:pt x="2029027" y="4599116"/>
                  </a:lnTo>
                  <a:lnTo>
                    <a:pt x="2045351" y="4615524"/>
                  </a:lnTo>
                  <a:lnTo>
                    <a:pt x="2053636" y="4607200"/>
                  </a:lnTo>
                  <a:lnTo>
                    <a:pt x="2061803" y="4598753"/>
                  </a:lnTo>
                  <a:lnTo>
                    <a:pt x="2069864" y="4590187"/>
                  </a:lnTo>
                  <a:lnTo>
                    <a:pt x="2077832" y="4581504"/>
                  </a:lnTo>
                  <a:lnTo>
                    <a:pt x="2060670" y="4565965"/>
                  </a:lnTo>
                  <a:close/>
                </a:path>
                <a:path w="2327275" h="4854575" extrusionOk="0">
                  <a:moveTo>
                    <a:pt x="959154" y="4620770"/>
                  </a:moveTo>
                  <a:lnTo>
                    <a:pt x="943426" y="4637764"/>
                  </a:lnTo>
                  <a:lnTo>
                    <a:pt x="952110" y="4645668"/>
                  </a:lnTo>
                  <a:lnTo>
                    <a:pt x="960884" y="4653449"/>
                  </a:lnTo>
                  <a:lnTo>
                    <a:pt x="969748" y="4661106"/>
                  </a:lnTo>
                  <a:lnTo>
                    <a:pt x="978703" y="4668632"/>
                  </a:lnTo>
                  <a:lnTo>
                    <a:pt x="993488" y="4650790"/>
                  </a:lnTo>
                  <a:lnTo>
                    <a:pt x="984763" y="4643461"/>
                  </a:lnTo>
                  <a:lnTo>
                    <a:pt x="976132" y="4636015"/>
                  </a:lnTo>
                  <a:lnTo>
                    <a:pt x="967596" y="4628452"/>
                  </a:lnTo>
                  <a:lnTo>
                    <a:pt x="959154" y="4620770"/>
                  </a:lnTo>
                  <a:close/>
                </a:path>
                <a:path w="2327275" h="4854575" extrusionOk="0">
                  <a:moveTo>
                    <a:pt x="1995708" y="4630518"/>
                  </a:moveTo>
                  <a:lnTo>
                    <a:pt x="1987099" y="4638095"/>
                  </a:lnTo>
                  <a:lnTo>
                    <a:pt x="1978403" y="4645544"/>
                  </a:lnTo>
                  <a:lnTo>
                    <a:pt x="1969616" y="4652867"/>
                  </a:lnTo>
                  <a:lnTo>
                    <a:pt x="1960736" y="4660067"/>
                  </a:lnTo>
                  <a:lnTo>
                    <a:pt x="1975206" y="4678150"/>
                  </a:lnTo>
                  <a:lnTo>
                    <a:pt x="1984318" y="4670756"/>
                  </a:lnTo>
                  <a:lnTo>
                    <a:pt x="1993338" y="4663229"/>
                  </a:lnTo>
                  <a:lnTo>
                    <a:pt x="2002266" y="4655577"/>
                  </a:lnTo>
                  <a:lnTo>
                    <a:pt x="2011101" y="4647806"/>
                  </a:lnTo>
                  <a:lnTo>
                    <a:pt x="1995708" y="4630518"/>
                  </a:lnTo>
                  <a:close/>
                </a:path>
                <a:path w="2327275" h="4854575" extrusionOk="0">
                  <a:moveTo>
                    <a:pt x="1029403" y="4678925"/>
                  </a:moveTo>
                  <a:lnTo>
                    <a:pt x="1015623" y="4697532"/>
                  </a:lnTo>
                  <a:lnTo>
                    <a:pt x="1025106" y="4704467"/>
                  </a:lnTo>
                  <a:lnTo>
                    <a:pt x="1034688" y="4711250"/>
                  </a:lnTo>
                  <a:lnTo>
                    <a:pt x="1044360" y="4717886"/>
                  </a:lnTo>
                  <a:lnTo>
                    <a:pt x="1054114" y="4724379"/>
                  </a:lnTo>
                  <a:lnTo>
                    <a:pt x="1066847" y="4705008"/>
                  </a:lnTo>
                  <a:lnTo>
                    <a:pt x="1057344" y="4698694"/>
                  </a:lnTo>
                  <a:lnTo>
                    <a:pt x="1047936" y="4692241"/>
                  </a:lnTo>
                  <a:lnTo>
                    <a:pt x="1038622" y="4685651"/>
                  </a:lnTo>
                  <a:lnTo>
                    <a:pt x="1029403" y="4678925"/>
                  </a:lnTo>
                  <a:close/>
                </a:path>
                <a:path w="2327275" h="4854575" extrusionOk="0">
                  <a:moveTo>
                    <a:pt x="1924245" y="4687605"/>
                  </a:moveTo>
                  <a:lnTo>
                    <a:pt x="1914881" y="4694179"/>
                  </a:lnTo>
                  <a:lnTo>
                    <a:pt x="1905424" y="4700612"/>
                  </a:lnTo>
                  <a:lnTo>
                    <a:pt x="1895883" y="4706905"/>
                  </a:lnTo>
                  <a:lnTo>
                    <a:pt x="1886267" y="4713060"/>
                  </a:lnTo>
                  <a:lnTo>
                    <a:pt x="1898612" y="4732651"/>
                  </a:lnTo>
                  <a:lnTo>
                    <a:pt x="1908504" y="4726320"/>
                  </a:lnTo>
                  <a:lnTo>
                    <a:pt x="1918310" y="4719844"/>
                  </a:lnTo>
                  <a:lnTo>
                    <a:pt x="1928026" y="4713225"/>
                  </a:lnTo>
                  <a:lnTo>
                    <a:pt x="1937647" y="4706464"/>
                  </a:lnTo>
                  <a:lnTo>
                    <a:pt x="1924245" y="4687605"/>
                  </a:lnTo>
                  <a:close/>
                </a:path>
                <a:path w="2327275" h="4854575" extrusionOk="0">
                  <a:moveTo>
                    <a:pt x="1105683" y="4728955"/>
                  </a:moveTo>
                  <a:lnTo>
                    <a:pt x="1094050" y="4749007"/>
                  </a:lnTo>
                  <a:lnTo>
                    <a:pt x="1104282" y="4754818"/>
                  </a:lnTo>
                  <a:lnTo>
                    <a:pt x="1114587" y="4760471"/>
                  </a:lnTo>
                  <a:lnTo>
                    <a:pt x="1124961" y="4765965"/>
                  </a:lnTo>
                  <a:lnTo>
                    <a:pt x="1135399" y="4771299"/>
                  </a:lnTo>
                  <a:lnTo>
                    <a:pt x="1145818" y="4750588"/>
                  </a:lnTo>
                  <a:lnTo>
                    <a:pt x="1135666" y="4745410"/>
                  </a:lnTo>
                  <a:lnTo>
                    <a:pt x="1125593" y="4740074"/>
                  </a:lnTo>
                  <a:lnTo>
                    <a:pt x="1115600" y="4734587"/>
                  </a:lnTo>
                  <a:lnTo>
                    <a:pt x="1105683" y="4728955"/>
                  </a:lnTo>
                  <a:close/>
                </a:path>
                <a:path w="2327275" h="4854575" extrusionOk="0">
                  <a:moveTo>
                    <a:pt x="1846938" y="4736316"/>
                  </a:moveTo>
                  <a:lnTo>
                    <a:pt x="1836904" y="4741756"/>
                  </a:lnTo>
                  <a:lnTo>
                    <a:pt x="1826796" y="4747050"/>
                  </a:lnTo>
                  <a:lnTo>
                    <a:pt x="1816615" y="4752197"/>
                  </a:lnTo>
                  <a:lnTo>
                    <a:pt x="1806363" y="4757195"/>
                  </a:lnTo>
                  <a:lnTo>
                    <a:pt x="1816332" y="4778084"/>
                  </a:lnTo>
                  <a:lnTo>
                    <a:pt x="1826899" y="4772942"/>
                  </a:lnTo>
                  <a:lnTo>
                    <a:pt x="1837385" y="4767644"/>
                  </a:lnTo>
                  <a:lnTo>
                    <a:pt x="1847794" y="4762186"/>
                  </a:lnTo>
                  <a:lnTo>
                    <a:pt x="1858131" y="4756567"/>
                  </a:lnTo>
                  <a:lnTo>
                    <a:pt x="1846938" y="4736316"/>
                  </a:lnTo>
                  <a:close/>
                </a:path>
                <a:path w="2327275" h="4854575" extrusionOk="0">
                  <a:moveTo>
                    <a:pt x="1187188" y="4769875"/>
                  </a:moveTo>
                  <a:lnTo>
                    <a:pt x="1210740" y="4804366"/>
                  </a:lnTo>
                  <a:lnTo>
                    <a:pt x="1221774" y="4808439"/>
                  </a:lnTo>
                  <a:lnTo>
                    <a:pt x="1229637" y="4786650"/>
                  </a:lnTo>
                  <a:lnTo>
                    <a:pt x="1218907" y="4782699"/>
                  </a:lnTo>
                  <a:lnTo>
                    <a:pt x="1208260" y="4778580"/>
                  </a:lnTo>
                  <a:lnTo>
                    <a:pt x="1197689" y="4774303"/>
                  </a:lnTo>
                  <a:lnTo>
                    <a:pt x="1187188" y="4769875"/>
                  </a:lnTo>
                  <a:close/>
                </a:path>
                <a:path w="2327275" h="4854575" extrusionOk="0">
                  <a:moveTo>
                    <a:pt x="1764626" y="4775666"/>
                  </a:moveTo>
                  <a:lnTo>
                    <a:pt x="1754066" y="4779868"/>
                  </a:lnTo>
                  <a:lnTo>
                    <a:pt x="1743420" y="4783925"/>
                  </a:lnTo>
                  <a:lnTo>
                    <a:pt x="1732700" y="4787828"/>
                  </a:lnTo>
                  <a:lnTo>
                    <a:pt x="1721916" y="4791571"/>
                  </a:lnTo>
                  <a:lnTo>
                    <a:pt x="1729360" y="4813507"/>
                  </a:lnTo>
                  <a:lnTo>
                    <a:pt x="1740457" y="4809648"/>
                  </a:lnTo>
                  <a:lnTo>
                    <a:pt x="1751491" y="4805625"/>
                  </a:lnTo>
                  <a:lnTo>
                    <a:pt x="1762462" y="4801442"/>
                  </a:lnTo>
                  <a:lnTo>
                    <a:pt x="1773370" y="4797100"/>
                  </a:lnTo>
                  <a:lnTo>
                    <a:pt x="1764626" y="4775666"/>
                  </a:lnTo>
                  <a:close/>
                </a:path>
                <a:path w="2327275" h="4854575" extrusionOk="0">
                  <a:moveTo>
                    <a:pt x="1273060" y="4800869"/>
                  </a:moveTo>
                  <a:lnTo>
                    <a:pt x="1300606" y="4832247"/>
                  </a:lnTo>
                  <a:lnTo>
                    <a:pt x="1312096" y="4834962"/>
                  </a:lnTo>
                  <a:lnTo>
                    <a:pt x="1317247" y="4812377"/>
                  </a:lnTo>
                  <a:lnTo>
                    <a:pt x="1306105" y="4809739"/>
                  </a:lnTo>
                  <a:lnTo>
                    <a:pt x="1295028" y="4806945"/>
                  </a:lnTo>
                  <a:lnTo>
                    <a:pt x="1284014" y="4803989"/>
                  </a:lnTo>
                  <a:lnTo>
                    <a:pt x="1273060" y="4800869"/>
                  </a:lnTo>
                  <a:close/>
                </a:path>
                <a:path w="2327275" h="4854575" extrusionOk="0">
                  <a:moveTo>
                    <a:pt x="1678409" y="4804879"/>
                  </a:moveTo>
                  <a:lnTo>
                    <a:pt x="1667398" y="4807782"/>
                  </a:lnTo>
                  <a:lnTo>
                    <a:pt x="1656335" y="4810521"/>
                  </a:lnTo>
                  <a:lnTo>
                    <a:pt x="1645215" y="4813090"/>
                  </a:lnTo>
                  <a:lnTo>
                    <a:pt x="1634034" y="4815486"/>
                  </a:lnTo>
                  <a:lnTo>
                    <a:pt x="1638714" y="4838177"/>
                  </a:lnTo>
                  <a:lnTo>
                    <a:pt x="1650266" y="4835699"/>
                  </a:lnTo>
                  <a:lnTo>
                    <a:pt x="1661741" y="4833043"/>
                  </a:lnTo>
                  <a:lnTo>
                    <a:pt x="1673139" y="4830211"/>
                  </a:lnTo>
                  <a:lnTo>
                    <a:pt x="1684461" y="4827203"/>
                  </a:lnTo>
                  <a:lnTo>
                    <a:pt x="1678409" y="4804879"/>
                  </a:lnTo>
                  <a:close/>
                </a:path>
                <a:path w="2327275" h="4854575" extrusionOk="0">
                  <a:moveTo>
                    <a:pt x="1361979" y="4821162"/>
                  </a:moveTo>
                  <a:lnTo>
                    <a:pt x="1393110" y="4848909"/>
                  </a:lnTo>
                  <a:lnTo>
                    <a:pt x="1404815" y="4850187"/>
                  </a:lnTo>
                  <a:lnTo>
                    <a:pt x="1407171" y="4827151"/>
                  </a:lnTo>
                  <a:lnTo>
                    <a:pt x="1395800" y="4825909"/>
                  </a:lnTo>
                  <a:lnTo>
                    <a:pt x="1384477" y="4824494"/>
                  </a:lnTo>
                  <a:lnTo>
                    <a:pt x="1373203" y="4822910"/>
                  </a:lnTo>
                  <a:lnTo>
                    <a:pt x="1361979" y="4821162"/>
                  </a:lnTo>
                  <a:close/>
                </a:path>
                <a:path w="2327275" h="4854575" extrusionOk="0">
                  <a:moveTo>
                    <a:pt x="1589134" y="4823371"/>
                  </a:moveTo>
                  <a:lnTo>
                    <a:pt x="1577867" y="4824918"/>
                  </a:lnTo>
                  <a:lnTo>
                    <a:pt x="1566559" y="4826282"/>
                  </a:lnTo>
                  <a:lnTo>
                    <a:pt x="1555212" y="4827473"/>
                  </a:lnTo>
                  <a:lnTo>
                    <a:pt x="1543827" y="4828502"/>
                  </a:lnTo>
                  <a:lnTo>
                    <a:pt x="1545712" y="4851580"/>
                  </a:lnTo>
                  <a:lnTo>
                    <a:pt x="1557463" y="4850517"/>
                  </a:lnTo>
                  <a:lnTo>
                    <a:pt x="1569170" y="4849288"/>
                  </a:lnTo>
                  <a:lnTo>
                    <a:pt x="1580828" y="4847888"/>
                  </a:lnTo>
                  <a:lnTo>
                    <a:pt x="1592433" y="4846313"/>
                  </a:lnTo>
                  <a:lnTo>
                    <a:pt x="1589134" y="4823371"/>
                  </a:lnTo>
                  <a:close/>
                </a:path>
                <a:path w="2327275" h="4854575" extrusionOk="0">
                  <a:moveTo>
                    <a:pt x="1452657" y="4830386"/>
                  </a:moveTo>
                  <a:lnTo>
                    <a:pt x="1451725" y="4853506"/>
                  </a:lnTo>
                  <a:lnTo>
                    <a:pt x="1459474" y="4853793"/>
                  </a:lnTo>
                  <a:lnTo>
                    <a:pt x="1467232" y="4853996"/>
                  </a:lnTo>
                  <a:lnTo>
                    <a:pt x="1474999" y="4854116"/>
                  </a:lnTo>
                  <a:lnTo>
                    <a:pt x="1498750" y="4853998"/>
                  </a:lnTo>
                  <a:lnTo>
                    <a:pt x="1498261" y="4830994"/>
                  </a:lnTo>
                  <a:lnTo>
                    <a:pt x="1488834" y="4830994"/>
                  </a:lnTo>
                  <a:lnTo>
                    <a:pt x="1468362" y="4830835"/>
                  </a:lnTo>
                  <a:lnTo>
                    <a:pt x="1460494" y="4830654"/>
                  </a:lnTo>
                  <a:lnTo>
                    <a:pt x="1452657" y="4830386"/>
                  </a:lnTo>
                  <a:close/>
                </a:path>
                <a:path w="2327275" h="4854575" extrusionOk="0">
                  <a:moveTo>
                    <a:pt x="1498258" y="4830837"/>
                  </a:moveTo>
                  <a:lnTo>
                    <a:pt x="1488834" y="4830994"/>
                  </a:lnTo>
                  <a:lnTo>
                    <a:pt x="1498261" y="4830994"/>
                  </a:lnTo>
                  <a:lnTo>
                    <a:pt x="1498258" y="4830837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151;p1"/>
            <p:cNvSpPr/>
            <p:nvPr/>
          </p:nvSpPr>
          <p:spPr>
            <a:xfrm>
              <a:off x="2295563" y="3717153"/>
              <a:ext cx="1530350" cy="3761740"/>
            </a:xfrm>
            <a:custGeom>
              <a:avLst/>
              <a:gdLst/>
              <a:ahLst/>
              <a:cxnLst/>
              <a:rect l="l" t="t" r="r" b="b"/>
              <a:pathLst>
                <a:path w="1530350" h="3761740" extrusionOk="0">
                  <a:moveTo>
                    <a:pt x="764940" y="0"/>
                  </a:moveTo>
                  <a:lnTo>
                    <a:pt x="721599" y="1506"/>
                  </a:lnTo>
                  <a:lnTo>
                    <a:pt x="678885" y="5970"/>
                  </a:lnTo>
                  <a:lnTo>
                    <a:pt x="636861" y="13312"/>
                  </a:lnTo>
                  <a:lnTo>
                    <a:pt x="595594" y="23450"/>
                  </a:lnTo>
                  <a:lnTo>
                    <a:pt x="555147" y="36305"/>
                  </a:lnTo>
                  <a:lnTo>
                    <a:pt x="515587" y="51795"/>
                  </a:lnTo>
                  <a:lnTo>
                    <a:pt x="476978" y="69839"/>
                  </a:lnTo>
                  <a:lnTo>
                    <a:pt x="439385" y="90357"/>
                  </a:lnTo>
                  <a:lnTo>
                    <a:pt x="402874" y="113267"/>
                  </a:lnTo>
                  <a:lnTo>
                    <a:pt x="367510" y="138490"/>
                  </a:lnTo>
                  <a:lnTo>
                    <a:pt x="333357" y="165944"/>
                  </a:lnTo>
                  <a:lnTo>
                    <a:pt x="300481" y="195549"/>
                  </a:lnTo>
                  <a:lnTo>
                    <a:pt x="268947" y="227223"/>
                  </a:lnTo>
                  <a:lnTo>
                    <a:pt x="238820" y="260886"/>
                  </a:lnTo>
                  <a:lnTo>
                    <a:pt x="210164" y="296458"/>
                  </a:lnTo>
                  <a:lnTo>
                    <a:pt x="183046" y="333857"/>
                  </a:lnTo>
                  <a:lnTo>
                    <a:pt x="157530" y="373002"/>
                  </a:lnTo>
                  <a:lnTo>
                    <a:pt x="133681" y="413814"/>
                  </a:lnTo>
                  <a:lnTo>
                    <a:pt x="111565" y="456210"/>
                  </a:lnTo>
                  <a:lnTo>
                    <a:pt x="91246" y="500111"/>
                  </a:lnTo>
                  <a:lnTo>
                    <a:pt x="72790" y="545435"/>
                  </a:lnTo>
                  <a:lnTo>
                    <a:pt x="56261" y="592102"/>
                  </a:lnTo>
                  <a:lnTo>
                    <a:pt x="41725" y="640031"/>
                  </a:lnTo>
                  <a:lnTo>
                    <a:pt x="29247" y="689141"/>
                  </a:lnTo>
                  <a:lnTo>
                    <a:pt x="18891" y="739352"/>
                  </a:lnTo>
                  <a:lnTo>
                    <a:pt x="10724" y="790582"/>
                  </a:lnTo>
                  <a:lnTo>
                    <a:pt x="4809" y="842751"/>
                  </a:lnTo>
                  <a:lnTo>
                    <a:pt x="1213" y="895778"/>
                  </a:lnTo>
                  <a:lnTo>
                    <a:pt x="0" y="949583"/>
                  </a:lnTo>
                  <a:lnTo>
                    <a:pt x="0" y="3761508"/>
                  </a:lnTo>
                  <a:lnTo>
                    <a:pt x="46323" y="3761508"/>
                  </a:lnTo>
                  <a:lnTo>
                    <a:pt x="46323" y="949583"/>
                  </a:lnTo>
                  <a:lnTo>
                    <a:pt x="47545" y="896587"/>
                  </a:lnTo>
                  <a:lnTo>
                    <a:pt x="51167" y="844388"/>
                  </a:lnTo>
                  <a:lnTo>
                    <a:pt x="57120" y="793070"/>
                  </a:lnTo>
                  <a:lnTo>
                    <a:pt x="65336" y="742719"/>
                  </a:lnTo>
                  <a:lnTo>
                    <a:pt x="75748" y="693420"/>
                  </a:lnTo>
                  <a:lnTo>
                    <a:pt x="88288" y="645259"/>
                  </a:lnTo>
                  <a:lnTo>
                    <a:pt x="102887" y="598322"/>
                  </a:lnTo>
                  <a:lnTo>
                    <a:pt x="119478" y="552692"/>
                  </a:lnTo>
                  <a:lnTo>
                    <a:pt x="137993" y="508457"/>
                  </a:lnTo>
                  <a:lnTo>
                    <a:pt x="158363" y="465700"/>
                  </a:lnTo>
                  <a:lnTo>
                    <a:pt x="180522" y="424508"/>
                  </a:lnTo>
                  <a:lnTo>
                    <a:pt x="204400" y="384966"/>
                  </a:lnTo>
                  <a:lnTo>
                    <a:pt x="229931" y="347160"/>
                  </a:lnTo>
                  <a:lnTo>
                    <a:pt x="257045" y="311173"/>
                  </a:lnTo>
                  <a:lnTo>
                    <a:pt x="285676" y="277093"/>
                  </a:lnTo>
                  <a:lnTo>
                    <a:pt x="315755" y="245004"/>
                  </a:lnTo>
                  <a:lnTo>
                    <a:pt x="347215" y="214991"/>
                  </a:lnTo>
                  <a:lnTo>
                    <a:pt x="379986" y="187141"/>
                  </a:lnTo>
                  <a:lnTo>
                    <a:pt x="414003" y="161538"/>
                  </a:lnTo>
                  <a:lnTo>
                    <a:pt x="449195" y="138267"/>
                  </a:lnTo>
                  <a:lnTo>
                    <a:pt x="485497" y="117415"/>
                  </a:lnTo>
                  <a:lnTo>
                    <a:pt x="522839" y="99066"/>
                  </a:lnTo>
                  <a:lnTo>
                    <a:pt x="561153" y="83305"/>
                  </a:lnTo>
                  <a:lnTo>
                    <a:pt x="600373" y="70219"/>
                  </a:lnTo>
                  <a:lnTo>
                    <a:pt x="640429" y="59893"/>
                  </a:lnTo>
                  <a:lnTo>
                    <a:pt x="681254" y="52411"/>
                  </a:lnTo>
                  <a:lnTo>
                    <a:pt x="722780" y="47859"/>
                  </a:lnTo>
                  <a:lnTo>
                    <a:pt x="764940" y="46323"/>
                  </a:lnTo>
                  <a:lnTo>
                    <a:pt x="1000290" y="46323"/>
                  </a:lnTo>
                  <a:lnTo>
                    <a:pt x="974706" y="36304"/>
                  </a:lnTo>
                  <a:lnTo>
                    <a:pt x="934265" y="23450"/>
                  </a:lnTo>
                  <a:lnTo>
                    <a:pt x="893002" y="13312"/>
                  </a:lnTo>
                  <a:lnTo>
                    <a:pt x="850984" y="5970"/>
                  </a:lnTo>
                  <a:lnTo>
                    <a:pt x="808274" y="1506"/>
                  </a:lnTo>
                  <a:lnTo>
                    <a:pt x="764940" y="0"/>
                  </a:lnTo>
                  <a:close/>
                </a:path>
                <a:path w="1530350" h="3761740" extrusionOk="0">
                  <a:moveTo>
                    <a:pt x="1000290" y="46323"/>
                  </a:moveTo>
                  <a:lnTo>
                    <a:pt x="764940" y="46323"/>
                  </a:lnTo>
                  <a:lnTo>
                    <a:pt x="807094" y="47859"/>
                  </a:lnTo>
                  <a:lnTo>
                    <a:pt x="848616" y="52411"/>
                  </a:lnTo>
                  <a:lnTo>
                    <a:pt x="889437" y="59893"/>
                  </a:lnTo>
                  <a:lnTo>
                    <a:pt x="929490" y="70219"/>
                  </a:lnTo>
                  <a:lnTo>
                    <a:pt x="968705" y="83305"/>
                  </a:lnTo>
                  <a:lnTo>
                    <a:pt x="1007016" y="99066"/>
                  </a:lnTo>
                  <a:lnTo>
                    <a:pt x="1044355" y="117415"/>
                  </a:lnTo>
                  <a:lnTo>
                    <a:pt x="1080653" y="138267"/>
                  </a:lnTo>
                  <a:lnTo>
                    <a:pt x="1115843" y="161538"/>
                  </a:lnTo>
                  <a:lnTo>
                    <a:pt x="1149856" y="187141"/>
                  </a:lnTo>
                  <a:lnTo>
                    <a:pt x="1182625" y="214991"/>
                  </a:lnTo>
                  <a:lnTo>
                    <a:pt x="1214082" y="245004"/>
                  </a:lnTo>
                  <a:lnTo>
                    <a:pt x="1244158" y="277093"/>
                  </a:lnTo>
                  <a:lnTo>
                    <a:pt x="1272787" y="311173"/>
                  </a:lnTo>
                  <a:lnTo>
                    <a:pt x="1299899" y="347160"/>
                  </a:lnTo>
                  <a:lnTo>
                    <a:pt x="1325428" y="384966"/>
                  </a:lnTo>
                  <a:lnTo>
                    <a:pt x="1349304" y="424508"/>
                  </a:lnTo>
                  <a:lnTo>
                    <a:pt x="1371461" y="465700"/>
                  </a:lnTo>
                  <a:lnTo>
                    <a:pt x="1391830" y="508457"/>
                  </a:lnTo>
                  <a:lnTo>
                    <a:pt x="1410344" y="552692"/>
                  </a:lnTo>
                  <a:lnTo>
                    <a:pt x="1426933" y="598322"/>
                  </a:lnTo>
                  <a:lnTo>
                    <a:pt x="1441531" y="645259"/>
                  </a:lnTo>
                  <a:lnTo>
                    <a:pt x="1454070" y="693420"/>
                  </a:lnTo>
                  <a:lnTo>
                    <a:pt x="1464481" y="742719"/>
                  </a:lnTo>
                  <a:lnTo>
                    <a:pt x="1472697" y="793070"/>
                  </a:lnTo>
                  <a:lnTo>
                    <a:pt x="1478650" y="844388"/>
                  </a:lnTo>
                  <a:lnTo>
                    <a:pt x="1482271" y="896587"/>
                  </a:lnTo>
                  <a:lnTo>
                    <a:pt x="1483494" y="949583"/>
                  </a:lnTo>
                  <a:lnTo>
                    <a:pt x="1483494" y="3495610"/>
                  </a:lnTo>
                  <a:lnTo>
                    <a:pt x="1529796" y="3495610"/>
                  </a:lnTo>
                  <a:lnTo>
                    <a:pt x="1529796" y="949583"/>
                  </a:lnTo>
                  <a:lnTo>
                    <a:pt x="1528583" y="895778"/>
                  </a:lnTo>
                  <a:lnTo>
                    <a:pt x="1524986" y="842750"/>
                  </a:lnTo>
                  <a:lnTo>
                    <a:pt x="1519072" y="790580"/>
                  </a:lnTo>
                  <a:lnTo>
                    <a:pt x="1510905" y="739349"/>
                  </a:lnTo>
                  <a:lnTo>
                    <a:pt x="1500550" y="689138"/>
                  </a:lnTo>
                  <a:lnTo>
                    <a:pt x="1488073" y="640027"/>
                  </a:lnTo>
                  <a:lnTo>
                    <a:pt x="1473538" y="592098"/>
                  </a:lnTo>
                  <a:lnTo>
                    <a:pt x="1457011" y="545431"/>
                  </a:lnTo>
                  <a:lnTo>
                    <a:pt x="1438556" y="500106"/>
                  </a:lnTo>
                  <a:lnTo>
                    <a:pt x="1418239" y="456205"/>
                  </a:lnTo>
                  <a:lnTo>
                    <a:pt x="1396125" y="413809"/>
                  </a:lnTo>
                  <a:lnTo>
                    <a:pt x="1372278" y="372998"/>
                  </a:lnTo>
                  <a:lnTo>
                    <a:pt x="1346765" y="333852"/>
                  </a:lnTo>
                  <a:lnTo>
                    <a:pt x="1319649" y="296454"/>
                  </a:lnTo>
                  <a:lnTo>
                    <a:pt x="1290997" y="260883"/>
                  </a:lnTo>
                  <a:lnTo>
                    <a:pt x="1260873" y="227220"/>
                  </a:lnTo>
                  <a:lnTo>
                    <a:pt x="1229342" y="195546"/>
                  </a:lnTo>
                  <a:lnTo>
                    <a:pt x="1196470" y="165941"/>
                  </a:lnTo>
                  <a:lnTo>
                    <a:pt x="1162321" y="138488"/>
                  </a:lnTo>
                  <a:lnTo>
                    <a:pt x="1126961" y="113265"/>
                  </a:lnTo>
                  <a:lnTo>
                    <a:pt x="1090454" y="90355"/>
                  </a:lnTo>
                  <a:lnTo>
                    <a:pt x="1052866" y="69838"/>
                  </a:lnTo>
                  <a:lnTo>
                    <a:pt x="1014262" y="51794"/>
                  </a:lnTo>
                  <a:lnTo>
                    <a:pt x="1000290" y="46323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1"/>
            <p:cNvSpPr/>
            <p:nvPr/>
          </p:nvSpPr>
          <p:spPr>
            <a:xfrm>
              <a:off x="4956215" y="7305416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61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1"/>
            <p:cNvSpPr/>
            <p:nvPr/>
          </p:nvSpPr>
          <p:spPr>
            <a:xfrm>
              <a:off x="3790638" y="7284155"/>
              <a:ext cx="1189355" cy="1684020"/>
            </a:xfrm>
            <a:custGeom>
              <a:avLst/>
              <a:gdLst/>
              <a:ahLst/>
              <a:cxnLst/>
              <a:rect l="l" t="t" r="r" b="b"/>
              <a:pathLst>
                <a:path w="1189354" h="1684020" extrusionOk="0">
                  <a:moveTo>
                    <a:pt x="23151" y="0"/>
                  </a:moveTo>
                  <a:lnTo>
                    <a:pt x="0" y="0"/>
                  </a:lnTo>
                  <a:lnTo>
                    <a:pt x="0" y="46857"/>
                  </a:lnTo>
                  <a:lnTo>
                    <a:pt x="23151" y="46857"/>
                  </a:lnTo>
                  <a:lnTo>
                    <a:pt x="23151" y="0"/>
                  </a:lnTo>
                  <a:close/>
                </a:path>
                <a:path w="1189354" h="1684020" extrusionOk="0">
                  <a:moveTo>
                    <a:pt x="1188738" y="79641"/>
                  </a:moveTo>
                  <a:lnTo>
                    <a:pt x="1165577" y="79641"/>
                  </a:lnTo>
                  <a:lnTo>
                    <a:pt x="1165577" y="126477"/>
                  </a:lnTo>
                  <a:lnTo>
                    <a:pt x="1188738" y="126477"/>
                  </a:lnTo>
                  <a:lnTo>
                    <a:pt x="1188738" y="79641"/>
                  </a:lnTo>
                  <a:close/>
                </a:path>
                <a:path w="1189354" h="1684020" extrusionOk="0">
                  <a:moveTo>
                    <a:pt x="23151" y="93672"/>
                  </a:moveTo>
                  <a:lnTo>
                    <a:pt x="0" y="93672"/>
                  </a:lnTo>
                  <a:lnTo>
                    <a:pt x="0" y="140498"/>
                  </a:lnTo>
                  <a:lnTo>
                    <a:pt x="23151" y="140498"/>
                  </a:lnTo>
                  <a:lnTo>
                    <a:pt x="23151" y="93672"/>
                  </a:lnTo>
                  <a:close/>
                </a:path>
                <a:path w="1189354" h="1684020" extrusionOk="0">
                  <a:moveTo>
                    <a:pt x="1188738" y="173303"/>
                  </a:moveTo>
                  <a:lnTo>
                    <a:pt x="1165577" y="173303"/>
                  </a:lnTo>
                  <a:lnTo>
                    <a:pt x="1165577" y="220129"/>
                  </a:lnTo>
                  <a:lnTo>
                    <a:pt x="1188738" y="220129"/>
                  </a:lnTo>
                  <a:lnTo>
                    <a:pt x="1188738" y="173303"/>
                  </a:lnTo>
                  <a:close/>
                </a:path>
                <a:path w="1189354" h="1684020" extrusionOk="0">
                  <a:moveTo>
                    <a:pt x="23151" y="187345"/>
                  </a:moveTo>
                  <a:lnTo>
                    <a:pt x="0" y="187345"/>
                  </a:lnTo>
                  <a:lnTo>
                    <a:pt x="0" y="234149"/>
                  </a:lnTo>
                  <a:lnTo>
                    <a:pt x="23151" y="234149"/>
                  </a:lnTo>
                  <a:lnTo>
                    <a:pt x="23151" y="187345"/>
                  </a:lnTo>
                  <a:close/>
                </a:path>
                <a:path w="1189354" h="1684020" extrusionOk="0">
                  <a:moveTo>
                    <a:pt x="1188738" y="266976"/>
                  </a:moveTo>
                  <a:lnTo>
                    <a:pt x="1165577" y="266976"/>
                  </a:lnTo>
                  <a:lnTo>
                    <a:pt x="1165577" y="313791"/>
                  </a:lnTo>
                  <a:lnTo>
                    <a:pt x="1188738" y="313791"/>
                  </a:lnTo>
                  <a:lnTo>
                    <a:pt x="1188738" y="266976"/>
                  </a:lnTo>
                  <a:close/>
                </a:path>
                <a:path w="1189354" h="1684020" extrusionOk="0">
                  <a:moveTo>
                    <a:pt x="23151" y="280986"/>
                  </a:moveTo>
                  <a:lnTo>
                    <a:pt x="0" y="280986"/>
                  </a:lnTo>
                  <a:lnTo>
                    <a:pt x="0" y="327822"/>
                  </a:lnTo>
                  <a:lnTo>
                    <a:pt x="23151" y="327822"/>
                  </a:lnTo>
                  <a:lnTo>
                    <a:pt x="23151" y="280986"/>
                  </a:lnTo>
                  <a:close/>
                </a:path>
                <a:path w="1189354" h="1684020" extrusionOk="0">
                  <a:moveTo>
                    <a:pt x="1188738" y="360606"/>
                  </a:moveTo>
                  <a:lnTo>
                    <a:pt x="1165577" y="360606"/>
                  </a:lnTo>
                  <a:lnTo>
                    <a:pt x="1165577" y="407432"/>
                  </a:lnTo>
                  <a:lnTo>
                    <a:pt x="1188738" y="407432"/>
                  </a:lnTo>
                  <a:lnTo>
                    <a:pt x="1188738" y="360606"/>
                  </a:lnTo>
                  <a:close/>
                </a:path>
                <a:path w="1189354" h="1684020" extrusionOk="0">
                  <a:moveTo>
                    <a:pt x="23151" y="374648"/>
                  </a:moveTo>
                  <a:lnTo>
                    <a:pt x="0" y="374648"/>
                  </a:lnTo>
                  <a:lnTo>
                    <a:pt x="0" y="421484"/>
                  </a:lnTo>
                  <a:lnTo>
                    <a:pt x="23151" y="421484"/>
                  </a:lnTo>
                  <a:lnTo>
                    <a:pt x="23151" y="374648"/>
                  </a:lnTo>
                  <a:close/>
                </a:path>
                <a:path w="1189354" h="1684020" extrusionOk="0">
                  <a:moveTo>
                    <a:pt x="1188738" y="454279"/>
                  </a:moveTo>
                  <a:lnTo>
                    <a:pt x="1165577" y="454279"/>
                  </a:lnTo>
                  <a:lnTo>
                    <a:pt x="1165577" y="501094"/>
                  </a:lnTo>
                  <a:lnTo>
                    <a:pt x="1188738" y="501094"/>
                  </a:lnTo>
                  <a:lnTo>
                    <a:pt x="1188738" y="454279"/>
                  </a:lnTo>
                  <a:close/>
                </a:path>
                <a:path w="1189354" h="1684020" extrusionOk="0">
                  <a:moveTo>
                    <a:pt x="23151" y="468289"/>
                  </a:moveTo>
                  <a:lnTo>
                    <a:pt x="0" y="468289"/>
                  </a:lnTo>
                  <a:lnTo>
                    <a:pt x="0" y="515125"/>
                  </a:lnTo>
                  <a:lnTo>
                    <a:pt x="23151" y="515125"/>
                  </a:lnTo>
                  <a:lnTo>
                    <a:pt x="23151" y="468289"/>
                  </a:lnTo>
                  <a:close/>
                </a:path>
                <a:path w="1189354" h="1684020" extrusionOk="0">
                  <a:moveTo>
                    <a:pt x="1188738" y="547951"/>
                  </a:moveTo>
                  <a:lnTo>
                    <a:pt x="1165577" y="547951"/>
                  </a:lnTo>
                  <a:lnTo>
                    <a:pt x="1165577" y="594735"/>
                  </a:lnTo>
                  <a:lnTo>
                    <a:pt x="1188738" y="594735"/>
                  </a:lnTo>
                  <a:lnTo>
                    <a:pt x="1188738" y="547951"/>
                  </a:lnTo>
                  <a:close/>
                </a:path>
                <a:path w="1189354" h="1684020" extrusionOk="0">
                  <a:moveTo>
                    <a:pt x="23151" y="561951"/>
                  </a:moveTo>
                  <a:lnTo>
                    <a:pt x="0" y="561951"/>
                  </a:lnTo>
                  <a:lnTo>
                    <a:pt x="0" y="608777"/>
                  </a:lnTo>
                  <a:lnTo>
                    <a:pt x="23151" y="608777"/>
                  </a:lnTo>
                  <a:lnTo>
                    <a:pt x="23151" y="561951"/>
                  </a:lnTo>
                  <a:close/>
                </a:path>
                <a:path w="1189354" h="1684020" extrusionOk="0">
                  <a:moveTo>
                    <a:pt x="1188738" y="641593"/>
                  </a:moveTo>
                  <a:lnTo>
                    <a:pt x="1165577" y="641593"/>
                  </a:lnTo>
                  <a:lnTo>
                    <a:pt x="1165577" y="688408"/>
                  </a:lnTo>
                  <a:lnTo>
                    <a:pt x="1188738" y="688408"/>
                  </a:lnTo>
                  <a:lnTo>
                    <a:pt x="1188738" y="641593"/>
                  </a:lnTo>
                  <a:close/>
                </a:path>
                <a:path w="1189354" h="1684020" extrusionOk="0">
                  <a:moveTo>
                    <a:pt x="23151" y="655613"/>
                  </a:moveTo>
                  <a:lnTo>
                    <a:pt x="0" y="655613"/>
                  </a:lnTo>
                  <a:lnTo>
                    <a:pt x="0" y="702439"/>
                  </a:lnTo>
                  <a:lnTo>
                    <a:pt x="23151" y="702439"/>
                  </a:lnTo>
                  <a:lnTo>
                    <a:pt x="23151" y="655613"/>
                  </a:lnTo>
                  <a:close/>
                </a:path>
                <a:path w="1189354" h="1684020" extrusionOk="0">
                  <a:moveTo>
                    <a:pt x="1188738" y="735255"/>
                  </a:moveTo>
                  <a:lnTo>
                    <a:pt x="1165577" y="735255"/>
                  </a:lnTo>
                  <a:lnTo>
                    <a:pt x="1165577" y="782091"/>
                  </a:lnTo>
                  <a:lnTo>
                    <a:pt x="1188738" y="782091"/>
                  </a:lnTo>
                  <a:lnTo>
                    <a:pt x="1188738" y="735255"/>
                  </a:lnTo>
                  <a:close/>
                </a:path>
                <a:path w="1189354" h="1684020" extrusionOk="0">
                  <a:moveTo>
                    <a:pt x="23151" y="749265"/>
                  </a:moveTo>
                  <a:lnTo>
                    <a:pt x="0" y="749265"/>
                  </a:lnTo>
                  <a:lnTo>
                    <a:pt x="0" y="796080"/>
                  </a:lnTo>
                  <a:lnTo>
                    <a:pt x="23151" y="796080"/>
                  </a:lnTo>
                  <a:lnTo>
                    <a:pt x="23151" y="749265"/>
                  </a:lnTo>
                  <a:close/>
                </a:path>
                <a:path w="1189354" h="1684020" extrusionOk="0">
                  <a:moveTo>
                    <a:pt x="1188738" y="828885"/>
                  </a:moveTo>
                  <a:lnTo>
                    <a:pt x="1165577" y="828885"/>
                  </a:lnTo>
                  <a:lnTo>
                    <a:pt x="1165577" y="875753"/>
                  </a:lnTo>
                  <a:lnTo>
                    <a:pt x="1188738" y="875753"/>
                  </a:lnTo>
                  <a:lnTo>
                    <a:pt x="1188738" y="828885"/>
                  </a:lnTo>
                  <a:close/>
                </a:path>
                <a:path w="1189354" h="1684020" extrusionOk="0">
                  <a:moveTo>
                    <a:pt x="23151" y="842906"/>
                  </a:moveTo>
                  <a:lnTo>
                    <a:pt x="0" y="842906"/>
                  </a:lnTo>
                  <a:lnTo>
                    <a:pt x="0" y="889753"/>
                  </a:lnTo>
                  <a:lnTo>
                    <a:pt x="23151" y="889753"/>
                  </a:lnTo>
                  <a:lnTo>
                    <a:pt x="23151" y="842906"/>
                  </a:lnTo>
                  <a:close/>
                </a:path>
                <a:path w="1189354" h="1684020" extrusionOk="0">
                  <a:moveTo>
                    <a:pt x="1188738" y="922568"/>
                  </a:moveTo>
                  <a:lnTo>
                    <a:pt x="1165577" y="922568"/>
                  </a:lnTo>
                  <a:lnTo>
                    <a:pt x="1165577" y="969415"/>
                  </a:lnTo>
                  <a:lnTo>
                    <a:pt x="1188738" y="969415"/>
                  </a:lnTo>
                  <a:lnTo>
                    <a:pt x="1188738" y="922568"/>
                  </a:lnTo>
                  <a:close/>
                </a:path>
                <a:path w="1189354" h="1684020" extrusionOk="0">
                  <a:moveTo>
                    <a:pt x="23151" y="936568"/>
                  </a:moveTo>
                  <a:lnTo>
                    <a:pt x="0" y="936568"/>
                  </a:lnTo>
                  <a:lnTo>
                    <a:pt x="20" y="983477"/>
                  </a:lnTo>
                  <a:lnTo>
                    <a:pt x="23161" y="983341"/>
                  </a:lnTo>
                  <a:lnTo>
                    <a:pt x="23151" y="936568"/>
                  </a:lnTo>
                  <a:close/>
                </a:path>
                <a:path w="1189354" h="1684020" extrusionOk="0">
                  <a:moveTo>
                    <a:pt x="1164697" y="1015675"/>
                  </a:moveTo>
                  <a:lnTo>
                    <a:pt x="1164072" y="1027257"/>
                  </a:lnTo>
                  <a:lnTo>
                    <a:pt x="1163291" y="1038791"/>
                  </a:lnTo>
                  <a:lnTo>
                    <a:pt x="1162350" y="1050280"/>
                  </a:lnTo>
                  <a:lnTo>
                    <a:pt x="1161242" y="1061726"/>
                  </a:lnTo>
                  <a:lnTo>
                    <a:pt x="1184330" y="1064061"/>
                  </a:lnTo>
                  <a:lnTo>
                    <a:pt x="1185432" y="1052317"/>
                  </a:lnTo>
                  <a:lnTo>
                    <a:pt x="1186390" y="1040518"/>
                  </a:lnTo>
                  <a:lnTo>
                    <a:pt x="1187195" y="1028663"/>
                  </a:lnTo>
                  <a:lnTo>
                    <a:pt x="1187838" y="1016754"/>
                  </a:lnTo>
                  <a:lnTo>
                    <a:pt x="1164697" y="1015675"/>
                  </a:lnTo>
                  <a:close/>
                </a:path>
                <a:path w="1189354" h="1684020" extrusionOk="0">
                  <a:moveTo>
                    <a:pt x="24795" y="1029486"/>
                  </a:moveTo>
                  <a:lnTo>
                    <a:pt x="1675" y="1030942"/>
                  </a:lnTo>
                  <a:lnTo>
                    <a:pt x="2499" y="1042849"/>
                  </a:lnTo>
                  <a:lnTo>
                    <a:pt x="3495" y="1054694"/>
                  </a:lnTo>
                  <a:lnTo>
                    <a:pt x="4662" y="1066474"/>
                  </a:lnTo>
                  <a:lnTo>
                    <a:pt x="5999" y="1078187"/>
                  </a:lnTo>
                  <a:lnTo>
                    <a:pt x="28993" y="1075443"/>
                  </a:lnTo>
                  <a:lnTo>
                    <a:pt x="27712" y="1064028"/>
                  </a:lnTo>
                  <a:lnTo>
                    <a:pt x="26584" y="1052567"/>
                  </a:lnTo>
                  <a:lnTo>
                    <a:pt x="25611" y="1041055"/>
                  </a:lnTo>
                  <a:lnTo>
                    <a:pt x="24795" y="1029486"/>
                  </a:lnTo>
                  <a:close/>
                </a:path>
                <a:path w="1189354" h="1684020" extrusionOk="0">
                  <a:moveTo>
                    <a:pt x="1155221" y="1107474"/>
                  </a:moveTo>
                  <a:lnTo>
                    <a:pt x="1153295" y="1118910"/>
                  </a:lnTo>
                  <a:lnTo>
                    <a:pt x="1151218" y="1130271"/>
                  </a:lnTo>
                  <a:lnTo>
                    <a:pt x="1148981" y="1141558"/>
                  </a:lnTo>
                  <a:lnTo>
                    <a:pt x="1146572" y="1152771"/>
                  </a:lnTo>
                  <a:lnTo>
                    <a:pt x="1169189" y="1157797"/>
                  </a:lnTo>
                  <a:lnTo>
                    <a:pt x="1171659" y="1146235"/>
                  </a:lnTo>
                  <a:lnTo>
                    <a:pt x="1173962" y="1134604"/>
                  </a:lnTo>
                  <a:lnTo>
                    <a:pt x="1176099" y="1122902"/>
                  </a:lnTo>
                  <a:lnTo>
                    <a:pt x="1178068" y="1111128"/>
                  </a:lnTo>
                  <a:lnTo>
                    <a:pt x="1155221" y="1107474"/>
                  </a:lnTo>
                  <a:close/>
                </a:path>
                <a:path w="1189354" h="1684020" extrusionOk="0">
                  <a:moveTo>
                    <a:pt x="35789" y="1121065"/>
                  </a:moveTo>
                  <a:lnTo>
                    <a:pt x="12994" y="1125180"/>
                  </a:lnTo>
                  <a:lnTo>
                    <a:pt x="15196" y="1136904"/>
                  </a:lnTo>
                  <a:lnTo>
                    <a:pt x="17555" y="1148560"/>
                  </a:lnTo>
                  <a:lnTo>
                    <a:pt x="20066" y="1160144"/>
                  </a:lnTo>
                  <a:lnTo>
                    <a:pt x="22721" y="1171650"/>
                  </a:lnTo>
                  <a:lnTo>
                    <a:pt x="45286" y="1166236"/>
                  </a:lnTo>
                  <a:lnTo>
                    <a:pt x="42665" y="1155061"/>
                  </a:lnTo>
                  <a:lnTo>
                    <a:pt x="40208" y="1143808"/>
                  </a:lnTo>
                  <a:lnTo>
                    <a:pt x="37915" y="1132475"/>
                  </a:lnTo>
                  <a:lnTo>
                    <a:pt x="35789" y="1121065"/>
                  </a:lnTo>
                  <a:close/>
                </a:path>
                <a:path w="1189354" h="1684020" extrusionOk="0">
                  <a:moveTo>
                    <a:pt x="1135295" y="1197513"/>
                  </a:moveTo>
                  <a:lnTo>
                    <a:pt x="1132014" y="1208625"/>
                  </a:lnTo>
                  <a:lnTo>
                    <a:pt x="1128592" y="1219655"/>
                  </a:lnTo>
                  <a:lnTo>
                    <a:pt x="1125027" y="1230601"/>
                  </a:lnTo>
                  <a:lnTo>
                    <a:pt x="1121316" y="1241459"/>
                  </a:lnTo>
                  <a:lnTo>
                    <a:pt x="1143148" y="1249134"/>
                  </a:lnTo>
                  <a:lnTo>
                    <a:pt x="1146998" y="1237950"/>
                  </a:lnTo>
                  <a:lnTo>
                    <a:pt x="1150680" y="1226670"/>
                  </a:lnTo>
                  <a:lnTo>
                    <a:pt x="1154196" y="1215298"/>
                  </a:lnTo>
                  <a:lnTo>
                    <a:pt x="1157545" y="1203837"/>
                  </a:lnTo>
                  <a:lnTo>
                    <a:pt x="1135295" y="1197513"/>
                  </a:lnTo>
                  <a:close/>
                </a:path>
                <a:path w="1189354" h="1684020" extrusionOk="0">
                  <a:moveTo>
                    <a:pt x="57359" y="1210748"/>
                  </a:moveTo>
                  <a:lnTo>
                    <a:pt x="35161" y="1217481"/>
                  </a:lnTo>
                  <a:lnTo>
                    <a:pt x="38742" y="1228880"/>
                  </a:lnTo>
                  <a:lnTo>
                    <a:pt x="42477" y="1240183"/>
                  </a:lnTo>
                  <a:lnTo>
                    <a:pt x="46357" y="1251393"/>
                  </a:lnTo>
                  <a:lnTo>
                    <a:pt x="50375" y="1262516"/>
                  </a:lnTo>
                  <a:lnTo>
                    <a:pt x="72092" y="1254474"/>
                  </a:lnTo>
                  <a:lnTo>
                    <a:pt x="68173" y="1243678"/>
                  </a:lnTo>
                  <a:lnTo>
                    <a:pt x="64419" y="1232792"/>
                  </a:lnTo>
                  <a:lnTo>
                    <a:pt x="60818" y="1221815"/>
                  </a:lnTo>
                  <a:lnTo>
                    <a:pt x="57359" y="1210748"/>
                  </a:lnTo>
                  <a:close/>
                </a:path>
                <a:path w="1189354" h="1684020" extrusionOk="0">
                  <a:moveTo>
                    <a:pt x="1104720" y="1284484"/>
                  </a:moveTo>
                  <a:lnTo>
                    <a:pt x="1100157" y="1295111"/>
                  </a:lnTo>
                  <a:lnTo>
                    <a:pt x="1095429" y="1305633"/>
                  </a:lnTo>
                  <a:lnTo>
                    <a:pt x="1090549" y="1316048"/>
                  </a:lnTo>
                  <a:lnTo>
                    <a:pt x="1085527" y="1326357"/>
                  </a:lnTo>
                  <a:lnTo>
                    <a:pt x="1106259" y="1336681"/>
                  </a:lnTo>
                  <a:lnTo>
                    <a:pt x="1111428" y="1326060"/>
                  </a:lnTo>
                  <a:lnTo>
                    <a:pt x="1116456" y="1315313"/>
                  </a:lnTo>
                  <a:lnTo>
                    <a:pt x="1121342" y="1304452"/>
                  </a:lnTo>
                  <a:lnTo>
                    <a:pt x="1126080" y="1293489"/>
                  </a:lnTo>
                  <a:lnTo>
                    <a:pt x="1104720" y="1284484"/>
                  </a:lnTo>
                  <a:close/>
                </a:path>
                <a:path w="1189354" h="1684020" extrusionOk="0">
                  <a:moveTo>
                    <a:pt x="89473" y="1297175"/>
                  </a:moveTo>
                  <a:lnTo>
                    <a:pt x="68301" y="1306546"/>
                  </a:lnTo>
                  <a:lnTo>
                    <a:pt x="73220" y="1317448"/>
                  </a:lnTo>
                  <a:lnTo>
                    <a:pt x="78301" y="1328223"/>
                  </a:lnTo>
                  <a:lnTo>
                    <a:pt x="83538" y="1338870"/>
                  </a:lnTo>
                  <a:lnTo>
                    <a:pt x="88929" y="1349382"/>
                  </a:lnTo>
                  <a:lnTo>
                    <a:pt x="109494" y="1338671"/>
                  </a:lnTo>
                  <a:lnTo>
                    <a:pt x="104266" y="1328466"/>
                  </a:lnTo>
                  <a:lnTo>
                    <a:pt x="99185" y="1318147"/>
                  </a:lnTo>
                  <a:lnTo>
                    <a:pt x="94254" y="1307715"/>
                  </a:lnTo>
                  <a:lnTo>
                    <a:pt x="89473" y="1297175"/>
                  </a:lnTo>
                  <a:close/>
                </a:path>
                <a:path w="1189354" h="1684020" extrusionOk="0">
                  <a:moveTo>
                    <a:pt x="1063674" y="1366932"/>
                  </a:moveTo>
                  <a:lnTo>
                    <a:pt x="1057783" y="1376872"/>
                  </a:lnTo>
                  <a:lnTo>
                    <a:pt x="1051724" y="1386707"/>
                  </a:lnTo>
                  <a:lnTo>
                    <a:pt x="1045527" y="1396403"/>
                  </a:lnTo>
                  <a:lnTo>
                    <a:pt x="1039224" y="1405925"/>
                  </a:lnTo>
                  <a:lnTo>
                    <a:pt x="1058438" y="1418920"/>
                  </a:lnTo>
                  <a:lnTo>
                    <a:pt x="1064958" y="1409052"/>
                  </a:lnTo>
                  <a:lnTo>
                    <a:pt x="1071356" y="1399012"/>
                  </a:lnTo>
                  <a:lnTo>
                    <a:pt x="1077606" y="1388834"/>
                  </a:lnTo>
                  <a:lnTo>
                    <a:pt x="1083684" y="1378554"/>
                  </a:lnTo>
                  <a:lnTo>
                    <a:pt x="1063674" y="1366932"/>
                  </a:lnTo>
                  <a:close/>
                </a:path>
                <a:path w="1189354" h="1684020" extrusionOk="0">
                  <a:moveTo>
                    <a:pt x="132090" y="1378795"/>
                  </a:moveTo>
                  <a:lnTo>
                    <a:pt x="112321" y="1390816"/>
                  </a:lnTo>
                  <a:lnTo>
                    <a:pt x="118568" y="1400931"/>
                  </a:lnTo>
                  <a:lnTo>
                    <a:pt x="125017" y="1410959"/>
                  </a:lnTo>
                  <a:lnTo>
                    <a:pt x="131631" y="1420866"/>
                  </a:lnTo>
                  <a:lnTo>
                    <a:pt x="138372" y="1430616"/>
                  </a:lnTo>
                  <a:lnTo>
                    <a:pt x="157325" y="1417286"/>
                  </a:lnTo>
                  <a:lnTo>
                    <a:pt x="150786" y="1407856"/>
                  </a:lnTo>
                  <a:lnTo>
                    <a:pt x="144381" y="1398268"/>
                  </a:lnTo>
                  <a:lnTo>
                    <a:pt x="138140" y="1388567"/>
                  </a:lnTo>
                  <a:lnTo>
                    <a:pt x="132090" y="1378795"/>
                  </a:lnTo>
                  <a:close/>
                </a:path>
                <a:path w="1189354" h="1684020" extrusionOk="0">
                  <a:moveTo>
                    <a:pt x="1012220" y="1443191"/>
                  </a:moveTo>
                  <a:lnTo>
                    <a:pt x="1005057" y="1452236"/>
                  </a:lnTo>
                  <a:lnTo>
                    <a:pt x="997726" y="1461146"/>
                  </a:lnTo>
                  <a:lnTo>
                    <a:pt x="990257" y="1469887"/>
                  </a:lnTo>
                  <a:lnTo>
                    <a:pt x="982682" y="1478426"/>
                  </a:lnTo>
                  <a:lnTo>
                    <a:pt x="999885" y="1493954"/>
                  </a:lnTo>
                  <a:lnTo>
                    <a:pt x="1007730" y="1485068"/>
                  </a:lnTo>
                  <a:lnTo>
                    <a:pt x="1015463" y="1476004"/>
                  </a:lnTo>
                  <a:lnTo>
                    <a:pt x="1023059" y="1466787"/>
                  </a:lnTo>
                  <a:lnTo>
                    <a:pt x="1030492" y="1457442"/>
                  </a:lnTo>
                  <a:lnTo>
                    <a:pt x="1012220" y="1443191"/>
                  </a:lnTo>
                  <a:close/>
                </a:path>
                <a:path w="1189354" h="1684020" extrusionOk="0">
                  <a:moveTo>
                    <a:pt x="185093" y="1453976"/>
                  </a:moveTo>
                  <a:lnTo>
                    <a:pt x="167136" y="1468562"/>
                  </a:lnTo>
                  <a:lnTo>
                    <a:pt x="174756" y="1477776"/>
                  </a:lnTo>
                  <a:lnTo>
                    <a:pt x="182548" y="1486850"/>
                  </a:lnTo>
                  <a:lnTo>
                    <a:pt x="190479" y="1495750"/>
                  </a:lnTo>
                  <a:lnTo>
                    <a:pt x="198517" y="1504446"/>
                  </a:lnTo>
                  <a:lnTo>
                    <a:pt x="215386" y="1488572"/>
                  </a:lnTo>
                  <a:lnTo>
                    <a:pt x="207615" y="1480182"/>
                  </a:lnTo>
                  <a:lnTo>
                    <a:pt x="199961" y="1471592"/>
                  </a:lnTo>
                  <a:lnTo>
                    <a:pt x="192446" y="1462844"/>
                  </a:lnTo>
                  <a:lnTo>
                    <a:pt x="185093" y="1453976"/>
                  </a:lnTo>
                  <a:close/>
                </a:path>
                <a:path w="1189354" h="1684020" extrusionOk="0">
                  <a:moveTo>
                    <a:pt x="950662" y="1511419"/>
                  </a:moveTo>
                  <a:lnTo>
                    <a:pt x="942285" y="1519265"/>
                  </a:lnTo>
                  <a:lnTo>
                    <a:pt x="933745" y="1526977"/>
                  </a:lnTo>
                  <a:lnTo>
                    <a:pt x="925069" y="1534520"/>
                  </a:lnTo>
                  <a:lnTo>
                    <a:pt x="916286" y="1541858"/>
                  </a:lnTo>
                  <a:lnTo>
                    <a:pt x="930976" y="1559774"/>
                  </a:lnTo>
                  <a:lnTo>
                    <a:pt x="940107" y="1552133"/>
                  </a:lnTo>
                  <a:lnTo>
                    <a:pt x="949119" y="1544301"/>
                  </a:lnTo>
                  <a:lnTo>
                    <a:pt x="957983" y="1536300"/>
                  </a:lnTo>
                  <a:lnTo>
                    <a:pt x="966672" y="1528152"/>
                  </a:lnTo>
                  <a:lnTo>
                    <a:pt x="950662" y="1511419"/>
                  </a:lnTo>
                  <a:close/>
                </a:path>
                <a:path w="1189354" h="1684020" extrusionOk="0">
                  <a:moveTo>
                    <a:pt x="248107" y="1520780"/>
                  </a:moveTo>
                  <a:lnTo>
                    <a:pt x="232485" y="1537879"/>
                  </a:lnTo>
                  <a:lnTo>
                    <a:pt x="241387" y="1545878"/>
                  </a:lnTo>
                  <a:lnTo>
                    <a:pt x="250462" y="1553694"/>
                  </a:lnTo>
                  <a:lnTo>
                    <a:pt x="259668" y="1561305"/>
                  </a:lnTo>
                  <a:lnTo>
                    <a:pt x="268965" y="1568685"/>
                  </a:lnTo>
                  <a:lnTo>
                    <a:pt x="283185" y="1550403"/>
                  </a:lnTo>
                  <a:lnTo>
                    <a:pt x="274233" y="1543300"/>
                  </a:lnTo>
                  <a:lnTo>
                    <a:pt x="265383" y="1535984"/>
                  </a:lnTo>
                  <a:lnTo>
                    <a:pt x="256664" y="1528472"/>
                  </a:lnTo>
                  <a:lnTo>
                    <a:pt x="248107" y="1520780"/>
                  </a:lnTo>
                  <a:close/>
                </a:path>
                <a:path w="1189354" h="1684020" extrusionOk="0">
                  <a:moveTo>
                    <a:pt x="879627" y="1569407"/>
                  </a:moveTo>
                  <a:lnTo>
                    <a:pt x="870046" y="1575878"/>
                  </a:lnTo>
                  <a:lnTo>
                    <a:pt x="860365" y="1582129"/>
                  </a:lnTo>
                  <a:lnTo>
                    <a:pt x="850618" y="1588137"/>
                  </a:lnTo>
                  <a:lnTo>
                    <a:pt x="840843" y="1593878"/>
                  </a:lnTo>
                  <a:lnTo>
                    <a:pt x="852340" y="1614003"/>
                  </a:lnTo>
                  <a:lnTo>
                    <a:pt x="862568" y="1608001"/>
                  </a:lnTo>
                  <a:lnTo>
                    <a:pt x="872737" y="1601731"/>
                  </a:lnTo>
                  <a:lnTo>
                    <a:pt x="882820" y="1595217"/>
                  </a:lnTo>
                  <a:lnTo>
                    <a:pt x="892789" y="1588485"/>
                  </a:lnTo>
                  <a:lnTo>
                    <a:pt x="879627" y="1569407"/>
                  </a:lnTo>
                  <a:close/>
                </a:path>
                <a:path w="1189354" h="1684020" extrusionOk="0">
                  <a:moveTo>
                    <a:pt x="320492" y="1577103"/>
                  </a:moveTo>
                  <a:lnTo>
                    <a:pt x="307781" y="1596454"/>
                  </a:lnTo>
                  <a:lnTo>
                    <a:pt x="317909" y="1602932"/>
                  </a:lnTo>
                  <a:lnTo>
                    <a:pt x="328147" y="1609187"/>
                  </a:lnTo>
                  <a:lnTo>
                    <a:pt x="338455" y="1615194"/>
                  </a:lnTo>
                  <a:lnTo>
                    <a:pt x="348795" y="1620924"/>
                  </a:lnTo>
                  <a:lnTo>
                    <a:pt x="359779" y="1600527"/>
                  </a:lnTo>
                  <a:lnTo>
                    <a:pt x="349870" y="1595035"/>
                  </a:lnTo>
                  <a:lnTo>
                    <a:pt x="339998" y="1589286"/>
                  </a:lnTo>
                  <a:lnTo>
                    <a:pt x="330196" y="1583302"/>
                  </a:lnTo>
                  <a:lnTo>
                    <a:pt x="320492" y="1577103"/>
                  </a:lnTo>
                  <a:close/>
                </a:path>
                <a:path w="1189354" h="1684020" extrusionOk="0">
                  <a:moveTo>
                    <a:pt x="800153" y="1614956"/>
                  </a:moveTo>
                  <a:lnTo>
                    <a:pt x="789673" y="1619652"/>
                  </a:lnTo>
                  <a:lnTo>
                    <a:pt x="779101" y="1624104"/>
                  </a:lnTo>
                  <a:lnTo>
                    <a:pt x="768474" y="1628302"/>
                  </a:lnTo>
                  <a:lnTo>
                    <a:pt x="757830" y="1632233"/>
                  </a:lnTo>
                  <a:lnTo>
                    <a:pt x="765610" y="1654085"/>
                  </a:lnTo>
                  <a:lnTo>
                    <a:pt x="776744" y="1649947"/>
                  </a:lnTo>
                  <a:lnTo>
                    <a:pt x="787856" y="1645541"/>
                  </a:lnTo>
                  <a:lnTo>
                    <a:pt x="798915" y="1640868"/>
                  </a:lnTo>
                  <a:lnTo>
                    <a:pt x="809891" y="1635929"/>
                  </a:lnTo>
                  <a:lnTo>
                    <a:pt x="800153" y="1614956"/>
                  </a:lnTo>
                  <a:close/>
                </a:path>
                <a:path w="1189354" h="1684020" extrusionOk="0">
                  <a:moveTo>
                    <a:pt x="400930" y="1620474"/>
                  </a:moveTo>
                  <a:lnTo>
                    <a:pt x="425263" y="1654810"/>
                  </a:lnTo>
                  <a:lnTo>
                    <a:pt x="436552" y="1658651"/>
                  </a:lnTo>
                  <a:lnTo>
                    <a:pt x="443745" y="1636609"/>
                  </a:lnTo>
                  <a:lnTo>
                    <a:pt x="432946" y="1632956"/>
                  </a:lnTo>
                  <a:lnTo>
                    <a:pt x="422184" y="1629040"/>
                  </a:lnTo>
                  <a:lnTo>
                    <a:pt x="411500" y="1624875"/>
                  </a:lnTo>
                  <a:lnTo>
                    <a:pt x="400930" y="1620474"/>
                  </a:lnTo>
                  <a:close/>
                </a:path>
                <a:path w="1189354" h="1684020" extrusionOk="0">
                  <a:moveTo>
                    <a:pt x="714114" y="1645583"/>
                  </a:moveTo>
                  <a:lnTo>
                    <a:pt x="702983" y="1648293"/>
                  </a:lnTo>
                  <a:lnTo>
                    <a:pt x="691799" y="1650732"/>
                  </a:lnTo>
                  <a:lnTo>
                    <a:pt x="680605" y="1652892"/>
                  </a:lnTo>
                  <a:lnTo>
                    <a:pt x="669445" y="1654766"/>
                  </a:lnTo>
                  <a:lnTo>
                    <a:pt x="672995" y="1677655"/>
                  </a:lnTo>
                  <a:lnTo>
                    <a:pt x="684716" y="1675698"/>
                  </a:lnTo>
                  <a:lnTo>
                    <a:pt x="696456" y="1673429"/>
                  </a:lnTo>
                  <a:lnTo>
                    <a:pt x="708182" y="1670860"/>
                  </a:lnTo>
                  <a:lnTo>
                    <a:pt x="719862" y="1668001"/>
                  </a:lnTo>
                  <a:lnTo>
                    <a:pt x="714114" y="1645583"/>
                  </a:lnTo>
                  <a:close/>
                </a:path>
                <a:path w="1189354" h="1684020" extrusionOk="0">
                  <a:moveTo>
                    <a:pt x="487796" y="1648787"/>
                  </a:moveTo>
                  <a:lnTo>
                    <a:pt x="518052" y="1678047"/>
                  </a:lnTo>
                  <a:lnTo>
                    <a:pt x="529847" y="1679687"/>
                  </a:lnTo>
                  <a:lnTo>
                    <a:pt x="532790" y="1656703"/>
                  </a:lnTo>
                  <a:lnTo>
                    <a:pt x="521536" y="1655130"/>
                  </a:lnTo>
                  <a:lnTo>
                    <a:pt x="510261" y="1653279"/>
                  </a:lnTo>
                  <a:lnTo>
                    <a:pt x="499002" y="1651161"/>
                  </a:lnTo>
                  <a:lnTo>
                    <a:pt x="487796" y="1648787"/>
                  </a:lnTo>
                  <a:close/>
                </a:path>
                <a:path w="1189354" h="1684020" extrusionOk="0">
                  <a:moveTo>
                    <a:pt x="578327" y="1660368"/>
                  </a:moveTo>
                  <a:lnTo>
                    <a:pt x="577563" y="1683519"/>
                  </a:lnTo>
                  <a:lnTo>
                    <a:pt x="589540" y="1683785"/>
                  </a:lnTo>
                  <a:lnTo>
                    <a:pt x="601549" y="1683764"/>
                  </a:lnTo>
                  <a:lnTo>
                    <a:pt x="613538" y="1683450"/>
                  </a:lnTo>
                  <a:lnTo>
                    <a:pt x="625457" y="1682838"/>
                  </a:lnTo>
                  <a:lnTo>
                    <a:pt x="624086" y="1660602"/>
                  </a:lnTo>
                  <a:lnTo>
                    <a:pt x="589736" y="1660602"/>
                  </a:lnTo>
                  <a:lnTo>
                    <a:pt x="578327" y="1660368"/>
                  </a:lnTo>
                  <a:close/>
                </a:path>
                <a:path w="1189354" h="1684020" extrusionOk="0">
                  <a:moveTo>
                    <a:pt x="624033" y="1659740"/>
                  </a:moveTo>
                  <a:lnTo>
                    <a:pt x="612636" y="1660282"/>
                  </a:lnTo>
                  <a:lnTo>
                    <a:pt x="601188" y="1660572"/>
                  </a:lnTo>
                  <a:lnTo>
                    <a:pt x="589736" y="1660602"/>
                  </a:lnTo>
                  <a:lnTo>
                    <a:pt x="624086" y="1660602"/>
                  </a:lnTo>
                  <a:lnTo>
                    <a:pt x="624033" y="165974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1"/>
            <p:cNvSpPr/>
            <p:nvPr/>
          </p:nvSpPr>
          <p:spPr>
            <a:xfrm>
              <a:off x="3790638" y="7224355"/>
              <a:ext cx="23495" cy="0"/>
            </a:xfrm>
            <a:custGeom>
              <a:avLst/>
              <a:gdLst/>
              <a:ahLst/>
              <a:cxnLst/>
              <a:rect l="l" t="t" r="r" b="b"/>
              <a:pathLst>
                <a:path w="23495" h="120000" extrusionOk="0">
                  <a:moveTo>
                    <a:pt x="0" y="0"/>
                  </a:moveTo>
                  <a:lnTo>
                    <a:pt x="23151" y="0"/>
                  </a:lnTo>
                </a:path>
              </a:pathLst>
            </a:custGeom>
            <a:noFill/>
            <a:ln w="23150" cap="flat" cmpd="sng">
              <a:solidFill>
                <a:srgbClr val="F3812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1"/>
            <p:cNvSpPr/>
            <p:nvPr/>
          </p:nvSpPr>
          <p:spPr>
            <a:xfrm>
              <a:off x="4944634" y="5118608"/>
              <a:ext cx="1987550" cy="2175510"/>
            </a:xfrm>
            <a:custGeom>
              <a:avLst/>
              <a:gdLst/>
              <a:ahLst/>
              <a:cxnLst/>
              <a:rect l="l" t="t" r="r" b="b"/>
              <a:pathLst>
                <a:path w="1987550" h="2175509" extrusionOk="0">
                  <a:moveTo>
                    <a:pt x="1987080" y="0"/>
                  </a:moveTo>
                  <a:lnTo>
                    <a:pt x="949562" y="0"/>
                  </a:lnTo>
                  <a:lnTo>
                    <a:pt x="900770" y="1237"/>
                  </a:lnTo>
                  <a:lnTo>
                    <a:pt x="852610" y="4911"/>
                  </a:lnTo>
                  <a:lnTo>
                    <a:pt x="805143" y="10961"/>
                  </a:lnTo>
                  <a:lnTo>
                    <a:pt x="758428" y="19326"/>
                  </a:lnTo>
                  <a:lnTo>
                    <a:pt x="712526" y="29947"/>
                  </a:lnTo>
                  <a:lnTo>
                    <a:pt x="667497" y="42763"/>
                  </a:lnTo>
                  <a:lnTo>
                    <a:pt x="623400" y="57714"/>
                  </a:lnTo>
                  <a:lnTo>
                    <a:pt x="580296" y="74741"/>
                  </a:lnTo>
                  <a:lnTo>
                    <a:pt x="538246" y="93782"/>
                  </a:lnTo>
                  <a:lnTo>
                    <a:pt x="497308" y="114778"/>
                  </a:lnTo>
                  <a:lnTo>
                    <a:pt x="457544" y="137669"/>
                  </a:lnTo>
                  <a:lnTo>
                    <a:pt x="419014" y="162395"/>
                  </a:lnTo>
                  <a:lnTo>
                    <a:pt x="381777" y="188895"/>
                  </a:lnTo>
                  <a:lnTo>
                    <a:pt x="345893" y="217109"/>
                  </a:lnTo>
                  <a:lnTo>
                    <a:pt x="311424" y="246978"/>
                  </a:lnTo>
                  <a:lnTo>
                    <a:pt x="278428" y="278440"/>
                  </a:lnTo>
                  <a:lnTo>
                    <a:pt x="246967" y="311436"/>
                  </a:lnTo>
                  <a:lnTo>
                    <a:pt x="217099" y="345907"/>
                  </a:lnTo>
                  <a:lnTo>
                    <a:pt x="188886" y="381790"/>
                  </a:lnTo>
                  <a:lnTo>
                    <a:pt x="162387" y="419028"/>
                  </a:lnTo>
                  <a:lnTo>
                    <a:pt x="137662" y="457558"/>
                  </a:lnTo>
                  <a:lnTo>
                    <a:pt x="114772" y="497322"/>
                  </a:lnTo>
                  <a:lnTo>
                    <a:pt x="93777" y="538259"/>
                  </a:lnTo>
                  <a:lnTo>
                    <a:pt x="74736" y="580310"/>
                  </a:lnTo>
                  <a:lnTo>
                    <a:pt x="57711" y="623412"/>
                  </a:lnTo>
                  <a:lnTo>
                    <a:pt x="42760" y="667508"/>
                  </a:lnTo>
                  <a:lnTo>
                    <a:pt x="29945" y="712536"/>
                  </a:lnTo>
                  <a:lnTo>
                    <a:pt x="19325" y="758437"/>
                  </a:lnTo>
                  <a:lnTo>
                    <a:pt x="10960" y="805150"/>
                  </a:lnTo>
                  <a:lnTo>
                    <a:pt x="4911" y="852616"/>
                  </a:lnTo>
                  <a:lnTo>
                    <a:pt x="1237" y="900773"/>
                  </a:lnTo>
                  <a:lnTo>
                    <a:pt x="0" y="949562"/>
                  </a:lnTo>
                  <a:lnTo>
                    <a:pt x="0" y="2175232"/>
                  </a:lnTo>
                  <a:lnTo>
                    <a:pt x="46291" y="2175232"/>
                  </a:lnTo>
                  <a:lnTo>
                    <a:pt x="46291" y="949562"/>
                  </a:lnTo>
                  <a:lnTo>
                    <a:pt x="47546" y="901664"/>
                  </a:lnTo>
                  <a:lnTo>
                    <a:pt x="51267" y="854409"/>
                  </a:lnTo>
                  <a:lnTo>
                    <a:pt x="57393" y="807860"/>
                  </a:lnTo>
                  <a:lnTo>
                    <a:pt x="65860" y="762079"/>
                  </a:lnTo>
                  <a:lnTo>
                    <a:pt x="76606" y="717129"/>
                  </a:lnTo>
                  <a:lnTo>
                    <a:pt x="89566" y="673074"/>
                  </a:lnTo>
                  <a:lnTo>
                    <a:pt x="104680" y="629976"/>
                  </a:lnTo>
                  <a:lnTo>
                    <a:pt x="121883" y="587898"/>
                  </a:lnTo>
                  <a:lnTo>
                    <a:pt x="141112" y="546904"/>
                  </a:lnTo>
                  <a:lnTo>
                    <a:pt x="162305" y="507055"/>
                  </a:lnTo>
                  <a:lnTo>
                    <a:pt x="185400" y="468415"/>
                  </a:lnTo>
                  <a:lnTo>
                    <a:pt x="210332" y="431046"/>
                  </a:lnTo>
                  <a:lnTo>
                    <a:pt x="237039" y="395012"/>
                  </a:lnTo>
                  <a:lnTo>
                    <a:pt x="265458" y="360376"/>
                  </a:lnTo>
                  <a:lnTo>
                    <a:pt x="295526" y="327200"/>
                  </a:lnTo>
                  <a:lnTo>
                    <a:pt x="327180" y="295548"/>
                  </a:lnTo>
                  <a:lnTo>
                    <a:pt x="360358" y="265482"/>
                  </a:lnTo>
                  <a:lnTo>
                    <a:pt x="394997" y="237065"/>
                  </a:lnTo>
                  <a:lnTo>
                    <a:pt x="431032" y="210360"/>
                  </a:lnTo>
                  <a:lnTo>
                    <a:pt x="468402" y="185429"/>
                  </a:lnTo>
                  <a:lnTo>
                    <a:pt x="507044" y="162337"/>
                  </a:lnTo>
                  <a:lnTo>
                    <a:pt x="546895" y="141145"/>
                  </a:lnTo>
                  <a:lnTo>
                    <a:pt x="587891" y="121918"/>
                  </a:lnTo>
                  <a:lnTo>
                    <a:pt x="629971" y="104716"/>
                  </a:lnTo>
                  <a:lnTo>
                    <a:pt x="673070" y="89604"/>
                  </a:lnTo>
                  <a:lnTo>
                    <a:pt x="717127" y="76645"/>
                  </a:lnTo>
                  <a:lnTo>
                    <a:pt x="762077" y="65900"/>
                  </a:lnTo>
                  <a:lnTo>
                    <a:pt x="807859" y="57434"/>
                  </a:lnTo>
                  <a:lnTo>
                    <a:pt x="854409" y="51309"/>
                  </a:lnTo>
                  <a:lnTo>
                    <a:pt x="901664" y="47588"/>
                  </a:lnTo>
                  <a:lnTo>
                    <a:pt x="949562" y="46333"/>
                  </a:lnTo>
                  <a:lnTo>
                    <a:pt x="1987080" y="46333"/>
                  </a:lnTo>
                  <a:lnTo>
                    <a:pt x="1987080" y="0"/>
                  </a:lnTo>
                  <a:close/>
                </a:path>
              </a:pathLst>
            </a:custGeom>
            <a:solidFill>
              <a:srgbClr val="F3812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888;p14">
            <a:extLst>
              <a:ext uri="{FF2B5EF4-FFF2-40B4-BE49-F238E27FC236}">
                <a16:creationId xmlns="" xmlns:a16="http://schemas.microsoft.com/office/drawing/2014/main" id="{6287B302-8E77-4D75-8225-5E9EF40ADBCC}"/>
              </a:ext>
            </a:extLst>
          </p:cNvPr>
          <p:cNvSpPr/>
          <p:nvPr/>
        </p:nvSpPr>
        <p:spPr>
          <a:xfrm>
            <a:off x="6546850" y="5265246"/>
            <a:ext cx="3245200" cy="3317069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CaixaDeTexto 66">
            <a:extLst>
              <a:ext uri="{FF2B5EF4-FFF2-40B4-BE49-F238E27FC236}">
                <a16:creationId xmlns="" xmlns:a16="http://schemas.microsoft.com/office/drawing/2014/main" id="{D81AB16B-F12A-454F-86D7-D7E8D7E29F41}"/>
              </a:ext>
            </a:extLst>
          </p:cNvPr>
          <p:cNvSpPr txBox="1"/>
          <p:nvPr/>
        </p:nvSpPr>
        <p:spPr>
          <a:xfrm>
            <a:off x="4839940" y="9199278"/>
            <a:ext cx="1052894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pt-BR" sz="2000" b="0" i="1" dirty="0">
              <a:solidFill>
                <a:srgbClr val="FFFFFF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marR="1825625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dirty="0">
                <a:solidFill>
                  <a:srgbClr val="E36C09"/>
                </a:solidFill>
                <a:latin typeface="Tahoma"/>
                <a:ea typeface="Tahoma"/>
                <a:cs typeface="Tahoma"/>
                <a:sym typeface="Tahoma"/>
              </a:rPr>
              <a:t>   </a:t>
            </a:r>
            <a:endParaRPr lang="pt-BR" dirty="0"/>
          </a:p>
        </p:txBody>
      </p:sp>
      <p:sp>
        <p:nvSpPr>
          <p:cNvPr id="68" name="Google Shape;889;p14">
            <a:extLst>
              <a:ext uri="{FF2B5EF4-FFF2-40B4-BE49-F238E27FC236}">
                <a16:creationId xmlns="" xmlns:a16="http://schemas.microsoft.com/office/drawing/2014/main" id="{15A47156-1C15-4C05-AC3A-53161E1B37CB}"/>
              </a:ext>
            </a:extLst>
          </p:cNvPr>
          <p:cNvSpPr txBox="1"/>
          <p:nvPr/>
        </p:nvSpPr>
        <p:spPr>
          <a:xfrm>
            <a:off x="10460538" y="6134956"/>
            <a:ext cx="6613338" cy="18466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700" marR="125729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amila Rodrigues</a:t>
            </a:r>
          </a:p>
          <a:p>
            <a:pPr marL="12700" marR="125729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erente Jurídica</a:t>
            </a:r>
            <a:br>
              <a:rPr lang="pt-BR" sz="3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</a:br>
            <a:endParaRPr lang="pt-BR" sz="3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125729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(61) 99966-9606</a:t>
            </a:r>
            <a:endParaRPr sz="30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898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3F601726-32D0-0497-B40D-2DF1A94D5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Slide do think-cell" r:id="rId4" imgW="359" imgH="360" progId="TCLayout.ActiveDocument.1">
                  <p:embed/>
                </p:oleObj>
              </mc:Choice>
              <mc:Fallback>
                <p:oleObj name="Slide do think-cell" r:id="rId4" imgW="359" imgH="36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3F601726-32D0-0497-B40D-2DF1A94D5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m 14">
            <a:extLst>
              <a:ext uri="{FF2B5EF4-FFF2-40B4-BE49-F238E27FC236}">
                <a16:creationId xmlns="" xmlns:a16="http://schemas.microsoft.com/office/drawing/2014/main" id="{AD6A6B1D-14C1-4BE5-8DDF-C77CB977065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5698" y="5151844"/>
            <a:ext cx="3079964" cy="1362922"/>
          </a:xfrm>
          <a:prstGeom prst="rect">
            <a:avLst/>
          </a:prstGeom>
        </p:spPr>
      </p:pic>
      <p:pic>
        <p:nvPicPr>
          <p:cNvPr id="17" name="Imagem 16" descr="Logotipo&#10;&#10;Descrição gerada automaticamente">
            <a:extLst>
              <a:ext uri="{FF2B5EF4-FFF2-40B4-BE49-F238E27FC236}">
                <a16:creationId xmlns="" xmlns:a16="http://schemas.microsoft.com/office/drawing/2014/main" id="{27FAC7F6-CAAA-4C23-9B0C-B92DCFD1B0F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7600" y="3742639"/>
            <a:ext cx="1936159" cy="1137761"/>
          </a:xfrm>
          <a:prstGeom prst="rect">
            <a:avLst/>
          </a:prstGeom>
        </p:spPr>
      </p:pic>
      <p:pic>
        <p:nvPicPr>
          <p:cNvPr id="19" name="Imagem 18" descr="Uma imagem contendo Ícone&#10;&#10;Descrição gerada automaticamente">
            <a:extLst>
              <a:ext uri="{FF2B5EF4-FFF2-40B4-BE49-F238E27FC236}">
                <a16:creationId xmlns="" xmlns:a16="http://schemas.microsoft.com/office/drawing/2014/main" id="{428B9A47-8806-48E9-B45D-3D89F763162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8323" y="2614446"/>
            <a:ext cx="2847735" cy="681707"/>
          </a:xfrm>
          <a:prstGeom prst="rect">
            <a:avLst/>
          </a:prstGeom>
        </p:spPr>
      </p:pic>
      <p:pic>
        <p:nvPicPr>
          <p:cNvPr id="21" name="Imagem 20" descr="Logotipo&#10;&#10;Descrição gerada automaticamente">
            <a:extLst>
              <a:ext uri="{FF2B5EF4-FFF2-40B4-BE49-F238E27FC236}">
                <a16:creationId xmlns="" xmlns:a16="http://schemas.microsoft.com/office/drawing/2014/main" id="{22C65BE7-EB57-41A5-9C7B-0D57E426390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3260" y="6511418"/>
            <a:ext cx="2944840" cy="1614208"/>
          </a:xfrm>
          <a:prstGeom prst="rect">
            <a:avLst/>
          </a:prstGeom>
        </p:spPr>
      </p:pic>
      <p:pic>
        <p:nvPicPr>
          <p:cNvPr id="22" name="Imagem 21" descr="Texto&#10;&#10;Descrição gerada automaticamente">
            <a:extLst>
              <a:ext uri="{FF2B5EF4-FFF2-40B4-BE49-F238E27FC236}">
                <a16:creationId xmlns="" xmlns:a16="http://schemas.microsoft.com/office/drawing/2014/main" id="{6A26542F-B3E5-4D08-A715-1E02B97B62C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6825" y="8122278"/>
            <a:ext cx="3010733" cy="1749333"/>
          </a:xfrm>
          <a:prstGeom prst="rect">
            <a:avLst/>
          </a:prstGeom>
        </p:spPr>
      </p:pic>
      <p:pic>
        <p:nvPicPr>
          <p:cNvPr id="23" name="Imagem 22" descr="Logotipo&#10;&#10;Descrição gerada automaticamente">
            <a:extLst>
              <a:ext uri="{FF2B5EF4-FFF2-40B4-BE49-F238E27FC236}">
                <a16:creationId xmlns="" xmlns:a16="http://schemas.microsoft.com/office/drawing/2014/main" id="{F58E5A23-F5D6-4C65-9C08-59E8D96A65D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532" y="10127059"/>
            <a:ext cx="1492296" cy="1492296"/>
          </a:xfrm>
          <a:prstGeom prst="rect">
            <a:avLst/>
          </a:prstGeom>
        </p:spPr>
      </p:pic>
      <p:pic>
        <p:nvPicPr>
          <p:cNvPr id="24" name="Imagem 23" descr="Desenho de um círculo&#10;&#10;Descrição gerada automaticamente com confiança média">
            <a:extLst>
              <a:ext uri="{FF2B5EF4-FFF2-40B4-BE49-F238E27FC236}">
                <a16:creationId xmlns="" xmlns:a16="http://schemas.microsoft.com/office/drawing/2014/main" id="{8BD13EAD-20E9-4B83-B748-9652E36B1378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813" y="1691389"/>
            <a:ext cx="2847735" cy="512333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="" xmlns:a16="http://schemas.microsoft.com/office/drawing/2014/main" id="{6850A8EC-87AC-4B3D-9A67-141E4D8ED3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38" y="449710"/>
            <a:ext cx="11230008" cy="80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3923" eaLnBrk="0" hangingPunct="0">
              <a:spcBef>
                <a:spcPts val="3626"/>
              </a:spcBef>
              <a:defRPr/>
            </a:pPr>
            <a:r>
              <a:rPr lang="pt-BR" sz="461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  <a:ea typeface="Tahoma" panose="020B0604030504040204" pitchFamily="34" charset="0"/>
                <a:cs typeface="Tahoma" panose="020B0604030504040204" pitchFamily="34" charset="0"/>
              </a:rPr>
              <a:t>Associadas da ANTF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76A4B6B9-1EB5-A417-35DD-4155EE306AC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00521" y="10926402"/>
            <a:ext cx="1209456" cy="128238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="" xmlns:a16="http://schemas.microsoft.com/office/drawing/2014/main" id="{F54BA186-FE1A-6832-90B5-60E244823A79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9"/>
          <a:stretch/>
        </p:blipFill>
        <p:spPr>
          <a:xfrm>
            <a:off x="4735286" y="-184787"/>
            <a:ext cx="14713178" cy="1239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34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98792F7B-D0DE-481B-B720-62BBC3C4B8FA}"/>
              </a:ext>
            </a:extLst>
          </p:cNvPr>
          <p:cNvSpPr txBox="1"/>
          <p:nvPr/>
        </p:nvSpPr>
        <p:spPr>
          <a:xfrm>
            <a:off x="1517650" y="471372"/>
            <a:ext cx="16473656" cy="71023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triz de Transporte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 atual cenário nacional é de 21,5% de participação das ferrovias na matriz de transporte de cargas do Brasil: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AutoShape 2" descr="blob:https://web.whatsapp.com/43be99c5-897d-4988-a899-fa6f9fc1d67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49"/>
          <a:stretch/>
        </p:blipFill>
        <p:spPr bwMode="auto">
          <a:xfrm>
            <a:off x="2508250" y="3235325"/>
            <a:ext cx="13674905" cy="739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5301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98792F7B-D0DE-481B-B720-62BBC3C4B8FA}"/>
              </a:ext>
            </a:extLst>
          </p:cNvPr>
          <p:cNvSpPr txBox="1"/>
          <p:nvPr/>
        </p:nvSpPr>
        <p:spPr>
          <a:xfrm>
            <a:off x="1517650" y="471372"/>
            <a:ext cx="16473656" cy="61944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vimentação Ferroviária (Toneladas Úteis – TU)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de 1997, o setor ferroviário de cargas ampliou em mais de 98% a movimentação de cargas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 2022, foram movimentadas 500,8 milhões de toneladas úteis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="" xmlns:a16="http://schemas.microsoft.com/office/drawing/2014/main" id="{8CA2BF57-A862-45E0-845F-552EED628CE7}"/>
              </a:ext>
            </a:extLst>
          </p:cNvPr>
          <p:cNvPicPr/>
          <p:nvPr/>
        </p:nvPicPr>
        <p:blipFill rotWithShape="1">
          <a:blip r:embed="rId7"/>
          <a:srcRect l="13405" t="19861" r="52552" b="27352"/>
          <a:stretch/>
        </p:blipFill>
        <p:spPr bwMode="auto">
          <a:xfrm>
            <a:off x="2112794" y="4073525"/>
            <a:ext cx="15392400" cy="832655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915497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98792F7B-D0DE-481B-B720-62BBC3C4B8FA}"/>
              </a:ext>
            </a:extLst>
          </p:cNvPr>
          <p:cNvSpPr txBox="1"/>
          <p:nvPr/>
        </p:nvSpPr>
        <p:spPr>
          <a:xfrm>
            <a:off x="1517650" y="471372"/>
            <a:ext cx="16473656" cy="105259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ncipais Produtos Transportados nas Ferrovias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 2022, o transporte de minério de ferro representou cerca de 71% da carga movimentada por ferrovia, sendo seguido pelo setor agrícola (18,5%) e pela i</a:t>
            </a:r>
            <a:r>
              <a:rPr lang="pt-BR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dústria </a:t>
            </a: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6,8%)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 2022, o transporte de carga geral apresentou um crescimento de 36,1% em comparação a 1997, sendo transportado o equivalente a 66,9 Milhões de TU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io Ambiente</a:t>
            </a: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ma composição ferroviária, composta por 120 vagões, transporta o equivalente a cerca de 368 caminhões graneleiros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 modal ferroviário emite menos cerca de 96% de dióxido de carbono (CO</a:t>
            </a:r>
            <a:r>
              <a:rPr lang="pt-BR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₂) </a:t>
            </a: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arado </a:t>
            </a:r>
            <a:r>
              <a:rPr lang="pt-BR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o rodoviário.</a:t>
            </a: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233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98792F7B-D0DE-481B-B720-62BBC3C4B8FA}"/>
              </a:ext>
            </a:extLst>
          </p:cNvPr>
          <p:cNvSpPr txBox="1"/>
          <p:nvPr/>
        </p:nvSpPr>
        <p:spPr>
          <a:xfrm>
            <a:off x="1517650" y="471372"/>
            <a:ext cx="16473656" cy="79333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ração de empregos diretos e indiretos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 número de empregos no setor (entre diretos e indiretos) cresceu 218% desde 1997: passou de 13.506 (naquele ano) para 42.979, em 2022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Índice de Segurança Ferroviária - IAF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 2022, as ferrovias associadas à ANTF apresentaram um IAF de 11,07 acidentes por milhões de trem.km, redução de 85,34% em relação a 1996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6FB9F137-A80A-424B-BC05-6CF32B7FA2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6650" y="6816725"/>
            <a:ext cx="8839200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75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98792F7B-D0DE-481B-B720-62BBC3C4B8FA}"/>
              </a:ext>
            </a:extLst>
          </p:cNvPr>
          <p:cNvSpPr txBox="1"/>
          <p:nvPr/>
        </p:nvSpPr>
        <p:spPr>
          <a:xfrm>
            <a:off x="1455906" y="471372"/>
            <a:ext cx="16535400" cy="118340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pt-BR" sz="4000" b="1" dirty="0" smtClean="0">
                <a:solidFill>
                  <a:srgbClr val="26235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eitos </a:t>
            </a:r>
            <a:r>
              <a:rPr lang="pt-BR" sz="4000" b="1" dirty="0">
                <a:solidFill>
                  <a:srgbClr val="26235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 Setor </a:t>
            </a:r>
            <a:r>
              <a:rPr lang="pt-BR" sz="4000" b="1" dirty="0" smtClean="0">
                <a:solidFill>
                  <a:srgbClr val="26235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rroviário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BR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ão incidência do IPVA sobre locomotivas: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visão de exceções no texto da PEC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locomotivas não foram incluídas nas exceções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isco de oneração de toda a cadeia logística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ão há impacto orçamentário, pois a maioria dos Estados já isentam o IPVA das locomotivas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acto para o setor de 2,36 bilhões de reais por ano.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enda nº </a:t>
            </a:r>
            <a:r>
              <a:rPr lang="pt-BR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8 </a:t>
            </a: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senador Jader </a:t>
            </a:r>
            <a:r>
              <a:rPr lang="pt-BR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rbalho.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pt-BR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391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204;p2">
            <a:extLst>
              <a:ext uri="{FF2B5EF4-FFF2-40B4-BE49-F238E27FC236}">
                <a16:creationId xmlns="" xmlns:a16="http://schemas.microsoft.com/office/drawing/2014/main" id="{A802EA93-0203-4F3A-9D58-7AE1BF96DF4E}"/>
              </a:ext>
            </a:extLst>
          </p:cNvPr>
          <p:cNvSpPr/>
          <p:nvPr/>
        </p:nvSpPr>
        <p:spPr>
          <a:xfrm>
            <a:off x="2127250" y="720725"/>
            <a:ext cx="16992600" cy="9017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3600" b="1" dirty="0">
                <a:latin typeface="Times New Roman" panose="02020603050405020304" pitchFamily="18" charset="0"/>
              </a:rPr>
              <a:t>Desoneração dos investimentos: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Cenário de viabilizar obras de infraestrutura e atrair investimentos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A PEC é genérica ao dispor sobre “redução dos impactos”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Atualmente, há regimes diferenciados de incentivo de investimentos considerados nos contratos existentes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REIDI e REPORTO garantem a viabilidade financeira dos projetos por desonerar investimentos.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pt-BR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enda nº 231 - senador Veneziano Vital do Rêgo.</a:t>
            </a:r>
          </a:p>
        </p:txBody>
      </p:sp>
    </p:spTree>
    <p:extLst>
      <p:ext uri="{BB962C8B-B14F-4D97-AF65-F5344CB8AC3E}">
        <p14:creationId xmlns:p14="http://schemas.microsoft.com/office/powerpoint/2010/main" val="14773468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D7F3F1AA-72C1-4131-9758-777AA9B99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D7F3F1AA-72C1-4131-9758-777AA9B99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204;p2">
            <a:extLst>
              <a:ext uri="{FF2B5EF4-FFF2-40B4-BE49-F238E27FC236}">
                <a16:creationId xmlns="" xmlns:a16="http://schemas.microsoft.com/office/drawing/2014/main" id="{A802EA93-0203-4F3A-9D58-7AE1BF96DF4E}"/>
              </a:ext>
            </a:extLst>
          </p:cNvPr>
          <p:cNvSpPr/>
          <p:nvPr/>
        </p:nvSpPr>
        <p:spPr>
          <a:xfrm>
            <a:off x="2127250" y="2078661"/>
            <a:ext cx="16992600" cy="5539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3600" b="1" dirty="0">
                <a:latin typeface="Times New Roman" panose="02020603050405020304" pitchFamily="18" charset="0"/>
              </a:rPr>
              <a:t>Equilíbrio dos contratos de concessão: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Garantia da não-cumulatividade plena e neutralidade tributária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Clareza sobre a obrigatoriedade de repasse compulsório do IBS/CBS ao adquirente;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sz="3600" dirty="0">
                <a:latin typeface="Times New Roman" panose="02020603050405020304" pitchFamily="18" charset="0"/>
              </a:rPr>
              <a:t>Garantia do reajuste dos contratos preservando </a:t>
            </a:r>
            <a:r>
              <a:rPr lang="pt-BR" sz="3600">
                <a:latin typeface="Times New Roman" panose="02020603050405020304" pitchFamily="18" charset="0"/>
              </a:rPr>
              <a:t>o equilíbrio.</a:t>
            </a:r>
            <a:endParaRPr lang="pt-BR" sz="3600" dirty="0">
              <a:latin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</a:endParaRP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sz="36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593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ado">
  <a:themeElements>
    <a:clrScheme name="Azul Quente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Facetado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do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209</TotalTime>
  <Words>442</Words>
  <Application>Microsoft Office PowerPoint</Application>
  <PresentationFormat>Personalizar</PresentationFormat>
  <Paragraphs>63</Paragraphs>
  <Slides>10</Slides>
  <Notes>9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20" baseType="lpstr">
      <vt:lpstr>Arial</vt:lpstr>
      <vt:lpstr>Tahoma</vt:lpstr>
      <vt:lpstr>Calisto MT</vt:lpstr>
      <vt:lpstr>Trebuchet MS</vt:lpstr>
      <vt:lpstr>Wingdings</vt:lpstr>
      <vt:lpstr>Wingdings 3</vt:lpstr>
      <vt:lpstr>Calibri</vt:lpstr>
      <vt:lpstr>Times New Roman</vt:lpstr>
      <vt:lpstr>Facetad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</dc:title>
  <dc:creator>renata segantin</dc:creator>
  <cp:lastModifiedBy>Juliana Soares Amorim</cp:lastModifiedBy>
  <cp:revision>429</cp:revision>
  <cp:lastPrinted>2019-08-15T19:48:36Z</cp:lastPrinted>
  <dcterms:created xsi:type="dcterms:W3CDTF">2016-09-26T20:34:18Z</dcterms:created>
  <dcterms:modified xsi:type="dcterms:W3CDTF">2023-09-27T16:0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9-26T00:00:00Z</vt:filetime>
  </property>
  <property fmtid="{D5CDD505-2E9C-101B-9397-08002B2CF9AE}" pid="3" name="Creator">
    <vt:lpwstr>Adobe Illustrator CS6 (Macintosh)</vt:lpwstr>
  </property>
  <property fmtid="{D5CDD505-2E9C-101B-9397-08002B2CF9AE}" pid="4" name="LastSaved">
    <vt:filetime>2016-09-26T00:00:00Z</vt:filetime>
  </property>
</Properties>
</file>